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70" r:id="rId3"/>
    <p:sldId id="258" r:id="rId4"/>
    <p:sldId id="275" r:id="rId5"/>
    <p:sldId id="271" r:id="rId6"/>
    <p:sldId id="276" r:id="rId7"/>
    <p:sldId id="277" r:id="rId8"/>
    <p:sldId id="278" r:id="rId9"/>
    <p:sldId id="272" r:id="rId10"/>
    <p:sldId id="279" r:id="rId11"/>
    <p:sldId id="280" r:id="rId12"/>
    <p:sldId id="281" r:id="rId13"/>
    <p:sldId id="273" r:id="rId14"/>
    <p:sldId id="282" r:id="rId15"/>
    <p:sldId id="284" r:id="rId16"/>
    <p:sldId id="283" r:id="rId17"/>
    <p:sldId id="285" r:id="rId18"/>
    <p:sldId id="289" r:id="rId19"/>
    <p:sldId id="274" r:id="rId20"/>
    <p:sldId id="286" r:id="rId21"/>
    <p:sldId id="288" r:id="rId22"/>
    <p:sldId id="287" r:id="rId23"/>
    <p:sldId id="261" r:id="rId24"/>
  </p:sldIdLst>
  <p:sldSz cx="12192000" cy="6858000"/>
  <p:notesSz cx="6858000" cy="9144000"/>
  <p:custDataLst>
    <p:tags r:id="rId2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578" autoAdjust="0"/>
    <p:restoredTop sz="96182" autoAdjust="0"/>
  </p:normalViewPr>
  <p:slideViewPr>
    <p:cSldViewPr snapToGrid="0">
      <p:cViewPr varScale="1">
        <p:scale>
          <a:sx n="101" d="100"/>
          <a:sy n="101" d="100"/>
        </p:scale>
        <p:origin x="48" y="7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6/11/relationships/changesInfo" Target="changesInfos/changesInfo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9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9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54" name="组合 2653">
            <a:extLst>
              <a:ext uri="{FF2B5EF4-FFF2-40B4-BE49-F238E27FC236}">
                <a16:creationId xmlns:a16="http://schemas.microsoft.com/office/drawing/2014/main" id="{6FD8D5CF-AAA8-4308-90FD-E6EBF38F21D8}"/>
              </a:ext>
            </a:extLst>
          </p:cNvPr>
          <p:cNvGrpSpPr/>
          <p:nvPr userDrawn="1"/>
        </p:nvGrpSpPr>
        <p:grpSpPr>
          <a:xfrm>
            <a:off x="4782500" y="4077751"/>
            <a:ext cx="5921275" cy="2172576"/>
            <a:chOff x="675908" y="693106"/>
            <a:chExt cx="9053516" cy="3321826"/>
          </a:xfrm>
        </p:grpSpPr>
        <p:sp>
          <p:nvSpPr>
            <p:cNvPr id="2655" name="文本框 2654">
              <a:extLst>
                <a:ext uri="{FF2B5EF4-FFF2-40B4-BE49-F238E27FC236}">
                  <a16:creationId xmlns:a16="http://schemas.microsoft.com/office/drawing/2014/main" id="{23C395ED-7507-4008-ACA8-039E128896A3}"/>
                </a:ext>
              </a:extLst>
            </p:cNvPr>
            <p:cNvSpPr txBox="1"/>
            <p:nvPr/>
          </p:nvSpPr>
          <p:spPr>
            <a:xfrm>
              <a:off x="675908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alpha val="8000"/>
                    </a:schemeClr>
                  </a:solidFill>
                  <a:latin typeface="Impact" panose="020B0806030902050204" pitchFamily="34" charset="0"/>
                </a:rPr>
                <a:t>2</a:t>
              </a:r>
              <a:endParaRPr lang="zh-CN" altLang="en-US" sz="9600" dirty="0">
                <a:solidFill>
                  <a:schemeClr val="tx2">
                    <a:alpha val="8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656" name="文本框 2655">
              <a:extLst>
                <a:ext uri="{FF2B5EF4-FFF2-40B4-BE49-F238E27FC236}">
                  <a16:creationId xmlns:a16="http://schemas.microsoft.com/office/drawing/2014/main" id="{351C0128-A5A6-4546-BC02-F13886B25E22}"/>
                </a:ext>
              </a:extLst>
            </p:cNvPr>
            <p:cNvSpPr txBox="1"/>
            <p:nvPr/>
          </p:nvSpPr>
          <p:spPr>
            <a:xfrm>
              <a:off x="2770637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alpha val="8000"/>
                    </a:schemeClr>
                  </a:solidFill>
                  <a:latin typeface="Impact" panose="020B0806030902050204" pitchFamily="34" charset="0"/>
                </a:rPr>
                <a:t>0</a:t>
              </a:r>
              <a:endParaRPr lang="zh-CN" altLang="en-US" sz="9600" dirty="0">
                <a:solidFill>
                  <a:schemeClr val="tx2">
                    <a:alpha val="8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657" name="文本框 2656">
              <a:extLst>
                <a:ext uri="{FF2B5EF4-FFF2-40B4-BE49-F238E27FC236}">
                  <a16:creationId xmlns:a16="http://schemas.microsoft.com/office/drawing/2014/main" id="{41D4FD2C-FF97-454A-9DC2-60D82F122FCB}"/>
                </a:ext>
              </a:extLst>
            </p:cNvPr>
            <p:cNvSpPr txBox="1"/>
            <p:nvPr/>
          </p:nvSpPr>
          <p:spPr>
            <a:xfrm>
              <a:off x="486536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alpha val="8000"/>
                    </a:schemeClr>
                  </a:solidFill>
                  <a:latin typeface="Impact" panose="020B0806030902050204" pitchFamily="34" charset="0"/>
                </a:rPr>
                <a:t>x</a:t>
              </a:r>
              <a:endParaRPr lang="zh-CN" altLang="en-US" sz="9600" dirty="0">
                <a:solidFill>
                  <a:schemeClr val="tx2">
                    <a:alpha val="8000"/>
                  </a:schemeClr>
                </a:solidFill>
                <a:latin typeface="Impact" panose="020B0806030902050204" pitchFamily="34" charset="0"/>
              </a:endParaRPr>
            </a:p>
          </p:txBody>
        </p:sp>
        <p:sp>
          <p:nvSpPr>
            <p:cNvPr id="2658" name="文本框 2657">
              <a:extLst>
                <a:ext uri="{FF2B5EF4-FFF2-40B4-BE49-F238E27FC236}">
                  <a16:creationId xmlns:a16="http://schemas.microsoft.com/office/drawing/2014/main" id="{750FFBFB-4B1F-4C5F-8C9F-EE58F96366F7}"/>
                </a:ext>
              </a:extLst>
            </p:cNvPr>
            <p:cNvSpPr txBox="1"/>
            <p:nvPr/>
          </p:nvSpPr>
          <p:spPr>
            <a:xfrm>
              <a:off x="6960096" y="693106"/>
              <a:ext cx="2769328" cy="3321826"/>
            </a:xfrm>
            <a:prstGeom prst="rect">
              <a:avLst/>
            </a:prstGeom>
            <a:noFill/>
          </p:spPr>
          <p:txBody>
            <a:bodyPr wrap="none" rtlCol="0">
              <a:prstTxWarp prst="textPlain">
                <a:avLst/>
              </a:prstTxWarp>
              <a:spAutoFit/>
            </a:bodyPr>
            <a:lstStyle/>
            <a:p>
              <a:r>
                <a:rPr lang="en-US" altLang="zh-CN" sz="9600" dirty="0">
                  <a:solidFill>
                    <a:schemeClr val="tx2">
                      <a:alpha val="8000"/>
                    </a:schemeClr>
                  </a:solidFill>
                  <a:latin typeface="Impact" panose="020B0806030902050204" pitchFamily="34" charset="0"/>
                </a:rPr>
                <a:t>x</a:t>
              </a:r>
              <a:endParaRPr lang="zh-CN" altLang="en-US" sz="9600" dirty="0">
                <a:solidFill>
                  <a:schemeClr val="tx2">
                    <a:alpha val="8000"/>
                  </a:schemeClr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0772" name="组合 10771">
            <a:extLst>
              <a:ext uri="{FF2B5EF4-FFF2-40B4-BE49-F238E27FC236}">
                <a16:creationId xmlns:a16="http://schemas.microsoft.com/office/drawing/2014/main" id="{FF176EF8-2EA4-4564-B41B-BE7831E4EE4E}"/>
              </a:ext>
            </a:extLst>
          </p:cNvPr>
          <p:cNvGrpSpPr/>
          <p:nvPr userDrawn="1"/>
        </p:nvGrpSpPr>
        <p:grpSpPr>
          <a:xfrm>
            <a:off x="-1472347" y="322943"/>
            <a:ext cx="11815590" cy="6212115"/>
            <a:chOff x="9201150" y="-9513884"/>
            <a:chExt cx="10550527" cy="5547001"/>
          </a:xfrm>
          <a:blipFill dpi="0" rotWithShape="1">
            <a:blip r:embed="rId2"/>
            <a:srcRect/>
            <a:tile tx="0" ty="0" sx="80000" sy="80000" flip="none" algn="tl"/>
          </a:blipFill>
        </p:grpSpPr>
        <p:grpSp>
          <p:nvGrpSpPr>
            <p:cNvPr id="2082" name="组合 2081">
              <a:extLst>
                <a:ext uri="{FF2B5EF4-FFF2-40B4-BE49-F238E27FC236}">
                  <a16:creationId xmlns:a16="http://schemas.microsoft.com/office/drawing/2014/main" id="{77AC5CDA-FB05-429B-9D8D-5BA27B554BD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201150" y="-9498009"/>
              <a:ext cx="6613526" cy="4730763"/>
              <a:chOff x="516" y="425"/>
              <a:chExt cx="4166" cy="2980"/>
            </a:xfrm>
            <a:grpFill/>
          </p:grpSpPr>
          <p:sp>
            <p:nvSpPr>
              <p:cNvPr id="10572" name="任意多边形: 形状 10571">
                <a:extLst>
                  <a:ext uri="{FF2B5EF4-FFF2-40B4-BE49-F238E27FC236}">
                    <a16:creationId xmlns:a16="http://schemas.microsoft.com/office/drawing/2014/main" id="{FA475E94-441C-4FF4-8217-841BC76622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6" y="2895"/>
                <a:ext cx="15" cy="6"/>
              </a:xfrm>
              <a:custGeom>
                <a:avLst/>
                <a:gdLst>
                  <a:gd name="T0" fmla="*/ 0 w 7"/>
                  <a:gd name="T1" fmla="*/ 3 h 3"/>
                  <a:gd name="T2" fmla="*/ 7 w 7"/>
                  <a:gd name="T3" fmla="*/ 0 h 3"/>
                  <a:gd name="T4" fmla="*/ 0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cubicBezTo>
                      <a:pt x="2" y="3"/>
                      <a:pt x="7" y="3"/>
                      <a:pt x="7" y="0"/>
                    </a:cubicBezTo>
                    <a:cubicBezTo>
                      <a:pt x="5" y="1"/>
                      <a:pt x="0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3" name="任意多边形: 形状 10572">
                <a:extLst>
                  <a:ext uri="{FF2B5EF4-FFF2-40B4-BE49-F238E27FC236}">
                    <a16:creationId xmlns:a16="http://schemas.microsoft.com/office/drawing/2014/main" id="{D58B4EF5-766B-447D-A2B9-9EC1988026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7" y="2878"/>
                <a:ext cx="13" cy="13"/>
              </a:xfrm>
              <a:custGeom>
                <a:avLst/>
                <a:gdLst>
                  <a:gd name="T0" fmla="*/ 0 w 6"/>
                  <a:gd name="T1" fmla="*/ 2 h 6"/>
                  <a:gd name="T2" fmla="*/ 1 w 6"/>
                  <a:gd name="T3" fmla="*/ 6 h 6"/>
                  <a:gd name="T4" fmla="*/ 6 w 6"/>
                  <a:gd name="T5" fmla="*/ 4 h 6"/>
                  <a:gd name="T6" fmla="*/ 0 w 6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2"/>
                    </a:moveTo>
                    <a:cubicBezTo>
                      <a:pt x="1" y="3"/>
                      <a:pt x="1" y="4"/>
                      <a:pt x="1" y="6"/>
                    </a:cubicBezTo>
                    <a:cubicBezTo>
                      <a:pt x="2" y="4"/>
                      <a:pt x="4" y="6"/>
                      <a:pt x="6" y="4"/>
                    </a:cubicBezTo>
                    <a:cubicBezTo>
                      <a:pt x="4" y="0"/>
                      <a:pt x="2" y="4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4" name="任意多边形: 形状 10573">
                <a:extLst>
                  <a:ext uri="{FF2B5EF4-FFF2-40B4-BE49-F238E27FC236}">
                    <a16:creationId xmlns:a16="http://schemas.microsoft.com/office/drawing/2014/main" id="{79EEF8CA-5D7B-4839-A278-7DB1DD988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" y="2876"/>
                <a:ext cx="19" cy="12"/>
              </a:xfrm>
              <a:custGeom>
                <a:avLst/>
                <a:gdLst>
                  <a:gd name="T0" fmla="*/ 0 w 9"/>
                  <a:gd name="T1" fmla="*/ 4 h 6"/>
                  <a:gd name="T2" fmla="*/ 9 w 9"/>
                  <a:gd name="T3" fmla="*/ 1 h 6"/>
                  <a:gd name="T4" fmla="*/ 0 w 9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0" y="4"/>
                    </a:moveTo>
                    <a:cubicBezTo>
                      <a:pt x="2" y="4"/>
                      <a:pt x="9" y="6"/>
                      <a:pt x="9" y="1"/>
                    </a:cubicBezTo>
                    <a:cubicBezTo>
                      <a:pt x="6" y="3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5" name="任意多边形: 形状 10574">
                <a:extLst>
                  <a:ext uri="{FF2B5EF4-FFF2-40B4-BE49-F238E27FC236}">
                    <a16:creationId xmlns:a16="http://schemas.microsoft.com/office/drawing/2014/main" id="{D5D6E88D-2464-4F99-BF50-63F333C743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" y="2872"/>
                <a:ext cx="14" cy="12"/>
              </a:xfrm>
              <a:custGeom>
                <a:avLst/>
                <a:gdLst>
                  <a:gd name="T0" fmla="*/ 1 w 7"/>
                  <a:gd name="T1" fmla="*/ 1 h 6"/>
                  <a:gd name="T2" fmla="*/ 5 w 7"/>
                  <a:gd name="T3" fmla="*/ 1 h 6"/>
                  <a:gd name="T4" fmla="*/ 1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1"/>
                    </a:moveTo>
                    <a:cubicBezTo>
                      <a:pt x="0" y="6"/>
                      <a:pt x="7" y="6"/>
                      <a:pt x="5" y="1"/>
                    </a:cubicBezTo>
                    <a:cubicBezTo>
                      <a:pt x="3" y="3"/>
                      <a:pt x="2" y="0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6" name="任意多边形: 形状 10575">
                <a:extLst>
                  <a:ext uri="{FF2B5EF4-FFF2-40B4-BE49-F238E27FC236}">
                    <a16:creationId xmlns:a16="http://schemas.microsoft.com/office/drawing/2014/main" id="{2CF478EF-AF4E-4C31-B192-17FB60A5C7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" y="2866"/>
                <a:ext cx="36" cy="12"/>
              </a:xfrm>
              <a:custGeom>
                <a:avLst/>
                <a:gdLst>
                  <a:gd name="T0" fmla="*/ 0 w 17"/>
                  <a:gd name="T1" fmla="*/ 6 h 6"/>
                  <a:gd name="T2" fmla="*/ 17 w 17"/>
                  <a:gd name="T3" fmla="*/ 0 h 6"/>
                  <a:gd name="T4" fmla="*/ 0 w 1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6">
                    <a:moveTo>
                      <a:pt x="0" y="6"/>
                    </a:moveTo>
                    <a:cubicBezTo>
                      <a:pt x="5" y="3"/>
                      <a:pt x="14" y="5"/>
                      <a:pt x="17" y="0"/>
                    </a:cubicBezTo>
                    <a:cubicBezTo>
                      <a:pt x="12" y="2"/>
                      <a:pt x="0" y="2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7" name="任意多边形: 形状 10576">
                <a:extLst>
                  <a:ext uri="{FF2B5EF4-FFF2-40B4-BE49-F238E27FC236}">
                    <a16:creationId xmlns:a16="http://schemas.microsoft.com/office/drawing/2014/main" id="{C35BB711-0235-416A-9403-76A7666ADE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" y="2558"/>
                <a:ext cx="19" cy="15"/>
              </a:xfrm>
              <a:custGeom>
                <a:avLst/>
                <a:gdLst>
                  <a:gd name="T0" fmla="*/ 2 w 9"/>
                  <a:gd name="T1" fmla="*/ 7 h 7"/>
                  <a:gd name="T2" fmla="*/ 8 w 9"/>
                  <a:gd name="T3" fmla="*/ 0 h 7"/>
                  <a:gd name="T4" fmla="*/ 2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cubicBezTo>
                      <a:pt x="4" y="2"/>
                      <a:pt x="9" y="5"/>
                      <a:pt x="8" y="0"/>
                    </a:cubicBezTo>
                    <a:cubicBezTo>
                      <a:pt x="6" y="2"/>
                      <a:pt x="0" y="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8" name="任意多边形: 形状 10577">
                <a:extLst>
                  <a:ext uri="{FF2B5EF4-FFF2-40B4-BE49-F238E27FC236}">
                    <a16:creationId xmlns:a16="http://schemas.microsoft.com/office/drawing/2014/main" id="{0F0B77CC-95E4-455B-B003-E9B09451D0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" y="2598"/>
                <a:ext cx="19" cy="12"/>
              </a:xfrm>
              <a:custGeom>
                <a:avLst/>
                <a:gdLst>
                  <a:gd name="T0" fmla="*/ 0 w 9"/>
                  <a:gd name="T1" fmla="*/ 6 h 6"/>
                  <a:gd name="T2" fmla="*/ 9 w 9"/>
                  <a:gd name="T3" fmla="*/ 1 h 6"/>
                  <a:gd name="T4" fmla="*/ 0 w 9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0" y="6"/>
                    </a:moveTo>
                    <a:cubicBezTo>
                      <a:pt x="2" y="4"/>
                      <a:pt x="8" y="4"/>
                      <a:pt x="9" y="1"/>
                    </a:cubicBezTo>
                    <a:cubicBezTo>
                      <a:pt x="4" y="4"/>
                      <a:pt x="1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9" name="任意多边形: 形状 10578">
                <a:extLst>
                  <a:ext uri="{FF2B5EF4-FFF2-40B4-BE49-F238E27FC236}">
                    <a16:creationId xmlns:a16="http://schemas.microsoft.com/office/drawing/2014/main" id="{7263318F-0E44-42B8-B1A7-3A726E7992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9" y="2540"/>
                <a:ext cx="27" cy="18"/>
              </a:xfrm>
              <a:custGeom>
                <a:avLst/>
                <a:gdLst>
                  <a:gd name="T0" fmla="*/ 2 w 13"/>
                  <a:gd name="T1" fmla="*/ 9 h 9"/>
                  <a:gd name="T2" fmla="*/ 13 w 13"/>
                  <a:gd name="T3" fmla="*/ 0 h 9"/>
                  <a:gd name="T4" fmla="*/ 2 w 13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9">
                    <a:moveTo>
                      <a:pt x="2" y="9"/>
                    </a:moveTo>
                    <a:cubicBezTo>
                      <a:pt x="7" y="6"/>
                      <a:pt x="11" y="4"/>
                      <a:pt x="13" y="0"/>
                    </a:cubicBezTo>
                    <a:cubicBezTo>
                      <a:pt x="10" y="2"/>
                      <a:pt x="0" y="3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0" name="任意多边形: 形状 10579">
                <a:extLst>
                  <a:ext uri="{FF2B5EF4-FFF2-40B4-BE49-F238E27FC236}">
                    <a16:creationId xmlns:a16="http://schemas.microsoft.com/office/drawing/2014/main" id="{E05F0645-D52D-4777-A4B4-5384E51848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6" y="2577"/>
                <a:ext cx="37" cy="21"/>
              </a:xfrm>
              <a:custGeom>
                <a:avLst/>
                <a:gdLst>
                  <a:gd name="T0" fmla="*/ 0 w 18"/>
                  <a:gd name="T1" fmla="*/ 7 h 10"/>
                  <a:gd name="T2" fmla="*/ 17 w 18"/>
                  <a:gd name="T3" fmla="*/ 0 h 10"/>
                  <a:gd name="T4" fmla="*/ 0 w 18"/>
                  <a:gd name="T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0" y="7"/>
                    </a:moveTo>
                    <a:cubicBezTo>
                      <a:pt x="5" y="3"/>
                      <a:pt x="18" y="10"/>
                      <a:pt x="17" y="0"/>
                    </a:cubicBezTo>
                    <a:cubicBezTo>
                      <a:pt x="14" y="3"/>
                      <a:pt x="3" y="2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1" name="任意多边形: 形状 10580">
                <a:extLst>
                  <a:ext uri="{FF2B5EF4-FFF2-40B4-BE49-F238E27FC236}">
                    <a16:creationId xmlns:a16="http://schemas.microsoft.com/office/drawing/2014/main" id="{2B33E8DF-CE6A-4516-9855-DF69CEAF35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07" y="3384"/>
                <a:ext cx="15" cy="13"/>
              </a:xfrm>
              <a:custGeom>
                <a:avLst/>
                <a:gdLst>
                  <a:gd name="T0" fmla="*/ 1 w 7"/>
                  <a:gd name="T1" fmla="*/ 2 h 6"/>
                  <a:gd name="T2" fmla="*/ 7 w 7"/>
                  <a:gd name="T3" fmla="*/ 3 h 6"/>
                  <a:gd name="T4" fmla="*/ 1 w 7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2"/>
                    </a:moveTo>
                    <a:cubicBezTo>
                      <a:pt x="3" y="2"/>
                      <a:pt x="5" y="6"/>
                      <a:pt x="7" y="3"/>
                    </a:cubicBezTo>
                    <a:cubicBezTo>
                      <a:pt x="6" y="1"/>
                      <a:pt x="0" y="0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2" name="任意多边形: 形状 10581">
                <a:extLst>
                  <a:ext uri="{FF2B5EF4-FFF2-40B4-BE49-F238E27FC236}">
                    <a16:creationId xmlns:a16="http://schemas.microsoft.com/office/drawing/2014/main" id="{2CBB97BE-B870-43D2-81BF-BADD20D35C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4" y="3382"/>
                <a:ext cx="25" cy="23"/>
              </a:xfrm>
              <a:custGeom>
                <a:avLst/>
                <a:gdLst>
                  <a:gd name="T0" fmla="*/ 1 w 12"/>
                  <a:gd name="T1" fmla="*/ 3 h 11"/>
                  <a:gd name="T2" fmla="*/ 5 w 12"/>
                  <a:gd name="T3" fmla="*/ 11 h 11"/>
                  <a:gd name="T4" fmla="*/ 12 w 12"/>
                  <a:gd name="T5" fmla="*/ 8 h 11"/>
                  <a:gd name="T6" fmla="*/ 1 w 12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1">
                    <a:moveTo>
                      <a:pt x="1" y="3"/>
                    </a:moveTo>
                    <a:cubicBezTo>
                      <a:pt x="2" y="6"/>
                      <a:pt x="0" y="11"/>
                      <a:pt x="5" y="11"/>
                    </a:cubicBezTo>
                    <a:cubicBezTo>
                      <a:pt x="1" y="3"/>
                      <a:pt x="10" y="10"/>
                      <a:pt x="12" y="8"/>
                    </a:cubicBezTo>
                    <a:cubicBezTo>
                      <a:pt x="9" y="0"/>
                      <a:pt x="4" y="9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3" name="任意多边形: 形状 10582">
                <a:extLst>
                  <a:ext uri="{FF2B5EF4-FFF2-40B4-BE49-F238E27FC236}">
                    <a16:creationId xmlns:a16="http://schemas.microsoft.com/office/drawing/2014/main" id="{428025EB-D685-4566-A911-BB9CCB3BDE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7" y="2455"/>
                <a:ext cx="17" cy="14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3 h 7"/>
                  <a:gd name="T4" fmla="*/ 1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5" y="5"/>
                      <a:pt x="7" y="5"/>
                      <a:pt x="8" y="3"/>
                    </a:cubicBezTo>
                    <a:cubicBezTo>
                      <a:pt x="5" y="0"/>
                      <a:pt x="0" y="5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4" name="任意多边形: 形状 10583">
                <a:extLst>
                  <a:ext uri="{FF2B5EF4-FFF2-40B4-BE49-F238E27FC236}">
                    <a16:creationId xmlns:a16="http://schemas.microsoft.com/office/drawing/2014/main" id="{4C9F5586-7FD2-43E5-81CE-FD9A4A9E4D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54" y="2453"/>
                <a:ext cx="33" cy="27"/>
              </a:xfrm>
              <a:custGeom>
                <a:avLst/>
                <a:gdLst>
                  <a:gd name="T0" fmla="*/ 10 w 16"/>
                  <a:gd name="T1" fmla="*/ 0 h 13"/>
                  <a:gd name="T2" fmla="*/ 0 w 16"/>
                  <a:gd name="T3" fmla="*/ 13 h 13"/>
                  <a:gd name="T4" fmla="*/ 7 w 16"/>
                  <a:gd name="T5" fmla="*/ 13 h 13"/>
                  <a:gd name="T6" fmla="*/ 16 w 16"/>
                  <a:gd name="T7" fmla="*/ 8 h 13"/>
                  <a:gd name="T8" fmla="*/ 10 w 16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3">
                    <a:moveTo>
                      <a:pt x="10" y="0"/>
                    </a:moveTo>
                    <a:cubicBezTo>
                      <a:pt x="11" y="7"/>
                      <a:pt x="1" y="7"/>
                      <a:pt x="0" y="13"/>
                    </a:cubicBezTo>
                    <a:cubicBezTo>
                      <a:pt x="2" y="11"/>
                      <a:pt x="4" y="10"/>
                      <a:pt x="7" y="13"/>
                    </a:cubicBezTo>
                    <a:cubicBezTo>
                      <a:pt x="11" y="10"/>
                      <a:pt x="11" y="8"/>
                      <a:pt x="16" y="8"/>
                    </a:cubicBezTo>
                    <a:cubicBezTo>
                      <a:pt x="14" y="3"/>
                      <a:pt x="14" y="2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5" name="任意多边形: 形状 10584">
                <a:extLst>
                  <a:ext uri="{FF2B5EF4-FFF2-40B4-BE49-F238E27FC236}">
                    <a16:creationId xmlns:a16="http://schemas.microsoft.com/office/drawing/2014/main" id="{579D3D65-C741-4164-8CA6-48ADFF6E7C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1" y="2766"/>
                <a:ext cx="14" cy="10"/>
              </a:xfrm>
              <a:custGeom>
                <a:avLst/>
                <a:gdLst>
                  <a:gd name="T0" fmla="*/ 0 w 7"/>
                  <a:gd name="T1" fmla="*/ 1 h 5"/>
                  <a:gd name="T2" fmla="*/ 7 w 7"/>
                  <a:gd name="T3" fmla="*/ 4 h 5"/>
                  <a:gd name="T4" fmla="*/ 0 w 7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1"/>
                    </a:moveTo>
                    <a:cubicBezTo>
                      <a:pt x="2" y="5"/>
                      <a:pt x="4" y="3"/>
                      <a:pt x="7" y="4"/>
                    </a:cubicBezTo>
                    <a:cubicBezTo>
                      <a:pt x="4" y="1"/>
                      <a:pt x="2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6" name="任意多边形: 形状 10585">
                <a:extLst>
                  <a:ext uri="{FF2B5EF4-FFF2-40B4-BE49-F238E27FC236}">
                    <a16:creationId xmlns:a16="http://schemas.microsoft.com/office/drawing/2014/main" id="{72A9DB98-F47B-4B87-AFE9-8B39BFB26A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29" y="2438"/>
                <a:ext cx="12" cy="13"/>
              </a:xfrm>
              <a:custGeom>
                <a:avLst/>
                <a:gdLst>
                  <a:gd name="T0" fmla="*/ 0 w 6"/>
                  <a:gd name="T1" fmla="*/ 0 h 6"/>
                  <a:gd name="T2" fmla="*/ 1 w 6"/>
                  <a:gd name="T3" fmla="*/ 5 h 6"/>
                  <a:gd name="T4" fmla="*/ 6 w 6"/>
                  <a:gd name="T5" fmla="*/ 4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2"/>
                      <a:pt x="0" y="3"/>
                      <a:pt x="1" y="5"/>
                    </a:cubicBezTo>
                    <a:cubicBezTo>
                      <a:pt x="3" y="6"/>
                      <a:pt x="4" y="6"/>
                      <a:pt x="6" y="4"/>
                    </a:cubicBezTo>
                    <a:cubicBezTo>
                      <a:pt x="4" y="1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7" name="任意多边形: 形状 10586">
                <a:extLst>
                  <a:ext uri="{FF2B5EF4-FFF2-40B4-BE49-F238E27FC236}">
                    <a16:creationId xmlns:a16="http://schemas.microsoft.com/office/drawing/2014/main" id="{4D6ED467-7A47-4477-AE25-B5DDAE10B8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7" y="2430"/>
                <a:ext cx="23" cy="16"/>
              </a:xfrm>
              <a:custGeom>
                <a:avLst/>
                <a:gdLst>
                  <a:gd name="T0" fmla="*/ 2 w 11"/>
                  <a:gd name="T1" fmla="*/ 8 h 8"/>
                  <a:gd name="T2" fmla="*/ 8 w 11"/>
                  <a:gd name="T3" fmla="*/ 0 h 8"/>
                  <a:gd name="T4" fmla="*/ 2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2" y="8"/>
                    </a:moveTo>
                    <a:cubicBezTo>
                      <a:pt x="4" y="6"/>
                      <a:pt x="11" y="7"/>
                      <a:pt x="8" y="0"/>
                    </a:cubicBezTo>
                    <a:cubicBezTo>
                      <a:pt x="6" y="2"/>
                      <a:pt x="0" y="3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8" name="任意多边形: 形状 10587">
                <a:extLst>
                  <a:ext uri="{FF2B5EF4-FFF2-40B4-BE49-F238E27FC236}">
                    <a16:creationId xmlns:a16="http://schemas.microsoft.com/office/drawing/2014/main" id="{3B4C788F-3D55-4305-8391-871029B7F9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30" y="2737"/>
                <a:ext cx="27" cy="19"/>
              </a:xfrm>
              <a:custGeom>
                <a:avLst/>
                <a:gdLst>
                  <a:gd name="T0" fmla="*/ 0 w 13"/>
                  <a:gd name="T1" fmla="*/ 9 h 9"/>
                  <a:gd name="T2" fmla="*/ 8 w 13"/>
                  <a:gd name="T3" fmla="*/ 0 h 9"/>
                  <a:gd name="T4" fmla="*/ 0 w 13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9">
                    <a:moveTo>
                      <a:pt x="0" y="9"/>
                    </a:moveTo>
                    <a:cubicBezTo>
                      <a:pt x="3" y="5"/>
                      <a:pt x="13" y="9"/>
                      <a:pt x="8" y="0"/>
                    </a:cubicBezTo>
                    <a:cubicBezTo>
                      <a:pt x="3" y="3"/>
                      <a:pt x="0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9" name="任意多边形: 形状 10588">
                <a:extLst>
                  <a:ext uri="{FF2B5EF4-FFF2-40B4-BE49-F238E27FC236}">
                    <a16:creationId xmlns:a16="http://schemas.microsoft.com/office/drawing/2014/main" id="{AB42DA15-1C5E-44AF-99CF-A5529A8877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80" y="2807"/>
                <a:ext cx="15" cy="11"/>
              </a:xfrm>
              <a:custGeom>
                <a:avLst/>
                <a:gdLst>
                  <a:gd name="T0" fmla="*/ 1 w 7"/>
                  <a:gd name="T1" fmla="*/ 4 h 5"/>
                  <a:gd name="T2" fmla="*/ 7 w 7"/>
                  <a:gd name="T3" fmla="*/ 1 h 5"/>
                  <a:gd name="T4" fmla="*/ 1 w 7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1" y="4"/>
                    </a:moveTo>
                    <a:cubicBezTo>
                      <a:pt x="2" y="5"/>
                      <a:pt x="7" y="3"/>
                      <a:pt x="7" y="1"/>
                    </a:cubicBezTo>
                    <a:cubicBezTo>
                      <a:pt x="5" y="3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0" name="任意多边形: 形状 10589">
                <a:extLst>
                  <a:ext uri="{FF2B5EF4-FFF2-40B4-BE49-F238E27FC236}">
                    <a16:creationId xmlns:a16="http://schemas.microsoft.com/office/drawing/2014/main" id="{624A146C-A178-4B54-9B99-048CE029C7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" y="2326"/>
                <a:ext cx="13" cy="15"/>
              </a:xfrm>
              <a:custGeom>
                <a:avLst/>
                <a:gdLst>
                  <a:gd name="T0" fmla="*/ 2 w 6"/>
                  <a:gd name="T1" fmla="*/ 7 h 7"/>
                  <a:gd name="T2" fmla="*/ 6 w 6"/>
                  <a:gd name="T3" fmla="*/ 6 h 7"/>
                  <a:gd name="T4" fmla="*/ 2 w 6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cubicBezTo>
                      <a:pt x="4" y="6"/>
                      <a:pt x="5" y="6"/>
                      <a:pt x="6" y="6"/>
                    </a:cubicBezTo>
                    <a:cubicBezTo>
                      <a:pt x="5" y="0"/>
                      <a:pt x="0" y="4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1" name="任意多边形: 形状 10590">
                <a:extLst>
                  <a:ext uri="{FF2B5EF4-FFF2-40B4-BE49-F238E27FC236}">
                    <a16:creationId xmlns:a16="http://schemas.microsoft.com/office/drawing/2014/main" id="{F12E8B89-B51D-4754-8D87-9BFBDA4CE7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4" y="2376"/>
                <a:ext cx="10" cy="12"/>
              </a:xfrm>
              <a:custGeom>
                <a:avLst/>
                <a:gdLst>
                  <a:gd name="T0" fmla="*/ 4 w 5"/>
                  <a:gd name="T1" fmla="*/ 2 h 6"/>
                  <a:gd name="T2" fmla="*/ 0 w 5"/>
                  <a:gd name="T3" fmla="*/ 6 h 6"/>
                  <a:gd name="T4" fmla="*/ 4 w 5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2"/>
                    </a:moveTo>
                    <a:cubicBezTo>
                      <a:pt x="2" y="0"/>
                      <a:pt x="0" y="3"/>
                      <a:pt x="0" y="6"/>
                    </a:cubicBezTo>
                    <a:cubicBezTo>
                      <a:pt x="1" y="4"/>
                      <a:pt x="5" y="4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2" name="任意多边形: 形状 10591">
                <a:extLst>
                  <a:ext uri="{FF2B5EF4-FFF2-40B4-BE49-F238E27FC236}">
                    <a16:creationId xmlns:a16="http://schemas.microsoft.com/office/drawing/2014/main" id="{D34DC279-74E6-4B1E-86C0-E51E348BBE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53" y="2685"/>
                <a:ext cx="12" cy="19"/>
              </a:xfrm>
              <a:custGeom>
                <a:avLst/>
                <a:gdLst>
                  <a:gd name="T0" fmla="*/ 3 w 6"/>
                  <a:gd name="T1" fmla="*/ 9 h 9"/>
                  <a:gd name="T2" fmla="*/ 5 w 6"/>
                  <a:gd name="T3" fmla="*/ 6 h 9"/>
                  <a:gd name="T4" fmla="*/ 3 w 6"/>
                  <a:gd name="T5" fmla="*/ 0 h 9"/>
                  <a:gd name="T6" fmla="*/ 1 w 6"/>
                  <a:gd name="T7" fmla="*/ 7 h 9"/>
                  <a:gd name="T8" fmla="*/ 3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3" y="9"/>
                    </a:moveTo>
                    <a:cubicBezTo>
                      <a:pt x="4" y="8"/>
                      <a:pt x="6" y="7"/>
                      <a:pt x="5" y="6"/>
                    </a:cubicBezTo>
                    <a:cubicBezTo>
                      <a:pt x="0" y="8"/>
                      <a:pt x="6" y="3"/>
                      <a:pt x="3" y="0"/>
                    </a:cubicBezTo>
                    <a:cubicBezTo>
                      <a:pt x="1" y="2"/>
                      <a:pt x="1" y="4"/>
                      <a:pt x="1" y="7"/>
                    </a:cubicBezTo>
                    <a:cubicBezTo>
                      <a:pt x="2" y="7"/>
                      <a:pt x="2" y="7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3" name="任意多边形: 形状 10592">
                <a:extLst>
                  <a:ext uri="{FF2B5EF4-FFF2-40B4-BE49-F238E27FC236}">
                    <a16:creationId xmlns:a16="http://schemas.microsoft.com/office/drawing/2014/main" id="{4DC38DEA-B2C6-4DF1-9231-DBF152190B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4" y="2301"/>
                <a:ext cx="16" cy="15"/>
              </a:xfrm>
              <a:custGeom>
                <a:avLst/>
                <a:gdLst>
                  <a:gd name="T0" fmla="*/ 3 w 8"/>
                  <a:gd name="T1" fmla="*/ 3 h 7"/>
                  <a:gd name="T2" fmla="*/ 7 w 8"/>
                  <a:gd name="T3" fmla="*/ 6 h 7"/>
                  <a:gd name="T4" fmla="*/ 8 w 8"/>
                  <a:gd name="T5" fmla="*/ 4 h 7"/>
                  <a:gd name="T6" fmla="*/ 2 w 8"/>
                  <a:gd name="T7" fmla="*/ 2 h 7"/>
                  <a:gd name="T8" fmla="*/ 0 w 8"/>
                  <a:gd name="T9" fmla="*/ 7 h 7"/>
                  <a:gd name="T10" fmla="*/ 3 w 8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7">
                    <a:moveTo>
                      <a:pt x="3" y="3"/>
                    </a:moveTo>
                    <a:cubicBezTo>
                      <a:pt x="4" y="5"/>
                      <a:pt x="5" y="7"/>
                      <a:pt x="7" y="6"/>
                    </a:cubicBezTo>
                    <a:cubicBezTo>
                      <a:pt x="6" y="5"/>
                      <a:pt x="7" y="4"/>
                      <a:pt x="8" y="4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3" y="7"/>
                      <a:pt x="2" y="4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4" name="任意多边形: 形状 10593">
                <a:extLst>
                  <a:ext uri="{FF2B5EF4-FFF2-40B4-BE49-F238E27FC236}">
                    <a16:creationId xmlns:a16="http://schemas.microsoft.com/office/drawing/2014/main" id="{6C289170-8BC3-4559-8332-9A700FE902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6" y="2251"/>
                <a:ext cx="156" cy="56"/>
              </a:xfrm>
              <a:custGeom>
                <a:avLst/>
                <a:gdLst>
                  <a:gd name="T0" fmla="*/ 30 w 75"/>
                  <a:gd name="T1" fmla="*/ 16 h 27"/>
                  <a:gd name="T2" fmla="*/ 42 w 75"/>
                  <a:gd name="T3" fmla="*/ 12 h 27"/>
                  <a:gd name="T4" fmla="*/ 38 w 75"/>
                  <a:gd name="T5" fmla="*/ 13 h 27"/>
                  <a:gd name="T6" fmla="*/ 47 w 75"/>
                  <a:gd name="T7" fmla="*/ 12 h 27"/>
                  <a:gd name="T8" fmla="*/ 44 w 75"/>
                  <a:gd name="T9" fmla="*/ 16 h 27"/>
                  <a:gd name="T10" fmla="*/ 49 w 75"/>
                  <a:gd name="T11" fmla="*/ 17 h 27"/>
                  <a:gd name="T12" fmla="*/ 55 w 75"/>
                  <a:gd name="T13" fmla="*/ 14 h 27"/>
                  <a:gd name="T14" fmla="*/ 53 w 75"/>
                  <a:gd name="T15" fmla="*/ 9 h 27"/>
                  <a:gd name="T16" fmla="*/ 46 w 75"/>
                  <a:gd name="T17" fmla="*/ 8 h 27"/>
                  <a:gd name="T18" fmla="*/ 56 w 75"/>
                  <a:gd name="T19" fmla="*/ 7 h 27"/>
                  <a:gd name="T20" fmla="*/ 57 w 75"/>
                  <a:gd name="T21" fmla="*/ 12 h 27"/>
                  <a:gd name="T22" fmla="*/ 59 w 75"/>
                  <a:gd name="T23" fmla="*/ 7 h 27"/>
                  <a:gd name="T24" fmla="*/ 63 w 75"/>
                  <a:gd name="T25" fmla="*/ 10 h 27"/>
                  <a:gd name="T26" fmla="*/ 66 w 75"/>
                  <a:gd name="T27" fmla="*/ 6 h 27"/>
                  <a:gd name="T28" fmla="*/ 73 w 75"/>
                  <a:gd name="T29" fmla="*/ 0 h 27"/>
                  <a:gd name="T30" fmla="*/ 67 w 75"/>
                  <a:gd name="T31" fmla="*/ 5 h 27"/>
                  <a:gd name="T32" fmla="*/ 24 w 75"/>
                  <a:gd name="T33" fmla="*/ 18 h 27"/>
                  <a:gd name="T34" fmla="*/ 17 w 75"/>
                  <a:gd name="T35" fmla="*/ 16 h 27"/>
                  <a:gd name="T36" fmla="*/ 4 w 75"/>
                  <a:gd name="T37" fmla="*/ 27 h 27"/>
                  <a:gd name="T38" fmla="*/ 30 w 75"/>
                  <a:gd name="T3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27">
                    <a:moveTo>
                      <a:pt x="30" y="16"/>
                    </a:moveTo>
                    <a:cubicBezTo>
                      <a:pt x="35" y="14"/>
                      <a:pt x="38" y="9"/>
                      <a:pt x="42" y="12"/>
                    </a:cubicBezTo>
                    <a:cubicBezTo>
                      <a:pt x="41" y="12"/>
                      <a:pt x="40" y="11"/>
                      <a:pt x="38" y="13"/>
                    </a:cubicBezTo>
                    <a:cubicBezTo>
                      <a:pt x="43" y="20"/>
                      <a:pt x="44" y="10"/>
                      <a:pt x="47" y="12"/>
                    </a:cubicBezTo>
                    <a:cubicBezTo>
                      <a:pt x="45" y="14"/>
                      <a:pt x="48" y="16"/>
                      <a:pt x="44" y="16"/>
                    </a:cubicBezTo>
                    <a:cubicBezTo>
                      <a:pt x="45" y="19"/>
                      <a:pt x="47" y="18"/>
                      <a:pt x="49" y="17"/>
                    </a:cubicBezTo>
                    <a:cubicBezTo>
                      <a:pt x="49" y="15"/>
                      <a:pt x="53" y="12"/>
                      <a:pt x="55" y="14"/>
                    </a:cubicBezTo>
                    <a:cubicBezTo>
                      <a:pt x="55" y="11"/>
                      <a:pt x="54" y="12"/>
                      <a:pt x="53" y="9"/>
                    </a:cubicBezTo>
                    <a:cubicBezTo>
                      <a:pt x="51" y="11"/>
                      <a:pt x="45" y="13"/>
                      <a:pt x="46" y="8"/>
                    </a:cubicBezTo>
                    <a:cubicBezTo>
                      <a:pt x="51" y="13"/>
                      <a:pt x="53" y="5"/>
                      <a:pt x="56" y="7"/>
                    </a:cubicBezTo>
                    <a:cubicBezTo>
                      <a:pt x="56" y="8"/>
                      <a:pt x="56" y="10"/>
                      <a:pt x="57" y="12"/>
                    </a:cubicBezTo>
                    <a:cubicBezTo>
                      <a:pt x="60" y="10"/>
                      <a:pt x="60" y="11"/>
                      <a:pt x="59" y="7"/>
                    </a:cubicBezTo>
                    <a:cubicBezTo>
                      <a:pt x="62" y="7"/>
                      <a:pt x="60" y="13"/>
                      <a:pt x="63" y="10"/>
                    </a:cubicBezTo>
                    <a:cubicBezTo>
                      <a:pt x="66" y="9"/>
                      <a:pt x="61" y="7"/>
                      <a:pt x="66" y="6"/>
                    </a:cubicBezTo>
                    <a:cubicBezTo>
                      <a:pt x="66" y="10"/>
                      <a:pt x="75" y="5"/>
                      <a:pt x="73" y="0"/>
                    </a:cubicBezTo>
                    <a:cubicBezTo>
                      <a:pt x="70" y="2"/>
                      <a:pt x="68" y="1"/>
                      <a:pt x="67" y="5"/>
                    </a:cubicBezTo>
                    <a:cubicBezTo>
                      <a:pt x="52" y="1"/>
                      <a:pt x="35" y="7"/>
                      <a:pt x="24" y="18"/>
                    </a:cubicBezTo>
                    <a:cubicBezTo>
                      <a:pt x="22" y="16"/>
                      <a:pt x="19" y="17"/>
                      <a:pt x="17" y="16"/>
                    </a:cubicBezTo>
                    <a:cubicBezTo>
                      <a:pt x="14" y="22"/>
                      <a:pt x="0" y="19"/>
                      <a:pt x="4" y="27"/>
                    </a:cubicBezTo>
                    <a:cubicBezTo>
                      <a:pt x="9" y="22"/>
                      <a:pt x="22" y="20"/>
                      <a:pt x="30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5" name="任意多边形: 形状 10594">
                <a:extLst>
                  <a:ext uri="{FF2B5EF4-FFF2-40B4-BE49-F238E27FC236}">
                    <a16:creationId xmlns:a16="http://schemas.microsoft.com/office/drawing/2014/main" id="{CFB3EA3C-3AC9-4EBF-8895-7C34EBFA6F18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32" y="2617"/>
                <a:ext cx="133" cy="60"/>
              </a:xfrm>
              <a:custGeom>
                <a:avLst/>
                <a:gdLst>
                  <a:gd name="T0" fmla="*/ 15 w 64"/>
                  <a:gd name="T1" fmla="*/ 21 h 29"/>
                  <a:gd name="T2" fmla="*/ 9 w 64"/>
                  <a:gd name="T3" fmla="*/ 16 h 29"/>
                  <a:gd name="T4" fmla="*/ 0 w 64"/>
                  <a:gd name="T5" fmla="*/ 23 h 29"/>
                  <a:gd name="T6" fmla="*/ 3 w 64"/>
                  <a:gd name="T7" fmla="*/ 22 h 29"/>
                  <a:gd name="T8" fmla="*/ 4 w 64"/>
                  <a:gd name="T9" fmla="*/ 24 h 29"/>
                  <a:gd name="T10" fmla="*/ 4 w 64"/>
                  <a:gd name="T11" fmla="*/ 27 h 29"/>
                  <a:gd name="T12" fmla="*/ 5 w 64"/>
                  <a:gd name="T13" fmla="*/ 26 h 29"/>
                  <a:gd name="T14" fmla="*/ 7 w 64"/>
                  <a:gd name="T15" fmla="*/ 29 h 29"/>
                  <a:gd name="T16" fmla="*/ 8 w 64"/>
                  <a:gd name="T17" fmla="*/ 20 h 29"/>
                  <a:gd name="T18" fmla="*/ 14 w 64"/>
                  <a:gd name="T19" fmla="*/ 25 h 29"/>
                  <a:gd name="T20" fmla="*/ 21 w 64"/>
                  <a:gd name="T21" fmla="*/ 23 h 29"/>
                  <a:gd name="T22" fmla="*/ 27 w 64"/>
                  <a:gd name="T23" fmla="*/ 15 h 29"/>
                  <a:gd name="T24" fmla="*/ 29 w 64"/>
                  <a:gd name="T25" fmla="*/ 18 h 29"/>
                  <a:gd name="T26" fmla="*/ 37 w 64"/>
                  <a:gd name="T27" fmla="*/ 15 h 29"/>
                  <a:gd name="T28" fmla="*/ 37 w 64"/>
                  <a:gd name="T29" fmla="*/ 10 h 29"/>
                  <a:gd name="T30" fmla="*/ 64 w 64"/>
                  <a:gd name="T31" fmla="*/ 5 h 29"/>
                  <a:gd name="T32" fmla="*/ 63 w 64"/>
                  <a:gd name="T33" fmla="*/ 3 h 29"/>
                  <a:gd name="T34" fmla="*/ 61 w 64"/>
                  <a:gd name="T35" fmla="*/ 1 h 29"/>
                  <a:gd name="T36" fmla="*/ 15 w 64"/>
                  <a:gd name="T37" fmla="*/ 14 h 29"/>
                  <a:gd name="T38" fmla="*/ 15 w 64"/>
                  <a:gd name="T39" fmla="*/ 21 h 29"/>
                  <a:gd name="T40" fmla="*/ 6 w 64"/>
                  <a:gd name="T41" fmla="*/ 21 h 29"/>
                  <a:gd name="T42" fmla="*/ 6 w 64"/>
                  <a:gd name="T43" fmla="*/ 19 h 29"/>
                  <a:gd name="T44" fmla="*/ 7 w 64"/>
                  <a:gd name="T45" fmla="*/ 20 h 29"/>
                  <a:gd name="T46" fmla="*/ 6 w 64"/>
                  <a:gd name="T47" fmla="*/ 2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4" h="29">
                    <a:moveTo>
                      <a:pt x="15" y="21"/>
                    </a:moveTo>
                    <a:cubicBezTo>
                      <a:pt x="14" y="14"/>
                      <a:pt x="8" y="24"/>
                      <a:pt x="9" y="16"/>
                    </a:cubicBezTo>
                    <a:cubicBezTo>
                      <a:pt x="5" y="17"/>
                      <a:pt x="1" y="19"/>
                      <a:pt x="0" y="23"/>
                    </a:cubicBezTo>
                    <a:cubicBezTo>
                      <a:pt x="2" y="21"/>
                      <a:pt x="2" y="21"/>
                      <a:pt x="3" y="22"/>
                    </a:cubicBezTo>
                    <a:cubicBezTo>
                      <a:pt x="3" y="23"/>
                      <a:pt x="3" y="24"/>
                      <a:pt x="4" y="24"/>
                    </a:cubicBezTo>
                    <a:cubicBezTo>
                      <a:pt x="4" y="25"/>
                      <a:pt x="4" y="26"/>
                      <a:pt x="4" y="27"/>
                    </a:cubicBezTo>
                    <a:cubicBezTo>
                      <a:pt x="4" y="26"/>
                      <a:pt x="4" y="26"/>
                      <a:pt x="5" y="26"/>
                    </a:cubicBezTo>
                    <a:cubicBezTo>
                      <a:pt x="5" y="27"/>
                      <a:pt x="6" y="28"/>
                      <a:pt x="7" y="29"/>
                    </a:cubicBezTo>
                    <a:cubicBezTo>
                      <a:pt x="10" y="27"/>
                      <a:pt x="9" y="24"/>
                      <a:pt x="8" y="20"/>
                    </a:cubicBezTo>
                    <a:cubicBezTo>
                      <a:pt x="10" y="21"/>
                      <a:pt x="11" y="23"/>
                      <a:pt x="14" y="25"/>
                    </a:cubicBezTo>
                    <a:cubicBezTo>
                      <a:pt x="16" y="21"/>
                      <a:pt x="18" y="23"/>
                      <a:pt x="21" y="23"/>
                    </a:cubicBezTo>
                    <a:cubicBezTo>
                      <a:pt x="18" y="16"/>
                      <a:pt x="26" y="19"/>
                      <a:pt x="27" y="15"/>
                    </a:cubicBezTo>
                    <a:cubicBezTo>
                      <a:pt x="27" y="16"/>
                      <a:pt x="28" y="16"/>
                      <a:pt x="29" y="18"/>
                    </a:cubicBezTo>
                    <a:cubicBezTo>
                      <a:pt x="31" y="15"/>
                      <a:pt x="34" y="15"/>
                      <a:pt x="37" y="15"/>
                    </a:cubicBezTo>
                    <a:cubicBezTo>
                      <a:pt x="37" y="13"/>
                      <a:pt x="37" y="12"/>
                      <a:pt x="37" y="10"/>
                    </a:cubicBezTo>
                    <a:cubicBezTo>
                      <a:pt x="49" y="12"/>
                      <a:pt x="56" y="4"/>
                      <a:pt x="64" y="5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2" y="2"/>
                      <a:pt x="62" y="0"/>
                      <a:pt x="61" y="1"/>
                    </a:cubicBezTo>
                    <a:cubicBezTo>
                      <a:pt x="45" y="5"/>
                      <a:pt x="33" y="5"/>
                      <a:pt x="15" y="14"/>
                    </a:cubicBezTo>
                    <a:cubicBezTo>
                      <a:pt x="15" y="16"/>
                      <a:pt x="17" y="19"/>
                      <a:pt x="15" y="21"/>
                    </a:cubicBezTo>
                    <a:close/>
                    <a:moveTo>
                      <a:pt x="6" y="21"/>
                    </a:moveTo>
                    <a:cubicBezTo>
                      <a:pt x="6" y="20"/>
                      <a:pt x="6" y="20"/>
                      <a:pt x="6" y="19"/>
                    </a:cubicBezTo>
                    <a:cubicBezTo>
                      <a:pt x="6" y="19"/>
                      <a:pt x="7" y="20"/>
                      <a:pt x="7" y="20"/>
                    </a:cubicBezTo>
                    <a:cubicBezTo>
                      <a:pt x="7" y="20"/>
                      <a:pt x="6" y="20"/>
                      <a:pt x="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6" name="任意多边形: 形状 10595">
                <a:extLst>
                  <a:ext uri="{FF2B5EF4-FFF2-40B4-BE49-F238E27FC236}">
                    <a16:creationId xmlns:a16="http://schemas.microsoft.com/office/drawing/2014/main" id="{515FBD78-3A0E-4A92-99A2-31291F1D37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65" y="2675"/>
                <a:ext cx="13" cy="14"/>
              </a:xfrm>
              <a:custGeom>
                <a:avLst/>
                <a:gdLst>
                  <a:gd name="T0" fmla="*/ 0 w 6"/>
                  <a:gd name="T1" fmla="*/ 3 h 7"/>
                  <a:gd name="T2" fmla="*/ 2 w 6"/>
                  <a:gd name="T3" fmla="*/ 7 h 7"/>
                  <a:gd name="T4" fmla="*/ 6 w 6"/>
                  <a:gd name="T5" fmla="*/ 4 h 7"/>
                  <a:gd name="T6" fmla="*/ 1 w 6"/>
                  <a:gd name="T7" fmla="*/ 1 h 7"/>
                  <a:gd name="T8" fmla="*/ 0 w 6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0" y="3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4" y="4"/>
                      <a:pt x="4" y="4"/>
                      <a:pt x="6" y="4"/>
                    </a:cubicBezTo>
                    <a:cubicBezTo>
                      <a:pt x="5" y="1"/>
                      <a:pt x="3" y="0"/>
                      <a:pt x="1" y="1"/>
                    </a:cubicBezTo>
                    <a:cubicBezTo>
                      <a:pt x="2" y="3"/>
                      <a:pt x="2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7" name="任意多边形: 形状 10596">
                <a:extLst>
                  <a:ext uri="{FF2B5EF4-FFF2-40B4-BE49-F238E27FC236}">
                    <a16:creationId xmlns:a16="http://schemas.microsoft.com/office/drawing/2014/main" id="{1F7C47B6-A5D9-4EB1-914F-148EF17964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98" y="2658"/>
                <a:ext cx="19" cy="15"/>
              </a:xfrm>
              <a:custGeom>
                <a:avLst/>
                <a:gdLst>
                  <a:gd name="T0" fmla="*/ 7 w 9"/>
                  <a:gd name="T1" fmla="*/ 0 h 7"/>
                  <a:gd name="T2" fmla="*/ 0 w 9"/>
                  <a:gd name="T3" fmla="*/ 2 h 7"/>
                  <a:gd name="T4" fmla="*/ 7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7" y="0"/>
                    </a:moveTo>
                    <a:cubicBezTo>
                      <a:pt x="5" y="2"/>
                      <a:pt x="3" y="0"/>
                      <a:pt x="0" y="2"/>
                    </a:cubicBezTo>
                    <a:cubicBezTo>
                      <a:pt x="2" y="7"/>
                      <a:pt x="9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8" name="任意多边形: 形状 10597">
                <a:extLst>
                  <a:ext uri="{FF2B5EF4-FFF2-40B4-BE49-F238E27FC236}">
                    <a16:creationId xmlns:a16="http://schemas.microsoft.com/office/drawing/2014/main" id="{B29E73A2-BABD-4AB1-83D6-60EEA72BDE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61" y="2608"/>
                <a:ext cx="23" cy="15"/>
              </a:xfrm>
              <a:custGeom>
                <a:avLst/>
                <a:gdLst>
                  <a:gd name="T0" fmla="*/ 10 w 11"/>
                  <a:gd name="T1" fmla="*/ 7 h 7"/>
                  <a:gd name="T2" fmla="*/ 2 w 11"/>
                  <a:gd name="T3" fmla="*/ 5 h 7"/>
                  <a:gd name="T4" fmla="*/ 10 w 1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10" y="7"/>
                    </a:moveTo>
                    <a:cubicBezTo>
                      <a:pt x="11" y="2"/>
                      <a:pt x="0" y="0"/>
                      <a:pt x="2" y="5"/>
                    </a:cubicBezTo>
                    <a:cubicBezTo>
                      <a:pt x="5" y="3"/>
                      <a:pt x="8" y="5"/>
                      <a:pt x="1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9" name="任意多边形: 形状 10598">
                <a:extLst>
                  <a:ext uri="{FF2B5EF4-FFF2-40B4-BE49-F238E27FC236}">
                    <a16:creationId xmlns:a16="http://schemas.microsoft.com/office/drawing/2014/main" id="{FCBFA777-6412-4A82-8EDA-0619D1CC31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3" y="2536"/>
                <a:ext cx="17" cy="10"/>
              </a:xfrm>
              <a:custGeom>
                <a:avLst/>
                <a:gdLst>
                  <a:gd name="T0" fmla="*/ 8 w 8"/>
                  <a:gd name="T1" fmla="*/ 1 h 5"/>
                  <a:gd name="T2" fmla="*/ 0 w 8"/>
                  <a:gd name="T3" fmla="*/ 5 h 5"/>
                  <a:gd name="T4" fmla="*/ 8 w 8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6" y="4"/>
                      <a:pt x="1" y="0"/>
                      <a:pt x="0" y="5"/>
                    </a:cubicBezTo>
                    <a:cubicBezTo>
                      <a:pt x="3" y="3"/>
                      <a:pt x="8" y="5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0" name="任意多边形: 形状 10599">
                <a:extLst>
                  <a:ext uri="{FF2B5EF4-FFF2-40B4-BE49-F238E27FC236}">
                    <a16:creationId xmlns:a16="http://schemas.microsoft.com/office/drawing/2014/main" id="{6D42B14B-825F-4FA4-B933-3F5BA875C5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33" y="199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0 w 8"/>
                  <a:gd name="T3" fmla="*/ 2 h 5"/>
                  <a:gd name="T4" fmla="*/ 2 w 8"/>
                  <a:gd name="T5" fmla="*/ 5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4" y="2"/>
                      <a:pt x="2" y="0"/>
                      <a:pt x="0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4" y="5"/>
                      <a:pt x="8" y="5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1" name="任意多边形: 形状 10600">
                <a:extLst>
                  <a:ext uri="{FF2B5EF4-FFF2-40B4-BE49-F238E27FC236}">
                    <a16:creationId xmlns:a16="http://schemas.microsoft.com/office/drawing/2014/main" id="{5BC1CBDA-C13E-4A8F-95C3-B434DF3C50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5" y="2581"/>
                <a:ext cx="15" cy="11"/>
              </a:xfrm>
              <a:custGeom>
                <a:avLst/>
                <a:gdLst>
                  <a:gd name="T0" fmla="*/ 4 w 7"/>
                  <a:gd name="T1" fmla="*/ 0 h 5"/>
                  <a:gd name="T2" fmla="*/ 1 w 7"/>
                  <a:gd name="T3" fmla="*/ 5 h 5"/>
                  <a:gd name="T4" fmla="*/ 4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4" y="0"/>
                    </a:moveTo>
                    <a:cubicBezTo>
                      <a:pt x="2" y="1"/>
                      <a:pt x="0" y="3"/>
                      <a:pt x="1" y="5"/>
                    </a:cubicBezTo>
                    <a:cubicBezTo>
                      <a:pt x="2" y="4"/>
                      <a:pt x="7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2" name="任意多边形: 形状 10601">
                <a:extLst>
                  <a:ext uri="{FF2B5EF4-FFF2-40B4-BE49-F238E27FC236}">
                    <a16:creationId xmlns:a16="http://schemas.microsoft.com/office/drawing/2014/main" id="{0D3BDBE6-3A26-46D8-82F5-86F68AA362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" y="2575"/>
                <a:ext cx="21" cy="29"/>
              </a:xfrm>
              <a:custGeom>
                <a:avLst/>
                <a:gdLst>
                  <a:gd name="T0" fmla="*/ 10 w 10"/>
                  <a:gd name="T1" fmla="*/ 5 h 14"/>
                  <a:gd name="T2" fmla="*/ 0 w 10"/>
                  <a:gd name="T3" fmla="*/ 6 h 14"/>
                  <a:gd name="T4" fmla="*/ 10 w 10"/>
                  <a:gd name="T5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4">
                    <a:moveTo>
                      <a:pt x="10" y="5"/>
                    </a:moveTo>
                    <a:cubicBezTo>
                      <a:pt x="6" y="0"/>
                      <a:pt x="4" y="7"/>
                      <a:pt x="0" y="6"/>
                    </a:cubicBezTo>
                    <a:cubicBezTo>
                      <a:pt x="4" y="14"/>
                      <a:pt x="5" y="4"/>
                      <a:pt x="1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3" name="任意多边形: 形状 10602">
                <a:extLst>
                  <a:ext uri="{FF2B5EF4-FFF2-40B4-BE49-F238E27FC236}">
                    <a16:creationId xmlns:a16="http://schemas.microsoft.com/office/drawing/2014/main" id="{857AB020-1285-4019-8AE0-C11FAD269C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58" y="2515"/>
                <a:ext cx="13" cy="14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7 h 7"/>
                  <a:gd name="T4" fmla="*/ 4 w 6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cubicBezTo>
                      <a:pt x="2" y="2"/>
                      <a:pt x="0" y="4"/>
                      <a:pt x="2" y="7"/>
                    </a:cubicBezTo>
                    <a:cubicBezTo>
                      <a:pt x="3" y="3"/>
                      <a:pt x="6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4" name="任意多边形: 形状 10603">
                <a:extLst>
                  <a:ext uri="{FF2B5EF4-FFF2-40B4-BE49-F238E27FC236}">
                    <a16:creationId xmlns:a16="http://schemas.microsoft.com/office/drawing/2014/main" id="{EEC2316D-8F88-481F-8623-3C8F70239F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3" y="2299"/>
                <a:ext cx="17" cy="21"/>
              </a:xfrm>
              <a:custGeom>
                <a:avLst/>
                <a:gdLst>
                  <a:gd name="T0" fmla="*/ 1 w 8"/>
                  <a:gd name="T1" fmla="*/ 10 h 10"/>
                  <a:gd name="T2" fmla="*/ 8 w 8"/>
                  <a:gd name="T3" fmla="*/ 7 h 10"/>
                  <a:gd name="T4" fmla="*/ 3 w 8"/>
                  <a:gd name="T5" fmla="*/ 4 h 10"/>
                  <a:gd name="T6" fmla="*/ 1 w 8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0">
                    <a:moveTo>
                      <a:pt x="1" y="10"/>
                    </a:moveTo>
                    <a:cubicBezTo>
                      <a:pt x="3" y="8"/>
                      <a:pt x="6" y="10"/>
                      <a:pt x="8" y="7"/>
                    </a:cubicBezTo>
                    <a:cubicBezTo>
                      <a:pt x="6" y="5"/>
                      <a:pt x="4" y="0"/>
                      <a:pt x="3" y="4"/>
                    </a:cubicBezTo>
                    <a:cubicBezTo>
                      <a:pt x="6" y="5"/>
                      <a:pt x="0" y="8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5" name="任意多边形: 形状 10604">
                <a:extLst>
                  <a:ext uri="{FF2B5EF4-FFF2-40B4-BE49-F238E27FC236}">
                    <a16:creationId xmlns:a16="http://schemas.microsoft.com/office/drawing/2014/main" id="{2BCAAA79-CCEF-4A53-8E19-E957A4D4CEC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" y="2478"/>
                <a:ext cx="12" cy="12"/>
              </a:xfrm>
              <a:custGeom>
                <a:avLst/>
                <a:gdLst>
                  <a:gd name="T0" fmla="*/ 0 w 6"/>
                  <a:gd name="T1" fmla="*/ 0 h 6"/>
                  <a:gd name="T2" fmla="*/ 2 w 6"/>
                  <a:gd name="T3" fmla="*/ 6 h 6"/>
                  <a:gd name="T4" fmla="*/ 6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1" y="2"/>
                      <a:pt x="2" y="4"/>
                      <a:pt x="2" y="6"/>
                    </a:cubicBezTo>
                    <a:cubicBezTo>
                      <a:pt x="4" y="3"/>
                      <a:pt x="5" y="6"/>
                      <a:pt x="6" y="6"/>
                    </a:cubicBezTo>
                    <a:cubicBezTo>
                      <a:pt x="6" y="3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6" name="任意多边形: 形状 10605">
                <a:extLst>
                  <a:ext uri="{FF2B5EF4-FFF2-40B4-BE49-F238E27FC236}">
                    <a16:creationId xmlns:a16="http://schemas.microsoft.com/office/drawing/2014/main" id="{DB6F0178-D8E5-46E1-8049-F240B7776E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54" y="2471"/>
                <a:ext cx="14" cy="19"/>
              </a:xfrm>
              <a:custGeom>
                <a:avLst/>
                <a:gdLst>
                  <a:gd name="T0" fmla="*/ 6 w 7"/>
                  <a:gd name="T1" fmla="*/ 5 h 9"/>
                  <a:gd name="T2" fmla="*/ 5 w 7"/>
                  <a:gd name="T3" fmla="*/ 1 h 9"/>
                  <a:gd name="T4" fmla="*/ 0 w 7"/>
                  <a:gd name="T5" fmla="*/ 0 h 9"/>
                  <a:gd name="T6" fmla="*/ 3 w 7"/>
                  <a:gd name="T7" fmla="*/ 7 h 9"/>
                  <a:gd name="T8" fmla="*/ 6 w 7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6" y="5"/>
                    </a:moveTo>
                    <a:cubicBezTo>
                      <a:pt x="4" y="6"/>
                      <a:pt x="6" y="3"/>
                      <a:pt x="5" y="1"/>
                    </a:cubicBezTo>
                    <a:cubicBezTo>
                      <a:pt x="3" y="2"/>
                      <a:pt x="2" y="0"/>
                      <a:pt x="0" y="0"/>
                    </a:cubicBezTo>
                    <a:cubicBezTo>
                      <a:pt x="2" y="3"/>
                      <a:pt x="3" y="5"/>
                      <a:pt x="3" y="7"/>
                    </a:cubicBezTo>
                    <a:cubicBezTo>
                      <a:pt x="4" y="5"/>
                      <a:pt x="7" y="9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7" name="任意多边形: 形状 10606">
                <a:extLst>
                  <a:ext uri="{FF2B5EF4-FFF2-40B4-BE49-F238E27FC236}">
                    <a16:creationId xmlns:a16="http://schemas.microsoft.com/office/drawing/2014/main" id="{C68A1815-2F5F-4955-86B4-B83EB656A0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35" y="2426"/>
                <a:ext cx="11" cy="10"/>
              </a:xfrm>
              <a:custGeom>
                <a:avLst/>
                <a:gdLst>
                  <a:gd name="T0" fmla="*/ 5 w 5"/>
                  <a:gd name="T1" fmla="*/ 4 h 5"/>
                  <a:gd name="T2" fmla="*/ 3 w 5"/>
                  <a:gd name="T3" fmla="*/ 0 h 5"/>
                  <a:gd name="T4" fmla="*/ 0 w 5"/>
                  <a:gd name="T5" fmla="*/ 4 h 5"/>
                  <a:gd name="T6" fmla="*/ 5 w 5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4"/>
                    </a:moveTo>
                    <a:cubicBezTo>
                      <a:pt x="4" y="3"/>
                      <a:pt x="3" y="1"/>
                      <a:pt x="3" y="0"/>
                    </a:cubicBezTo>
                    <a:cubicBezTo>
                      <a:pt x="2" y="1"/>
                      <a:pt x="0" y="2"/>
                      <a:pt x="0" y="4"/>
                    </a:cubicBezTo>
                    <a:cubicBezTo>
                      <a:pt x="2" y="2"/>
                      <a:pt x="4" y="5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8" name="任意多边形: 形状 10607">
                <a:extLst>
                  <a:ext uri="{FF2B5EF4-FFF2-40B4-BE49-F238E27FC236}">
                    <a16:creationId xmlns:a16="http://schemas.microsoft.com/office/drawing/2014/main" id="{C3ACD9FE-4D68-427D-9F4D-32C8D818B9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8" y="2399"/>
                <a:ext cx="21" cy="27"/>
              </a:xfrm>
              <a:custGeom>
                <a:avLst/>
                <a:gdLst>
                  <a:gd name="T0" fmla="*/ 6 w 10"/>
                  <a:gd name="T1" fmla="*/ 13 h 13"/>
                  <a:gd name="T2" fmla="*/ 7 w 10"/>
                  <a:gd name="T3" fmla="*/ 8 h 13"/>
                  <a:gd name="T4" fmla="*/ 0 w 10"/>
                  <a:gd name="T5" fmla="*/ 6 h 13"/>
                  <a:gd name="T6" fmla="*/ 6 w 10"/>
                  <a:gd name="T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3">
                    <a:moveTo>
                      <a:pt x="6" y="13"/>
                    </a:moveTo>
                    <a:cubicBezTo>
                      <a:pt x="4" y="11"/>
                      <a:pt x="10" y="9"/>
                      <a:pt x="7" y="8"/>
                    </a:cubicBezTo>
                    <a:cubicBezTo>
                      <a:pt x="4" y="13"/>
                      <a:pt x="0" y="0"/>
                      <a:pt x="0" y="6"/>
                    </a:cubicBezTo>
                    <a:cubicBezTo>
                      <a:pt x="3" y="7"/>
                      <a:pt x="2" y="12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9" name="任意多边形: 形状 10608">
                <a:extLst>
                  <a:ext uri="{FF2B5EF4-FFF2-40B4-BE49-F238E27FC236}">
                    <a16:creationId xmlns:a16="http://schemas.microsoft.com/office/drawing/2014/main" id="{39A498CD-C2BC-4A33-BEDD-D978DC5216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1" y="2430"/>
                <a:ext cx="12" cy="12"/>
              </a:xfrm>
              <a:custGeom>
                <a:avLst/>
                <a:gdLst>
                  <a:gd name="T0" fmla="*/ 6 w 6"/>
                  <a:gd name="T1" fmla="*/ 5 h 6"/>
                  <a:gd name="T2" fmla="*/ 0 w 6"/>
                  <a:gd name="T3" fmla="*/ 1 h 6"/>
                  <a:gd name="T4" fmla="*/ 6 w 6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cubicBezTo>
                      <a:pt x="4" y="3"/>
                      <a:pt x="2" y="0"/>
                      <a:pt x="0" y="1"/>
                    </a:cubicBezTo>
                    <a:cubicBezTo>
                      <a:pt x="2" y="5"/>
                      <a:pt x="4" y="6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0" name="任意多边形: 形状 10609">
                <a:extLst>
                  <a:ext uri="{FF2B5EF4-FFF2-40B4-BE49-F238E27FC236}">
                    <a16:creationId xmlns:a16="http://schemas.microsoft.com/office/drawing/2014/main" id="{9A3B6780-46D4-4F66-AD03-44448D5F76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3" y="2413"/>
                <a:ext cx="21" cy="15"/>
              </a:xfrm>
              <a:custGeom>
                <a:avLst/>
                <a:gdLst>
                  <a:gd name="T0" fmla="*/ 10 w 10"/>
                  <a:gd name="T1" fmla="*/ 4 h 7"/>
                  <a:gd name="T2" fmla="*/ 10 w 10"/>
                  <a:gd name="T3" fmla="*/ 0 h 7"/>
                  <a:gd name="T4" fmla="*/ 2 w 10"/>
                  <a:gd name="T5" fmla="*/ 7 h 7"/>
                  <a:gd name="T6" fmla="*/ 10 w 10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10" y="4"/>
                    </a:moveTo>
                    <a:cubicBezTo>
                      <a:pt x="9" y="2"/>
                      <a:pt x="10" y="1"/>
                      <a:pt x="10" y="0"/>
                    </a:cubicBezTo>
                    <a:cubicBezTo>
                      <a:pt x="7" y="2"/>
                      <a:pt x="0" y="3"/>
                      <a:pt x="2" y="7"/>
                    </a:cubicBezTo>
                    <a:cubicBezTo>
                      <a:pt x="6" y="6"/>
                      <a:pt x="6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1" name="任意多边形: 形状 10610">
                <a:extLst>
                  <a:ext uri="{FF2B5EF4-FFF2-40B4-BE49-F238E27FC236}">
                    <a16:creationId xmlns:a16="http://schemas.microsoft.com/office/drawing/2014/main" id="{46C1AF1D-A756-4118-9336-44FABD1E74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27" y="2482"/>
                <a:ext cx="18" cy="14"/>
              </a:xfrm>
              <a:custGeom>
                <a:avLst/>
                <a:gdLst>
                  <a:gd name="T0" fmla="*/ 9 w 9"/>
                  <a:gd name="T1" fmla="*/ 3 h 7"/>
                  <a:gd name="T2" fmla="*/ 3 w 9"/>
                  <a:gd name="T3" fmla="*/ 6 h 7"/>
                  <a:gd name="T4" fmla="*/ 9 w 9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9" y="3"/>
                    </a:moveTo>
                    <a:cubicBezTo>
                      <a:pt x="6" y="4"/>
                      <a:pt x="0" y="0"/>
                      <a:pt x="3" y="6"/>
                    </a:cubicBezTo>
                    <a:cubicBezTo>
                      <a:pt x="5" y="3"/>
                      <a:pt x="9" y="7"/>
                      <a:pt x="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2" name="任意多边形: 形状 10611">
                <a:extLst>
                  <a:ext uri="{FF2B5EF4-FFF2-40B4-BE49-F238E27FC236}">
                    <a16:creationId xmlns:a16="http://schemas.microsoft.com/office/drawing/2014/main" id="{B422D0F2-B59F-4A00-8E3B-E6A0F3C5C8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1" y="1973"/>
                <a:ext cx="23" cy="17"/>
              </a:xfrm>
              <a:custGeom>
                <a:avLst/>
                <a:gdLst>
                  <a:gd name="T0" fmla="*/ 3 w 11"/>
                  <a:gd name="T1" fmla="*/ 8 h 8"/>
                  <a:gd name="T2" fmla="*/ 11 w 11"/>
                  <a:gd name="T3" fmla="*/ 4 h 8"/>
                  <a:gd name="T4" fmla="*/ 3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3" y="8"/>
                    </a:moveTo>
                    <a:cubicBezTo>
                      <a:pt x="7" y="6"/>
                      <a:pt x="7" y="5"/>
                      <a:pt x="11" y="4"/>
                    </a:cubicBezTo>
                    <a:cubicBezTo>
                      <a:pt x="9" y="0"/>
                      <a:pt x="0" y="8"/>
                      <a:pt x="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3" name="任意多边形: 形状 10612">
                <a:extLst>
                  <a:ext uri="{FF2B5EF4-FFF2-40B4-BE49-F238E27FC236}">
                    <a16:creationId xmlns:a16="http://schemas.microsoft.com/office/drawing/2014/main" id="{5E8B7CDF-308A-4CEF-8068-7609E089FC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2328"/>
                <a:ext cx="31" cy="25"/>
              </a:xfrm>
              <a:custGeom>
                <a:avLst/>
                <a:gdLst>
                  <a:gd name="T0" fmla="*/ 10 w 15"/>
                  <a:gd name="T1" fmla="*/ 3 h 12"/>
                  <a:gd name="T2" fmla="*/ 9 w 15"/>
                  <a:gd name="T3" fmla="*/ 3 h 12"/>
                  <a:gd name="T4" fmla="*/ 3 w 15"/>
                  <a:gd name="T5" fmla="*/ 1 h 12"/>
                  <a:gd name="T6" fmla="*/ 3 w 15"/>
                  <a:gd name="T7" fmla="*/ 1 h 12"/>
                  <a:gd name="T8" fmla="*/ 0 w 15"/>
                  <a:gd name="T9" fmla="*/ 7 h 12"/>
                  <a:gd name="T10" fmla="*/ 2 w 15"/>
                  <a:gd name="T11" fmla="*/ 12 h 12"/>
                  <a:gd name="T12" fmla="*/ 5 w 15"/>
                  <a:gd name="T13" fmla="*/ 10 h 12"/>
                  <a:gd name="T14" fmla="*/ 1 w 15"/>
                  <a:gd name="T15" fmla="*/ 5 h 12"/>
                  <a:gd name="T16" fmla="*/ 3 w 15"/>
                  <a:gd name="T17" fmla="*/ 4 h 12"/>
                  <a:gd name="T18" fmla="*/ 8 w 15"/>
                  <a:gd name="T19" fmla="*/ 12 h 12"/>
                  <a:gd name="T20" fmla="*/ 9 w 15"/>
                  <a:gd name="T21" fmla="*/ 8 h 12"/>
                  <a:gd name="T22" fmla="*/ 14 w 15"/>
                  <a:gd name="T23" fmla="*/ 11 h 12"/>
                  <a:gd name="T24" fmla="*/ 11 w 15"/>
                  <a:gd name="T25" fmla="*/ 8 h 12"/>
                  <a:gd name="T26" fmla="*/ 12 w 15"/>
                  <a:gd name="T27" fmla="*/ 3 h 12"/>
                  <a:gd name="T28" fmla="*/ 10 w 15"/>
                  <a:gd name="T29" fmla="*/ 4 h 12"/>
                  <a:gd name="T30" fmla="*/ 10 w 15"/>
                  <a:gd name="T3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0" y="3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7" y="2"/>
                      <a:pt x="5" y="0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2"/>
                      <a:pt x="0" y="4"/>
                      <a:pt x="0" y="7"/>
                    </a:cubicBezTo>
                    <a:cubicBezTo>
                      <a:pt x="3" y="7"/>
                      <a:pt x="1" y="10"/>
                      <a:pt x="2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7"/>
                      <a:pt x="2" y="8"/>
                      <a:pt x="1" y="5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8" y="5"/>
                      <a:pt x="5" y="11"/>
                      <a:pt x="8" y="12"/>
                    </a:cubicBezTo>
                    <a:cubicBezTo>
                      <a:pt x="8" y="10"/>
                      <a:pt x="8" y="9"/>
                      <a:pt x="9" y="8"/>
                    </a:cubicBezTo>
                    <a:cubicBezTo>
                      <a:pt x="11" y="10"/>
                      <a:pt x="12" y="12"/>
                      <a:pt x="14" y="11"/>
                    </a:cubicBezTo>
                    <a:cubicBezTo>
                      <a:pt x="13" y="9"/>
                      <a:pt x="12" y="8"/>
                      <a:pt x="11" y="8"/>
                    </a:cubicBezTo>
                    <a:cubicBezTo>
                      <a:pt x="13" y="7"/>
                      <a:pt x="15" y="7"/>
                      <a:pt x="12" y="3"/>
                    </a:cubicBezTo>
                    <a:cubicBezTo>
                      <a:pt x="12" y="4"/>
                      <a:pt x="11" y="4"/>
                      <a:pt x="10" y="4"/>
                    </a:cubicBezTo>
                    <a:cubicBezTo>
                      <a:pt x="10" y="3"/>
                      <a:pt x="10" y="3"/>
                      <a:pt x="1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4" name="任意多边形: 形状 10613">
                <a:extLst>
                  <a:ext uri="{FF2B5EF4-FFF2-40B4-BE49-F238E27FC236}">
                    <a16:creationId xmlns:a16="http://schemas.microsoft.com/office/drawing/2014/main" id="{0AE02F2B-2E84-40DF-A96B-46A9D58311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3" y="2002"/>
                <a:ext cx="23" cy="11"/>
              </a:xfrm>
              <a:custGeom>
                <a:avLst/>
                <a:gdLst>
                  <a:gd name="T0" fmla="*/ 11 w 11"/>
                  <a:gd name="T1" fmla="*/ 2 h 5"/>
                  <a:gd name="T2" fmla="*/ 2 w 11"/>
                  <a:gd name="T3" fmla="*/ 5 h 5"/>
                  <a:gd name="T4" fmla="*/ 11 w 11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11" y="2"/>
                    </a:moveTo>
                    <a:cubicBezTo>
                      <a:pt x="9" y="0"/>
                      <a:pt x="0" y="2"/>
                      <a:pt x="2" y="5"/>
                    </a:cubicBezTo>
                    <a:cubicBezTo>
                      <a:pt x="5" y="3"/>
                      <a:pt x="8" y="4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5" name="任意多边形: 形状 10614">
                <a:extLst>
                  <a:ext uri="{FF2B5EF4-FFF2-40B4-BE49-F238E27FC236}">
                    <a16:creationId xmlns:a16="http://schemas.microsoft.com/office/drawing/2014/main" id="{926698F5-1F96-4876-BD05-5F7DADE092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0" y="2040"/>
                <a:ext cx="8" cy="14"/>
              </a:xfrm>
              <a:custGeom>
                <a:avLst/>
                <a:gdLst>
                  <a:gd name="T0" fmla="*/ 0 w 4"/>
                  <a:gd name="T1" fmla="*/ 3 h 7"/>
                  <a:gd name="T2" fmla="*/ 2 w 4"/>
                  <a:gd name="T3" fmla="*/ 7 h 7"/>
                  <a:gd name="T4" fmla="*/ 1 w 4"/>
                  <a:gd name="T5" fmla="*/ 0 h 7"/>
                  <a:gd name="T6" fmla="*/ 0 w 4"/>
                  <a:gd name="T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7">
                    <a:moveTo>
                      <a:pt x="0" y="3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4" y="6"/>
                      <a:pt x="4" y="0"/>
                      <a:pt x="1" y="0"/>
                    </a:cubicBezTo>
                    <a:cubicBezTo>
                      <a:pt x="2" y="2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6" name="任意多边形: 形状 10615">
                <a:extLst>
                  <a:ext uri="{FF2B5EF4-FFF2-40B4-BE49-F238E27FC236}">
                    <a16:creationId xmlns:a16="http://schemas.microsoft.com/office/drawing/2014/main" id="{15B432A8-FA12-4D2A-9CA1-1D6FFF291E7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3" y="2000"/>
                <a:ext cx="15" cy="21"/>
              </a:xfrm>
              <a:custGeom>
                <a:avLst/>
                <a:gdLst>
                  <a:gd name="T0" fmla="*/ 3 w 7"/>
                  <a:gd name="T1" fmla="*/ 7 h 10"/>
                  <a:gd name="T2" fmla="*/ 7 w 7"/>
                  <a:gd name="T3" fmla="*/ 6 h 10"/>
                  <a:gd name="T4" fmla="*/ 4 w 7"/>
                  <a:gd name="T5" fmla="*/ 0 h 10"/>
                  <a:gd name="T6" fmla="*/ 0 w 7"/>
                  <a:gd name="T7" fmla="*/ 4 h 10"/>
                  <a:gd name="T8" fmla="*/ 1 w 7"/>
                  <a:gd name="T9" fmla="*/ 7 h 10"/>
                  <a:gd name="T10" fmla="*/ 3 w 7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0">
                    <a:moveTo>
                      <a:pt x="3" y="7"/>
                    </a:moveTo>
                    <a:cubicBezTo>
                      <a:pt x="2" y="2"/>
                      <a:pt x="6" y="10"/>
                      <a:pt x="7" y="6"/>
                    </a:cubicBezTo>
                    <a:cubicBezTo>
                      <a:pt x="5" y="4"/>
                      <a:pt x="7" y="0"/>
                      <a:pt x="4" y="0"/>
                    </a:cubicBezTo>
                    <a:cubicBezTo>
                      <a:pt x="4" y="3"/>
                      <a:pt x="2" y="5"/>
                      <a:pt x="0" y="4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8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7" name="任意多边形: 形状 10616">
                <a:extLst>
                  <a:ext uri="{FF2B5EF4-FFF2-40B4-BE49-F238E27FC236}">
                    <a16:creationId xmlns:a16="http://schemas.microsoft.com/office/drawing/2014/main" id="{06111407-C609-4AEA-9633-C8D7001EC7B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3" y="1658"/>
                <a:ext cx="29" cy="16"/>
              </a:xfrm>
              <a:custGeom>
                <a:avLst/>
                <a:gdLst>
                  <a:gd name="T0" fmla="*/ 14 w 14"/>
                  <a:gd name="T1" fmla="*/ 0 h 8"/>
                  <a:gd name="T2" fmla="*/ 0 w 14"/>
                  <a:gd name="T3" fmla="*/ 4 h 8"/>
                  <a:gd name="T4" fmla="*/ 14 w 14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8">
                    <a:moveTo>
                      <a:pt x="14" y="0"/>
                    </a:moveTo>
                    <a:cubicBezTo>
                      <a:pt x="8" y="2"/>
                      <a:pt x="3" y="4"/>
                      <a:pt x="0" y="4"/>
                    </a:cubicBezTo>
                    <a:cubicBezTo>
                      <a:pt x="4" y="8"/>
                      <a:pt x="12" y="3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8" name="任意多边形: 形状 10617">
                <a:extLst>
                  <a:ext uri="{FF2B5EF4-FFF2-40B4-BE49-F238E27FC236}">
                    <a16:creationId xmlns:a16="http://schemas.microsoft.com/office/drawing/2014/main" id="{6C26A89D-5858-427E-8D7A-483886A4B5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45" y="1979"/>
                <a:ext cx="19" cy="9"/>
              </a:xfrm>
              <a:custGeom>
                <a:avLst/>
                <a:gdLst>
                  <a:gd name="T0" fmla="*/ 8 w 9"/>
                  <a:gd name="T1" fmla="*/ 0 h 4"/>
                  <a:gd name="T2" fmla="*/ 2 w 9"/>
                  <a:gd name="T3" fmla="*/ 4 h 4"/>
                  <a:gd name="T4" fmla="*/ 8 w 9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4">
                    <a:moveTo>
                      <a:pt x="8" y="0"/>
                    </a:moveTo>
                    <a:cubicBezTo>
                      <a:pt x="6" y="1"/>
                      <a:pt x="0" y="0"/>
                      <a:pt x="2" y="4"/>
                    </a:cubicBezTo>
                    <a:cubicBezTo>
                      <a:pt x="3" y="2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9" name="任意多边形: 形状 10618">
                <a:extLst>
                  <a:ext uri="{FF2B5EF4-FFF2-40B4-BE49-F238E27FC236}">
                    <a16:creationId xmlns:a16="http://schemas.microsoft.com/office/drawing/2014/main" id="{C2B996E6-5388-4950-9F34-66AD45B86E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26" y="2031"/>
                <a:ext cx="15" cy="13"/>
              </a:xfrm>
              <a:custGeom>
                <a:avLst/>
                <a:gdLst>
                  <a:gd name="T0" fmla="*/ 6 w 7"/>
                  <a:gd name="T1" fmla="*/ 1 h 6"/>
                  <a:gd name="T2" fmla="*/ 0 w 7"/>
                  <a:gd name="T3" fmla="*/ 2 h 6"/>
                  <a:gd name="T4" fmla="*/ 6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6" y="1"/>
                    </a:moveTo>
                    <a:cubicBezTo>
                      <a:pt x="4" y="0"/>
                      <a:pt x="2" y="3"/>
                      <a:pt x="0" y="2"/>
                    </a:cubicBezTo>
                    <a:cubicBezTo>
                      <a:pt x="2" y="6"/>
                      <a:pt x="7" y="6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0" name="任意多边形: 形状 10619">
                <a:extLst>
                  <a:ext uri="{FF2B5EF4-FFF2-40B4-BE49-F238E27FC236}">
                    <a16:creationId xmlns:a16="http://schemas.microsoft.com/office/drawing/2014/main" id="{3A01A2C0-CF40-47B1-9BE3-0982E0E226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5" y="2262"/>
                <a:ext cx="27" cy="23"/>
              </a:xfrm>
              <a:custGeom>
                <a:avLst/>
                <a:gdLst>
                  <a:gd name="T0" fmla="*/ 1 w 13"/>
                  <a:gd name="T1" fmla="*/ 5 h 11"/>
                  <a:gd name="T2" fmla="*/ 5 w 13"/>
                  <a:gd name="T3" fmla="*/ 7 h 11"/>
                  <a:gd name="T4" fmla="*/ 13 w 13"/>
                  <a:gd name="T5" fmla="*/ 6 h 11"/>
                  <a:gd name="T6" fmla="*/ 1 w 1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1">
                    <a:moveTo>
                      <a:pt x="1" y="5"/>
                    </a:moveTo>
                    <a:cubicBezTo>
                      <a:pt x="2" y="3"/>
                      <a:pt x="4" y="4"/>
                      <a:pt x="5" y="7"/>
                    </a:cubicBezTo>
                    <a:cubicBezTo>
                      <a:pt x="6" y="2"/>
                      <a:pt x="12" y="11"/>
                      <a:pt x="13" y="6"/>
                    </a:cubicBezTo>
                    <a:cubicBezTo>
                      <a:pt x="10" y="1"/>
                      <a:pt x="0" y="0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1" name="任意多边形: 形状 10620">
                <a:extLst>
                  <a:ext uri="{FF2B5EF4-FFF2-40B4-BE49-F238E27FC236}">
                    <a16:creationId xmlns:a16="http://schemas.microsoft.com/office/drawing/2014/main" id="{7B8C5A39-C713-4AC8-B866-B22459B370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1944"/>
                <a:ext cx="50" cy="33"/>
              </a:xfrm>
              <a:custGeom>
                <a:avLst/>
                <a:gdLst>
                  <a:gd name="T0" fmla="*/ 12 w 24"/>
                  <a:gd name="T1" fmla="*/ 9 h 16"/>
                  <a:gd name="T2" fmla="*/ 16 w 24"/>
                  <a:gd name="T3" fmla="*/ 12 h 16"/>
                  <a:gd name="T4" fmla="*/ 18 w 24"/>
                  <a:gd name="T5" fmla="*/ 10 h 16"/>
                  <a:gd name="T6" fmla="*/ 18 w 24"/>
                  <a:gd name="T7" fmla="*/ 5 h 16"/>
                  <a:gd name="T8" fmla="*/ 24 w 24"/>
                  <a:gd name="T9" fmla="*/ 5 h 16"/>
                  <a:gd name="T10" fmla="*/ 22 w 24"/>
                  <a:gd name="T11" fmla="*/ 0 h 16"/>
                  <a:gd name="T12" fmla="*/ 7 w 24"/>
                  <a:gd name="T13" fmla="*/ 6 h 16"/>
                  <a:gd name="T14" fmla="*/ 1 w 24"/>
                  <a:gd name="T15" fmla="*/ 16 h 16"/>
                  <a:gd name="T16" fmla="*/ 12 w 24"/>
                  <a:gd name="T17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6">
                    <a:moveTo>
                      <a:pt x="12" y="9"/>
                    </a:moveTo>
                    <a:cubicBezTo>
                      <a:pt x="15" y="9"/>
                      <a:pt x="13" y="14"/>
                      <a:pt x="16" y="12"/>
                    </a:cubicBezTo>
                    <a:cubicBezTo>
                      <a:pt x="15" y="10"/>
                      <a:pt x="17" y="4"/>
                      <a:pt x="18" y="10"/>
                    </a:cubicBezTo>
                    <a:cubicBezTo>
                      <a:pt x="21" y="10"/>
                      <a:pt x="16" y="6"/>
                      <a:pt x="18" y="5"/>
                    </a:cubicBezTo>
                    <a:cubicBezTo>
                      <a:pt x="22" y="9"/>
                      <a:pt x="20" y="1"/>
                      <a:pt x="24" y="5"/>
                    </a:cubicBezTo>
                    <a:cubicBezTo>
                      <a:pt x="22" y="3"/>
                      <a:pt x="23" y="2"/>
                      <a:pt x="22" y="0"/>
                    </a:cubicBezTo>
                    <a:cubicBezTo>
                      <a:pt x="16" y="3"/>
                      <a:pt x="13" y="8"/>
                      <a:pt x="7" y="6"/>
                    </a:cubicBezTo>
                    <a:cubicBezTo>
                      <a:pt x="7" y="10"/>
                      <a:pt x="0" y="11"/>
                      <a:pt x="1" y="16"/>
                    </a:cubicBezTo>
                    <a:cubicBezTo>
                      <a:pt x="4" y="14"/>
                      <a:pt x="9" y="13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2" name="任意多边形: 形状 10621">
                <a:extLst>
                  <a:ext uri="{FF2B5EF4-FFF2-40B4-BE49-F238E27FC236}">
                    <a16:creationId xmlns:a16="http://schemas.microsoft.com/office/drawing/2014/main" id="{6547287B-BA09-469A-956A-244DB535C5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2158"/>
                <a:ext cx="14" cy="10"/>
              </a:xfrm>
              <a:custGeom>
                <a:avLst/>
                <a:gdLst>
                  <a:gd name="T0" fmla="*/ 1 w 7"/>
                  <a:gd name="T1" fmla="*/ 5 h 5"/>
                  <a:gd name="T2" fmla="*/ 6 w 7"/>
                  <a:gd name="T3" fmla="*/ 2 h 5"/>
                  <a:gd name="T4" fmla="*/ 0 w 7"/>
                  <a:gd name="T5" fmla="*/ 0 h 5"/>
                  <a:gd name="T6" fmla="*/ 1 w 7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cubicBezTo>
                      <a:pt x="2" y="5"/>
                      <a:pt x="7" y="4"/>
                      <a:pt x="6" y="2"/>
                    </a:cubicBezTo>
                    <a:cubicBezTo>
                      <a:pt x="4" y="4"/>
                      <a:pt x="2" y="1"/>
                      <a:pt x="0" y="0"/>
                    </a:cubicBezTo>
                    <a:cubicBezTo>
                      <a:pt x="2" y="3"/>
                      <a:pt x="0" y="3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3" name="任意多边形: 形状 10622">
                <a:extLst>
                  <a:ext uri="{FF2B5EF4-FFF2-40B4-BE49-F238E27FC236}">
                    <a16:creationId xmlns:a16="http://schemas.microsoft.com/office/drawing/2014/main" id="{5508AFC6-9B8B-4A89-935F-A467737351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0" y="2011"/>
                <a:ext cx="16" cy="18"/>
              </a:xfrm>
              <a:custGeom>
                <a:avLst/>
                <a:gdLst>
                  <a:gd name="T0" fmla="*/ 2 w 8"/>
                  <a:gd name="T1" fmla="*/ 9 h 9"/>
                  <a:gd name="T2" fmla="*/ 6 w 8"/>
                  <a:gd name="T3" fmla="*/ 0 h 9"/>
                  <a:gd name="T4" fmla="*/ 2 w 8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1" y="5"/>
                      <a:pt x="8" y="5"/>
                      <a:pt x="6" y="0"/>
                    </a:cubicBezTo>
                    <a:cubicBezTo>
                      <a:pt x="4" y="2"/>
                      <a:pt x="0" y="3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4" name="任意多边形: 形状 10623">
                <a:extLst>
                  <a:ext uri="{FF2B5EF4-FFF2-40B4-BE49-F238E27FC236}">
                    <a16:creationId xmlns:a16="http://schemas.microsoft.com/office/drawing/2014/main" id="{6EB56C23-F504-411C-B233-A9518B1D63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8" y="2112"/>
                <a:ext cx="14" cy="11"/>
              </a:xfrm>
              <a:custGeom>
                <a:avLst/>
                <a:gdLst>
                  <a:gd name="T0" fmla="*/ 1 w 7"/>
                  <a:gd name="T1" fmla="*/ 4 h 5"/>
                  <a:gd name="T2" fmla="*/ 7 w 7"/>
                  <a:gd name="T3" fmla="*/ 5 h 5"/>
                  <a:gd name="T4" fmla="*/ 6 w 7"/>
                  <a:gd name="T5" fmla="*/ 1 h 5"/>
                  <a:gd name="T6" fmla="*/ 1 w 7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4"/>
                    </a:moveTo>
                    <a:cubicBezTo>
                      <a:pt x="3" y="2"/>
                      <a:pt x="5" y="5"/>
                      <a:pt x="7" y="5"/>
                    </a:cubicBezTo>
                    <a:cubicBezTo>
                      <a:pt x="6" y="3"/>
                      <a:pt x="6" y="2"/>
                      <a:pt x="6" y="1"/>
                    </a:cubicBezTo>
                    <a:cubicBezTo>
                      <a:pt x="4" y="3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5" name="任意多边形: 形状 10624">
                <a:extLst>
                  <a:ext uri="{FF2B5EF4-FFF2-40B4-BE49-F238E27FC236}">
                    <a16:creationId xmlns:a16="http://schemas.microsoft.com/office/drawing/2014/main" id="{65F52C35-63A8-4182-A929-59602BF530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1911"/>
                <a:ext cx="12" cy="12"/>
              </a:xfrm>
              <a:custGeom>
                <a:avLst/>
                <a:gdLst>
                  <a:gd name="T0" fmla="*/ 5 w 6"/>
                  <a:gd name="T1" fmla="*/ 2 h 6"/>
                  <a:gd name="T2" fmla="*/ 3 w 6"/>
                  <a:gd name="T3" fmla="*/ 0 h 6"/>
                  <a:gd name="T4" fmla="*/ 1 w 6"/>
                  <a:gd name="T5" fmla="*/ 4 h 6"/>
                  <a:gd name="T6" fmla="*/ 5 w 6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5" y="2"/>
                    </a:moveTo>
                    <a:cubicBezTo>
                      <a:pt x="4" y="2"/>
                      <a:pt x="4" y="1"/>
                      <a:pt x="3" y="0"/>
                    </a:cubicBezTo>
                    <a:cubicBezTo>
                      <a:pt x="1" y="1"/>
                      <a:pt x="0" y="2"/>
                      <a:pt x="1" y="4"/>
                    </a:cubicBezTo>
                    <a:cubicBezTo>
                      <a:pt x="2" y="2"/>
                      <a:pt x="6" y="6"/>
                      <a:pt x="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6" name="任意多边形: 形状 10625">
                <a:extLst>
                  <a:ext uri="{FF2B5EF4-FFF2-40B4-BE49-F238E27FC236}">
                    <a16:creationId xmlns:a16="http://schemas.microsoft.com/office/drawing/2014/main" id="{358B32F5-E170-449E-8351-E7918E1112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" y="1928"/>
                <a:ext cx="11" cy="20"/>
              </a:xfrm>
              <a:custGeom>
                <a:avLst/>
                <a:gdLst>
                  <a:gd name="T0" fmla="*/ 5 w 5"/>
                  <a:gd name="T1" fmla="*/ 3 h 10"/>
                  <a:gd name="T2" fmla="*/ 0 w 5"/>
                  <a:gd name="T3" fmla="*/ 1 h 10"/>
                  <a:gd name="T4" fmla="*/ 2 w 5"/>
                  <a:gd name="T5" fmla="*/ 10 h 10"/>
                  <a:gd name="T6" fmla="*/ 5 w 5"/>
                  <a:gd name="T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0">
                    <a:moveTo>
                      <a:pt x="5" y="3"/>
                    </a:moveTo>
                    <a:cubicBezTo>
                      <a:pt x="3" y="4"/>
                      <a:pt x="2" y="0"/>
                      <a:pt x="0" y="1"/>
                    </a:cubicBezTo>
                    <a:cubicBezTo>
                      <a:pt x="2" y="5"/>
                      <a:pt x="0" y="6"/>
                      <a:pt x="2" y="10"/>
                    </a:cubicBezTo>
                    <a:cubicBezTo>
                      <a:pt x="4" y="8"/>
                      <a:pt x="5" y="6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7" name="任意多边形: 形状 10626">
                <a:extLst>
                  <a:ext uri="{FF2B5EF4-FFF2-40B4-BE49-F238E27FC236}">
                    <a16:creationId xmlns:a16="http://schemas.microsoft.com/office/drawing/2014/main" id="{250A80B5-9765-4BC7-A5AE-7AC2E99E5DF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2121"/>
                <a:ext cx="12" cy="22"/>
              </a:xfrm>
              <a:custGeom>
                <a:avLst/>
                <a:gdLst>
                  <a:gd name="T0" fmla="*/ 1 w 6"/>
                  <a:gd name="T1" fmla="*/ 6 h 11"/>
                  <a:gd name="T2" fmla="*/ 6 w 6"/>
                  <a:gd name="T3" fmla="*/ 6 h 11"/>
                  <a:gd name="T4" fmla="*/ 2 w 6"/>
                  <a:gd name="T5" fmla="*/ 2 h 11"/>
                  <a:gd name="T6" fmla="*/ 1 w 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1">
                    <a:moveTo>
                      <a:pt x="1" y="6"/>
                    </a:moveTo>
                    <a:cubicBezTo>
                      <a:pt x="2" y="3"/>
                      <a:pt x="6" y="11"/>
                      <a:pt x="6" y="6"/>
                    </a:cubicBezTo>
                    <a:cubicBezTo>
                      <a:pt x="4" y="8"/>
                      <a:pt x="3" y="0"/>
                      <a:pt x="2" y="2"/>
                    </a:cubicBezTo>
                    <a:cubicBezTo>
                      <a:pt x="3" y="4"/>
                      <a:pt x="0" y="4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8" name="任意多边形: 形状 10627">
                <a:extLst>
                  <a:ext uri="{FF2B5EF4-FFF2-40B4-BE49-F238E27FC236}">
                    <a16:creationId xmlns:a16="http://schemas.microsoft.com/office/drawing/2014/main" id="{2260A688-924F-4500-A07C-BFA4BD1BB3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" y="1988"/>
                <a:ext cx="31" cy="25"/>
              </a:xfrm>
              <a:custGeom>
                <a:avLst/>
                <a:gdLst>
                  <a:gd name="T0" fmla="*/ 15 w 15"/>
                  <a:gd name="T1" fmla="*/ 2 h 12"/>
                  <a:gd name="T2" fmla="*/ 8 w 15"/>
                  <a:gd name="T3" fmla="*/ 8 h 12"/>
                  <a:gd name="T4" fmla="*/ 6 w 15"/>
                  <a:gd name="T5" fmla="*/ 5 h 12"/>
                  <a:gd name="T6" fmla="*/ 1 w 15"/>
                  <a:gd name="T7" fmla="*/ 12 h 12"/>
                  <a:gd name="T8" fmla="*/ 15 w 15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15" y="2"/>
                    </a:moveTo>
                    <a:cubicBezTo>
                      <a:pt x="11" y="0"/>
                      <a:pt x="11" y="7"/>
                      <a:pt x="8" y="8"/>
                    </a:cubicBezTo>
                    <a:cubicBezTo>
                      <a:pt x="7" y="7"/>
                      <a:pt x="7" y="5"/>
                      <a:pt x="6" y="5"/>
                    </a:cubicBezTo>
                    <a:cubicBezTo>
                      <a:pt x="8" y="9"/>
                      <a:pt x="0" y="9"/>
                      <a:pt x="1" y="12"/>
                    </a:cubicBezTo>
                    <a:cubicBezTo>
                      <a:pt x="6" y="12"/>
                      <a:pt x="15" y="9"/>
                      <a:pt x="1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9" name="任意多边形: 形状 10628">
                <a:extLst>
                  <a:ext uri="{FF2B5EF4-FFF2-40B4-BE49-F238E27FC236}">
                    <a16:creationId xmlns:a16="http://schemas.microsoft.com/office/drawing/2014/main" id="{737090B5-3399-4E29-A14A-967763E693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0" y="2071"/>
                <a:ext cx="17" cy="12"/>
              </a:xfrm>
              <a:custGeom>
                <a:avLst/>
                <a:gdLst>
                  <a:gd name="T0" fmla="*/ 8 w 8"/>
                  <a:gd name="T1" fmla="*/ 4 h 6"/>
                  <a:gd name="T2" fmla="*/ 2 w 8"/>
                  <a:gd name="T3" fmla="*/ 4 h 6"/>
                  <a:gd name="T4" fmla="*/ 8 w 8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8" y="4"/>
                    </a:moveTo>
                    <a:cubicBezTo>
                      <a:pt x="6" y="2"/>
                      <a:pt x="0" y="0"/>
                      <a:pt x="2" y="4"/>
                    </a:cubicBezTo>
                    <a:cubicBezTo>
                      <a:pt x="4" y="4"/>
                      <a:pt x="6" y="6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0" name="任意多边形: 形状 10629">
                <a:extLst>
                  <a:ext uri="{FF2B5EF4-FFF2-40B4-BE49-F238E27FC236}">
                    <a16:creationId xmlns:a16="http://schemas.microsoft.com/office/drawing/2014/main" id="{C5BE3634-A59B-462F-B6A3-40A562554A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6" y="1953"/>
                <a:ext cx="10" cy="12"/>
              </a:xfrm>
              <a:custGeom>
                <a:avLst/>
                <a:gdLst>
                  <a:gd name="T0" fmla="*/ 4 w 5"/>
                  <a:gd name="T1" fmla="*/ 0 h 6"/>
                  <a:gd name="T2" fmla="*/ 0 w 5"/>
                  <a:gd name="T3" fmla="*/ 5 h 6"/>
                  <a:gd name="T4" fmla="*/ 4 w 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cubicBezTo>
                      <a:pt x="2" y="1"/>
                      <a:pt x="0" y="3"/>
                      <a:pt x="0" y="5"/>
                    </a:cubicBezTo>
                    <a:cubicBezTo>
                      <a:pt x="3" y="6"/>
                      <a:pt x="5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1" name="任意多边形: 形状 10630">
                <a:extLst>
                  <a:ext uri="{FF2B5EF4-FFF2-40B4-BE49-F238E27FC236}">
                    <a16:creationId xmlns:a16="http://schemas.microsoft.com/office/drawing/2014/main" id="{7F4F33F6-C32A-422B-A465-1673BC1031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3" y="1928"/>
                <a:ext cx="10" cy="14"/>
              </a:xfrm>
              <a:custGeom>
                <a:avLst/>
                <a:gdLst>
                  <a:gd name="T0" fmla="*/ 0 w 5"/>
                  <a:gd name="T1" fmla="*/ 1 h 7"/>
                  <a:gd name="T2" fmla="*/ 2 w 5"/>
                  <a:gd name="T3" fmla="*/ 7 h 7"/>
                  <a:gd name="T4" fmla="*/ 0 w 5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1"/>
                    </a:moveTo>
                    <a:cubicBezTo>
                      <a:pt x="2" y="4"/>
                      <a:pt x="0" y="4"/>
                      <a:pt x="2" y="7"/>
                    </a:cubicBezTo>
                    <a:cubicBezTo>
                      <a:pt x="5" y="6"/>
                      <a:pt x="2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2" name="任意多边形: 形状 10631">
                <a:extLst>
                  <a:ext uri="{FF2B5EF4-FFF2-40B4-BE49-F238E27FC236}">
                    <a16:creationId xmlns:a16="http://schemas.microsoft.com/office/drawing/2014/main" id="{84E96231-9E85-4AAA-97B2-FBD83D2C38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62" y="1585"/>
                <a:ext cx="14" cy="15"/>
              </a:xfrm>
              <a:custGeom>
                <a:avLst/>
                <a:gdLst>
                  <a:gd name="T0" fmla="*/ 7 w 7"/>
                  <a:gd name="T1" fmla="*/ 5 h 7"/>
                  <a:gd name="T2" fmla="*/ 1 w 7"/>
                  <a:gd name="T3" fmla="*/ 6 h 7"/>
                  <a:gd name="T4" fmla="*/ 7 w 7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7" y="5"/>
                    </a:moveTo>
                    <a:cubicBezTo>
                      <a:pt x="4" y="0"/>
                      <a:pt x="0" y="3"/>
                      <a:pt x="1" y="6"/>
                    </a:cubicBezTo>
                    <a:cubicBezTo>
                      <a:pt x="3" y="3"/>
                      <a:pt x="5" y="7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3" name="任意多边形: 形状 10632">
                <a:extLst>
                  <a:ext uri="{FF2B5EF4-FFF2-40B4-BE49-F238E27FC236}">
                    <a16:creationId xmlns:a16="http://schemas.microsoft.com/office/drawing/2014/main" id="{55A4707C-6A04-4AC1-8420-F974B0C6FF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2" y="1967"/>
                <a:ext cx="17" cy="15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0 h 7"/>
                  <a:gd name="T4" fmla="*/ 0 w 8"/>
                  <a:gd name="T5" fmla="*/ 3 h 7"/>
                  <a:gd name="T6" fmla="*/ 1 w 8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4" y="4"/>
                      <a:pt x="5" y="3"/>
                      <a:pt x="8" y="0"/>
                    </a:cubicBezTo>
                    <a:cubicBezTo>
                      <a:pt x="5" y="2"/>
                      <a:pt x="3" y="1"/>
                      <a:pt x="0" y="3"/>
                    </a:cubicBezTo>
                    <a:cubicBezTo>
                      <a:pt x="1" y="5"/>
                      <a:pt x="0" y="6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4" name="任意多边形: 形状 10633">
                <a:extLst>
                  <a:ext uri="{FF2B5EF4-FFF2-40B4-BE49-F238E27FC236}">
                    <a16:creationId xmlns:a16="http://schemas.microsoft.com/office/drawing/2014/main" id="{F6D8CAD5-2D9C-4402-8AB6-34D3F98079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9" y="1901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2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2" y="5"/>
                      <a:pt x="5" y="4"/>
                      <a:pt x="2" y="0"/>
                    </a:cubicBezTo>
                    <a:cubicBezTo>
                      <a:pt x="1" y="1"/>
                      <a:pt x="0" y="4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5" name="任意多边形: 形状 10634">
                <a:extLst>
                  <a:ext uri="{FF2B5EF4-FFF2-40B4-BE49-F238E27FC236}">
                    <a16:creationId xmlns:a16="http://schemas.microsoft.com/office/drawing/2014/main" id="{78A63E7E-12BB-40AF-86AD-3F934B7CDE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48" y="2036"/>
                <a:ext cx="17" cy="14"/>
              </a:xfrm>
              <a:custGeom>
                <a:avLst/>
                <a:gdLst>
                  <a:gd name="T0" fmla="*/ 0 w 8"/>
                  <a:gd name="T1" fmla="*/ 4 h 7"/>
                  <a:gd name="T2" fmla="*/ 8 w 8"/>
                  <a:gd name="T3" fmla="*/ 2 h 7"/>
                  <a:gd name="T4" fmla="*/ 0 w 8"/>
                  <a:gd name="T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0" y="4"/>
                    </a:moveTo>
                    <a:cubicBezTo>
                      <a:pt x="2" y="7"/>
                      <a:pt x="8" y="6"/>
                      <a:pt x="8" y="2"/>
                    </a:cubicBezTo>
                    <a:cubicBezTo>
                      <a:pt x="6" y="4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6" name="任意多边形: 形状 10635">
                <a:extLst>
                  <a:ext uri="{FF2B5EF4-FFF2-40B4-BE49-F238E27FC236}">
                    <a16:creationId xmlns:a16="http://schemas.microsoft.com/office/drawing/2014/main" id="{430BE118-1D13-4DC2-9A83-19A934B1CE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1969"/>
                <a:ext cx="19" cy="17"/>
              </a:xfrm>
              <a:custGeom>
                <a:avLst/>
                <a:gdLst>
                  <a:gd name="T0" fmla="*/ 0 w 9"/>
                  <a:gd name="T1" fmla="*/ 4 h 8"/>
                  <a:gd name="T2" fmla="*/ 6 w 9"/>
                  <a:gd name="T3" fmla="*/ 0 h 8"/>
                  <a:gd name="T4" fmla="*/ 0 w 9"/>
                  <a:gd name="T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3" y="8"/>
                      <a:pt x="9" y="5"/>
                      <a:pt x="6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7" name="任意多边形: 形状 10636">
                <a:extLst>
                  <a:ext uri="{FF2B5EF4-FFF2-40B4-BE49-F238E27FC236}">
                    <a16:creationId xmlns:a16="http://schemas.microsoft.com/office/drawing/2014/main" id="{3B8BEF13-13EE-45F1-A280-FDD4DB69B0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4" y="1909"/>
                <a:ext cx="17" cy="23"/>
              </a:xfrm>
              <a:custGeom>
                <a:avLst/>
                <a:gdLst>
                  <a:gd name="T0" fmla="*/ 7 w 8"/>
                  <a:gd name="T1" fmla="*/ 0 h 11"/>
                  <a:gd name="T2" fmla="*/ 2 w 8"/>
                  <a:gd name="T3" fmla="*/ 11 h 11"/>
                  <a:gd name="T4" fmla="*/ 7 w 8"/>
                  <a:gd name="T5" fmla="*/ 7 h 11"/>
                  <a:gd name="T6" fmla="*/ 7 w 8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7" y="0"/>
                    </a:moveTo>
                    <a:cubicBezTo>
                      <a:pt x="4" y="3"/>
                      <a:pt x="0" y="6"/>
                      <a:pt x="2" y="11"/>
                    </a:cubicBezTo>
                    <a:cubicBezTo>
                      <a:pt x="6" y="10"/>
                      <a:pt x="3" y="3"/>
                      <a:pt x="7" y="7"/>
                    </a:cubicBezTo>
                    <a:cubicBezTo>
                      <a:pt x="6" y="4"/>
                      <a:pt x="8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8" name="任意多边形: 形状 10637">
                <a:extLst>
                  <a:ext uri="{FF2B5EF4-FFF2-40B4-BE49-F238E27FC236}">
                    <a16:creationId xmlns:a16="http://schemas.microsoft.com/office/drawing/2014/main" id="{6B9EF396-AA02-434B-AEFC-68CF10E160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93" y="1575"/>
                <a:ext cx="19" cy="12"/>
              </a:xfrm>
              <a:custGeom>
                <a:avLst/>
                <a:gdLst>
                  <a:gd name="T0" fmla="*/ 3 w 9"/>
                  <a:gd name="T1" fmla="*/ 6 h 6"/>
                  <a:gd name="T2" fmla="*/ 9 w 9"/>
                  <a:gd name="T3" fmla="*/ 4 h 6"/>
                  <a:gd name="T4" fmla="*/ 3 w 9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3" y="6"/>
                    </a:moveTo>
                    <a:cubicBezTo>
                      <a:pt x="5" y="4"/>
                      <a:pt x="7" y="5"/>
                      <a:pt x="9" y="4"/>
                    </a:cubicBezTo>
                    <a:cubicBezTo>
                      <a:pt x="8" y="0"/>
                      <a:pt x="0" y="2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9" name="任意多边形: 形状 10638">
                <a:extLst>
                  <a:ext uri="{FF2B5EF4-FFF2-40B4-BE49-F238E27FC236}">
                    <a16:creationId xmlns:a16="http://schemas.microsoft.com/office/drawing/2014/main" id="{E5AD38BE-A25A-4F9A-9B3C-9F94E7822C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8" y="1869"/>
                <a:ext cx="16" cy="23"/>
              </a:xfrm>
              <a:custGeom>
                <a:avLst/>
                <a:gdLst>
                  <a:gd name="T0" fmla="*/ 0 w 8"/>
                  <a:gd name="T1" fmla="*/ 9 h 11"/>
                  <a:gd name="T2" fmla="*/ 8 w 8"/>
                  <a:gd name="T3" fmla="*/ 6 h 11"/>
                  <a:gd name="T4" fmla="*/ 7 w 8"/>
                  <a:gd name="T5" fmla="*/ 0 h 11"/>
                  <a:gd name="T6" fmla="*/ 0 w 8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0" y="9"/>
                    </a:moveTo>
                    <a:cubicBezTo>
                      <a:pt x="4" y="11"/>
                      <a:pt x="4" y="4"/>
                      <a:pt x="8" y="6"/>
                    </a:cubicBezTo>
                    <a:cubicBezTo>
                      <a:pt x="5" y="3"/>
                      <a:pt x="8" y="3"/>
                      <a:pt x="7" y="0"/>
                    </a:cubicBezTo>
                    <a:cubicBezTo>
                      <a:pt x="4" y="5"/>
                      <a:pt x="1" y="3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0" name="任意多边形: 形状 10639">
                <a:extLst>
                  <a:ext uri="{FF2B5EF4-FFF2-40B4-BE49-F238E27FC236}">
                    <a16:creationId xmlns:a16="http://schemas.microsoft.com/office/drawing/2014/main" id="{11DFE08F-38CA-459C-B090-7959A3B55E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3" y="1899"/>
                <a:ext cx="18" cy="18"/>
              </a:xfrm>
              <a:custGeom>
                <a:avLst/>
                <a:gdLst>
                  <a:gd name="T0" fmla="*/ 1 w 9"/>
                  <a:gd name="T1" fmla="*/ 7 h 9"/>
                  <a:gd name="T2" fmla="*/ 3 w 9"/>
                  <a:gd name="T3" fmla="*/ 8 h 9"/>
                  <a:gd name="T4" fmla="*/ 7 w 9"/>
                  <a:gd name="T5" fmla="*/ 9 h 9"/>
                  <a:gd name="T6" fmla="*/ 9 w 9"/>
                  <a:gd name="T7" fmla="*/ 3 h 9"/>
                  <a:gd name="T8" fmla="*/ 3 w 9"/>
                  <a:gd name="T9" fmla="*/ 1 h 9"/>
                  <a:gd name="T10" fmla="*/ 1 w 9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2" y="7"/>
                      <a:pt x="3" y="7"/>
                      <a:pt x="3" y="8"/>
                    </a:cubicBezTo>
                    <a:cubicBezTo>
                      <a:pt x="6" y="4"/>
                      <a:pt x="4" y="9"/>
                      <a:pt x="7" y="9"/>
                    </a:cubicBezTo>
                    <a:cubicBezTo>
                      <a:pt x="8" y="5"/>
                      <a:pt x="4" y="3"/>
                      <a:pt x="9" y="3"/>
                    </a:cubicBezTo>
                    <a:cubicBezTo>
                      <a:pt x="7" y="0"/>
                      <a:pt x="5" y="3"/>
                      <a:pt x="3" y="1"/>
                    </a:cubicBezTo>
                    <a:cubicBezTo>
                      <a:pt x="4" y="4"/>
                      <a:pt x="0" y="4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1" name="任意多边形: 形状 10640">
                <a:extLst>
                  <a:ext uri="{FF2B5EF4-FFF2-40B4-BE49-F238E27FC236}">
                    <a16:creationId xmlns:a16="http://schemas.microsoft.com/office/drawing/2014/main" id="{F10C4A9A-2F01-4B7B-BE3A-A5818E707B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2036"/>
                <a:ext cx="13" cy="18"/>
              </a:xfrm>
              <a:custGeom>
                <a:avLst/>
                <a:gdLst>
                  <a:gd name="T0" fmla="*/ 1 w 6"/>
                  <a:gd name="T1" fmla="*/ 9 h 9"/>
                  <a:gd name="T2" fmla="*/ 6 w 6"/>
                  <a:gd name="T3" fmla="*/ 3 h 9"/>
                  <a:gd name="T4" fmla="*/ 1 w 6"/>
                  <a:gd name="T5" fmla="*/ 3 h 9"/>
                  <a:gd name="T6" fmla="*/ 3 w 6"/>
                  <a:gd name="T7" fmla="*/ 7 h 9"/>
                  <a:gd name="T8" fmla="*/ 1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9"/>
                    </a:moveTo>
                    <a:cubicBezTo>
                      <a:pt x="4" y="9"/>
                      <a:pt x="5" y="6"/>
                      <a:pt x="6" y="3"/>
                    </a:cubicBezTo>
                    <a:cubicBezTo>
                      <a:pt x="4" y="3"/>
                      <a:pt x="3" y="0"/>
                      <a:pt x="1" y="3"/>
                    </a:cubicBezTo>
                    <a:cubicBezTo>
                      <a:pt x="2" y="4"/>
                      <a:pt x="3" y="6"/>
                      <a:pt x="3" y="7"/>
                    </a:cubicBezTo>
                    <a:cubicBezTo>
                      <a:pt x="2" y="7"/>
                      <a:pt x="0" y="8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2" name="任意多边形: 形状 10641">
                <a:extLst>
                  <a:ext uri="{FF2B5EF4-FFF2-40B4-BE49-F238E27FC236}">
                    <a16:creationId xmlns:a16="http://schemas.microsoft.com/office/drawing/2014/main" id="{2FFD8F0E-85DE-45AD-9F14-50D9F9E4D9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7" y="1886"/>
                <a:ext cx="17" cy="23"/>
              </a:xfrm>
              <a:custGeom>
                <a:avLst/>
                <a:gdLst>
                  <a:gd name="T0" fmla="*/ 5 w 8"/>
                  <a:gd name="T1" fmla="*/ 0 h 11"/>
                  <a:gd name="T2" fmla="*/ 0 w 8"/>
                  <a:gd name="T3" fmla="*/ 3 h 11"/>
                  <a:gd name="T4" fmla="*/ 2 w 8"/>
                  <a:gd name="T5" fmla="*/ 8 h 11"/>
                  <a:gd name="T6" fmla="*/ 7 w 8"/>
                  <a:gd name="T7" fmla="*/ 6 h 11"/>
                  <a:gd name="T8" fmla="*/ 3 w 8"/>
                  <a:gd name="T9" fmla="*/ 4 h 11"/>
                  <a:gd name="T10" fmla="*/ 5 w 8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cubicBezTo>
                      <a:pt x="2" y="1"/>
                      <a:pt x="3" y="4"/>
                      <a:pt x="0" y="3"/>
                    </a:cubicBezTo>
                    <a:cubicBezTo>
                      <a:pt x="2" y="5"/>
                      <a:pt x="1" y="6"/>
                      <a:pt x="2" y="8"/>
                    </a:cubicBezTo>
                    <a:cubicBezTo>
                      <a:pt x="4" y="4"/>
                      <a:pt x="8" y="11"/>
                      <a:pt x="7" y="6"/>
                    </a:cubicBezTo>
                    <a:cubicBezTo>
                      <a:pt x="6" y="6"/>
                      <a:pt x="4" y="5"/>
                      <a:pt x="3" y="4"/>
                    </a:cubicBezTo>
                    <a:cubicBezTo>
                      <a:pt x="5" y="4"/>
                      <a:pt x="6" y="2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3" name="任意多边形: 形状 10642">
                <a:extLst>
                  <a:ext uri="{FF2B5EF4-FFF2-40B4-BE49-F238E27FC236}">
                    <a16:creationId xmlns:a16="http://schemas.microsoft.com/office/drawing/2014/main" id="{36574F22-6B35-463A-988F-9D16CC9A5E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6" y="1896"/>
                <a:ext cx="15" cy="17"/>
              </a:xfrm>
              <a:custGeom>
                <a:avLst/>
                <a:gdLst>
                  <a:gd name="T0" fmla="*/ 6 w 7"/>
                  <a:gd name="T1" fmla="*/ 4 h 8"/>
                  <a:gd name="T2" fmla="*/ 0 w 7"/>
                  <a:gd name="T3" fmla="*/ 3 h 8"/>
                  <a:gd name="T4" fmla="*/ 3 w 7"/>
                  <a:gd name="T5" fmla="*/ 7 h 8"/>
                  <a:gd name="T6" fmla="*/ 3 w 7"/>
                  <a:gd name="T7" fmla="*/ 4 h 8"/>
                  <a:gd name="T8" fmla="*/ 6 w 7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6" y="4"/>
                    </a:moveTo>
                    <a:cubicBezTo>
                      <a:pt x="4" y="4"/>
                      <a:pt x="2" y="0"/>
                      <a:pt x="0" y="3"/>
                    </a:cubicBezTo>
                    <a:cubicBezTo>
                      <a:pt x="1" y="5"/>
                      <a:pt x="2" y="7"/>
                      <a:pt x="3" y="7"/>
                    </a:cubicBezTo>
                    <a:cubicBezTo>
                      <a:pt x="3" y="6"/>
                      <a:pt x="2" y="5"/>
                      <a:pt x="3" y="4"/>
                    </a:cubicBezTo>
                    <a:cubicBezTo>
                      <a:pt x="4" y="4"/>
                      <a:pt x="7" y="8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4" name="任意多边形: 形状 10643">
                <a:extLst>
                  <a:ext uri="{FF2B5EF4-FFF2-40B4-BE49-F238E27FC236}">
                    <a16:creationId xmlns:a16="http://schemas.microsoft.com/office/drawing/2014/main" id="{8DC847C5-A872-406D-99D1-F42E99B786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1" y="1863"/>
                <a:ext cx="13" cy="11"/>
              </a:xfrm>
              <a:custGeom>
                <a:avLst/>
                <a:gdLst>
                  <a:gd name="T0" fmla="*/ 2 w 6"/>
                  <a:gd name="T1" fmla="*/ 0 h 5"/>
                  <a:gd name="T2" fmla="*/ 0 w 6"/>
                  <a:gd name="T3" fmla="*/ 2 h 5"/>
                  <a:gd name="T4" fmla="*/ 6 w 6"/>
                  <a:gd name="T5" fmla="*/ 5 h 5"/>
                  <a:gd name="T6" fmla="*/ 2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2" y="1"/>
                      <a:pt x="4" y="4"/>
                      <a:pt x="6" y="5"/>
                    </a:cubicBezTo>
                    <a:cubicBezTo>
                      <a:pt x="5" y="2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5" name="任意多边形: 形状 10644">
                <a:extLst>
                  <a:ext uri="{FF2B5EF4-FFF2-40B4-BE49-F238E27FC236}">
                    <a16:creationId xmlns:a16="http://schemas.microsoft.com/office/drawing/2014/main" id="{BAF48B04-7C61-46DF-9083-814AE83ED3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48" y="1896"/>
                <a:ext cx="15" cy="15"/>
              </a:xfrm>
              <a:custGeom>
                <a:avLst/>
                <a:gdLst>
                  <a:gd name="T0" fmla="*/ 1 w 7"/>
                  <a:gd name="T1" fmla="*/ 0 h 7"/>
                  <a:gd name="T2" fmla="*/ 2 w 7"/>
                  <a:gd name="T3" fmla="*/ 7 h 7"/>
                  <a:gd name="T4" fmla="*/ 6 w 7"/>
                  <a:gd name="T5" fmla="*/ 3 h 7"/>
                  <a:gd name="T6" fmla="*/ 1 w 7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1" y="0"/>
                    </a:moveTo>
                    <a:cubicBezTo>
                      <a:pt x="5" y="4"/>
                      <a:pt x="0" y="4"/>
                      <a:pt x="2" y="7"/>
                    </a:cubicBezTo>
                    <a:cubicBezTo>
                      <a:pt x="3" y="6"/>
                      <a:pt x="7" y="6"/>
                      <a:pt x="6" y="3"/>
                    </a:cubicBezTo>
                    <a:cubicBezTo>
                      <a:pt x="4" y="4"/>
                      <a:pt x="3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6" name="任意多边形: 形状 10645">
                <a:extLst>
                  <a:ext uri="{FF2B5EF4-FFF2-40B4-BE49-F238E27FC236}">
                    <a16:creationId xmlns:a16="http://schemas.microsoft.com/office/drawing/2014/main" id="{49D46A7E-4935-48AA-87EC-B07683CD49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8" y="1946"/>
                <a:ext cx="16" cy="17"/>
              </a:xfrm>
              <a:custGeom>
                <a:avLst/>
                <a:gdLst>
                  <a:gd name="T0" fmla="*/ 8 w 8"/>
                  <a:gd name="T1" fmla="*/ 6 h 8"/>
                  <a:gd name="T2" fmla="*/ 5 w 8"/>
                  <a:gd name="T3" fmla="*/ 8 h 8"/>
                  <a:gd name="T4" fmla="*/ 8 w 8"/>
                  <a:gd name="T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8" y="6"/>
                    </a:moveTo>
                    <a:cubicBezTo>
                      <a:pt x="5" y="0"/>
                      <a:pt x="0" y="7"/>
                      <a:pt x="5" y="8"/>
                    </a:cubicBezTo>
                    <a:cubicBezTo>
                      <a:pt x="3" y="5"/>
                      <a:pt x="7" y="6"/>
                      <a:pt x="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7" name="任意多边形: 形状 10646">
                <a:extLst>
                  <a:ext uri="{FF2B5EF4-FFF2-40B4-BE49-F238E27FC236}">
                    <a16:creationId xmlns:a16="http://schemas.microsoft.com/office/drawing/2014/main" id="{78363AE6-B607-4A5A-8F10-F7BADDC92E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1" y="1882"/>
                <a:ext cx="10" cy="23"/>
              </a:xfrm>
              <a:custGeom>
                <a:avLst/>
                <a:gdLst>
                  <a:gd name="T0" fmla="*/ 5 w 5"/>
                  <a:gd name="T1" fmla="*/ 6 h 11"/>
                  <a:gd name="T2" fmla="*/ 3 w 5"/>
                  <a:gd name="T3" fmla="*/ 5 h 11"/>
                  <a:gd name="T4" fmla="*/ 5 w 5"/>
                  <a:gd name="T5" fmla="*/ 3 h 11"/>
                  <a:gd name="T6" fmla="*/ 1 w 5"/>
                  <a:gd name="T7" fmla="*/ 0 h 11"/>
                  <a:gd name="T8" fmla="*/ 5 w 5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5" y="6"/>
                    </a:moveTo>
                    <a:cubicBezTo>
                      <a:pt x="4" y="6"/>
                      <a:pt x="4" y="6"/>
                      <a:pt x="3" y="5"/>
                    </a:cubicBezTo>
                    <a:cubicBezTo>
                      <a:pt x="4" y="5"/>
                      <a:pt x="5" y="4"/>
                      <a:pt x="5" y="3"/>
                    </a:cubicBezTo>
                    <a:cubicBezTo>
                      <a:pt x="4" y="4"/>
                      <a:pt x="3" y="0"/>
                      <a:pt x="1" y="0"/>
                    </a:cubicBezTo>
                    <a:cubicBezTo>
                      <a:pt x="0" y="2"/>
                      <a:pt x="5" y="11"/>
                      <a:pt x="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8" name="任意多边形: 形状 10647">
                <a:extLst>
                  <a:ext uri="{FF2B5EF4-FFF2-40B4-BE49-F238E27FC236}">
                    <a16:creationId xmlns:a16="http://schemas.microsoft.com/office/drawing/2014/main" id="{7B2EE78A-A07E-4411-A52B-1A834FFE1D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4" y="1930"/>
                <a:ext cx="18" cy="20"/>
              </a:xfrm>
              <a:custGeom>
                <a:avLst/>
                <a:gdLst>
                  <a:gd name="T0" fmla="*/ 6 w 9"/>
                  <a:gd name="T1" fmla="*/ 7 h 10"/>
                  <a:gd name="T2" fmla="*/ 9 w 9"/>
                  <a:gd name="T3" fmla="*/ 8 h 10"/>
                  <a:gd name="T4" fmla="*/ 7 w 9"/>
                  <a:gd name="T5" fmla="*/ 1 h 10"/>
                  <a:gd name="T6" fmla="*/ 0 w 9"/>
                  <a:gd name="T7" fmla="*/ 0 h 10"/>
                  <a:gd name="T8" fmla="*/ 3 w 9"/>
                  <a:gd name="T9" fmla="*/ 9 h 10"/>
                  <a:gd name="T10" fmla="*/ 6 w 9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0">
                    <a:moveTo>
                      <a:pt x="6" y="7"/>
                    </a:moveTo>
                    <a:cubicBezTo>
                      <a:pt x="7" y="8"/>
                      <a:pt x="8" y="10"/>
                      <a:pt x="9" y="8"/>
                    </a:cubicBezTo>
                    <a:cubicBezTo>
                      <a:pt x="5" y="4"/>
                      <a:pt x="5" y="5"/>
                      <a:pt x="7" y="1"/>
                    </a:cubicBezTo>
                    <a:cubicBezTo>
                      <a:pt x="4" y="2"/>
                      <a:pt x="4" y="2"/>
                      <a:pt x="0" y="0"/>
                    </a:cubicBezTo>
                    <a:cubicBezTo>
                      <a:pt x="1" y="4"/>
                      <a:pt x="3" y="5"/>
                      <a:pt x="3" y="9"/>
                    </a:cubicBezTo>
                    <a:cubicBezTo>
                      <a:pt x="5" y="10"/>
                      <a:pt x="6" y="9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9" name="任意多边形: 形状 10648">
                <a:extLst>
                  <a:ext uri="{FF2B5EF4-FFF2-40B4-BE49-F238E27FC236}">
                    <a16:creationId xmlns:a16="http://schemas.microsoft.com/office/drawing/2014/main" id="{975459CC-CB30-40BD-BF53-F643093809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886"/>
                <a:ext cx="12" cy="10"/>
              </a:xfrm>
              <a:custGeom>
                <a:avLst/>
                <a:gdLst>
                  <a:gd name="T0" fmla="*/ 2 w 6"/>
                  <a:gd name="T1" fmla="*/ 5 h 5"/>
                  <a:gd name="T2" fmla="*/ 6 w 6"/>
                  <a:gd name="T3" fmla="*/ 4 h 5"/>
                  <a:gd name="T4" fmla="*/ 0 w 6"/>
                  <a:gd name="T5" fmla="*/ 0 h 5"/>
                  <a:gd name="T6" fmla="*/ 2 w 6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3" y="4"/>
                      <a:pt x="4" y="5"/>
                      <a:pt x="6" y="4"/>
                    </a:cubicBezTo>
                    <a:cubicBezTo>
                      <a:pt x="4" y="1"/>
                      <a:pt x="2" y="0"/>
                      <a:pt x="0" y="0"/>
                    </a:cubicBezTo>
                    <a:cubicBezTo>
                      <a:pt x="1" y="2"/>
                      <a:pt x="2" y="4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0" name="任意多边形: 形状 10649">
                <a:extLst>
                  <a:ext uri="{FF2B5EF4-FFF2-40B4-BE49-F238E27FC236}">
                    <a16:creationId xmlns:a16="http://schemas.microsoft.com/office/drawing/2014/main" id="{97FE2D7F-B37C-4CE6-B0F7-1302668496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4" y="2098"/>
                <a:ext cx="10" cy="18"/>
              </a:xfrm>
              <a:custGeom>
                <a:avLst/>
                <a:gdLst>
                  <a:gd name="T0" fmla="*/ 5 w 5"/>
                  <a:gd name="T1" fmla="*/ 9 h 9"/>
                  <a:gd name="T2" fmla="*/ 3 w 5"/>
                  <a:gd name="T3" fmla="*/ 0 h 9"/>
                  <a:gd name="T4" fmla="*/ 5 w 5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cubicBezTo>
                      <a:pt x="4" y="6"/>
                      <a:pt x="3" y="3"/>
                      <a:pt x="3" y="0"/>
                    </a:cubicBezTo>
                    <a:cubicBezTo>
                      <a:pt x="0" y="1"/>
                      <a:pt x="3" y="8"/>
                      <a:pt x="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1" name="任意多边形: 形状 10650">
                <a:extLst>
                  <a:ext uri="{FF2B5EF4-FFF2-40B4-BE49-F238E27FC236}">
                    <a16:creationId xmlns:a16="http://schemas.microsoft.com/office/drawing/2014/main" id="{F1823786-AFDD-44D3-A3CD-4FBF2E5079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0" y="1708"/>
                <a:ext cx="14" cy="10"/>
              </a:xfrm>
              <a:custGeom>
                <a:avLst/>
                <a:gdLst>
                  <a:gd name="T0" fmla="*/ 7 w 7"/>
                  <a:gd name="T1" fmla="*/ 2 h 5"/>
                  <a:gd name="T2" fmla="*/ 0 w 7"/>
                  <a:gd name="T3" fmla="*/ 1 h 5"/>
                  <a:gd name="T4" fmla="*/ 7 w 7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7" y="2"/>
                    </a:moveTo>
                    <a:cubicBezTo>
                      <a:pt x="5" y="2"/>
                      <a:pt x="3" y="0"/>
                      <a:pt x="0" y="1"/>
                    </a:cubicBezTo>
                    <a:cubicBezTo>
                      <a:pt x="2" y="4"/>
                      <a:pt x="7" y="5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2" name="任意多边形: 形状 10651">
                <a:extLst>
                  <a:ext uri="{FF2B5EF4-FFF2-40B4-BE49-F238E27FC236}">
                    <a16:creationId xmlns:a16="http://schemas.microsoft.com/office/drawing/2014/main" id="{435C4D0D-7B7F-41C8-9B3F-BA2B52EF3E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838"/>
                <a:ext cx="11" cy="17"/>
              </a:xfrm>
              <a:custGeom>
                <a:avLst/>
                <a:gdLst>
                  <a:gd name="T0" fmla="*/ 3 w 5"/>
                  <a:gd name="T1" fmla="*/ 0 h 8"/>
                  <a:gd name="T2" fmla="*/ 0 w 5"/>
                  <a:gd name="T3" fmla="*/ 6 h 8"/>
                  <a:gd name="T4" fmla="*/ 3 w 5"/>
                  <a:gd name="T5" fmla="*/ 7 h 8"/>
                  <a:gd name="T6" fmla="*/ 3 w 5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3" y="0"/>
                    </a:moveTo>
                    <a:cubicBezTo>
                      <a:pt x="1" y="2"/>
                      <a:pt x="0" y="4"/>
                      <a:pt x="0" y="6"/>
                    </a:cubicBezTo>
                    <a:cubicBezTo>
                      <a:pt x="1" y="5"/>
                      <a:pt x="2" y="8"/>
                      <a:pt x="3" y="7"/>
                    </a:cubicBezTo>
                    <a:cubicBezTo>
                      <a:pt x="1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3" name="任意多边形: 形状 10652">
                <a:extLst>
                  <a:ext uri="{FF2B5EF4-FFF2-40B4-BE49-F238E27FC236}">
                    <a16:creationId xmlns:a16="http://schemas.microsoft.com/office/drawing/2014/main" id="{CD4F276A-8924-40C3-88AF-3C7C7E4F07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1699"/>
                <a:ext cx="14" cy="11"/>
              </a:xfrm>
              <a:custGeom>
                <a:avLst/>
                <a:gdLst>
                  <a:gd name="T0" fmla="*/ 0 w 7"/>
                  <a:gd name="T1" fmla="*/ 3 h 5"/>
                  <a:gd name="T2" fmla="*/ 1 w 7"/>
                  <a:gd name="T3" fmla="*/ 5 h 5"/>
                  <a:gd name="T4" fmla="*/ 5 w 7"/>
                  <a:gd name="T5" fmla="*/ 0 h 5"/>
                  <a:gd name="T6" fmla="*/ 0 w 7"/>
                  <a:gd name="T7" fmla="*/ 1 h 5"/>
                  <a:gd name="T8" fmla="*/ 0 w 7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4" y="3"/>
                      <a:pt x="7" y="5"/>
                      <a:pt x="5" y="0"/>
                    </a:cubicBezTo>
                    <a:cubicBezTo>
                      <a:pt x="2" y="1"/>
                      <a:pt x="3" y="4"/>
                      <a:pt x="0" y="1"/>
                    </a:cubicBezTo>
                    <a:cubicBezTo>
                      <a:pt x="0" y="2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4" name="任意多边形: 形状 10653">
                <a:extLst>
                  <a:ext uri="{FF2B5EF4-FFF2-40B4-BE49-F238E27FC236}">
                    <a16:creationId xmlns:a16="http://schemas.microsoft.com/office/drawing/2014/main" id="{BAC96430-9A96-4186-8252-F3A17409C7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2054"/>
                <a:ext cx="27" cy="15"/>
              </a:xfrm>
              <a:custGeom>
                <a:avLst/>
                <a:gdLst>
                  <a:gd name="T0" fmla="*/ 12 w 13"/>
                  <a:gd name="T1" fmla="*/ 0 h 7"/>
                  <a:gd name="T2" fmla="*/ 0 w 13"/>
                  <a:gd name="T3" fmla="*/ 3 h 7"/>
                  <a:gd name="T4" fmla="*/ 6 w 13"/>
                  <a:gd name="T5" fmla="*/ 6 h 7"/>
                  <a:gd name="T6" fmla="*/ 12 w 1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12" y="0"/>
                    </a:moveTo>
                    <a:cubicBezTo>
                      <a:pt x="7" y="1"/>
                      <a:pt x="3" y="2"/>
                      <a:pt x="0" y="3"/>
                    </a:cubicBezTo>
                    <a:cubicBezTo>
                      <a:pt x="2" y="6"/>
                      <a:pt x="4" y="7"/>
                      <a:pt x="6" y="6"/>
                    </a:cubicBezTo>
                    <a:cubicBezTo>
                      <a:pt x="4" y="1"/>
                      <a:pt x="13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5" name="任意多边形: 形状 10654">
                <a:extLst>
                  <a:ext uri="{FF2B5EF4-FFF2-40B4-BE49-F238E27FC236}">
                    <a16:creationId xmlns:a16="http://schemas.microsoft.com/office/drawing/2014/main" id="{B4BB1995-3AEA-4581-B68A-C9736BE2D0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9" y="1689"/>
                <a:ext cx="23" cy="23"/>
              </a:xfrm>
              <a:custGeom>
                <a:avLst/>
                <a:gdLst>
                  <a:gd name="T0" fmla="*/ 7 w 11"/>
                  <a:gd name="T1" fmla="*/ 11 h 11"/>
                  <a:gd name="T2" fmla="*/ 11 w 11"/>
                  <a:gd name="T3" fmla="*/ 4 h 11"/>
                  <a:gd name="T4" fmla="*/ 5 w 11"/>
                  <a:gd name="T5" fmla="*/ 2 h 11"/>
                  <a:gd name="T6" fmla="*/ 5 w 11"/>
                  <a:gd name="T7" fmla="*/ 8 h 11"/>
                  <a:gd name="T8" fmla="*/ 4 w 11"/>
                  <a:gd name="T9" fmla="*/ 3 h 11"/>
                  <a:gd name="T10" fmla="*/ 7 w 11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1">
                    <a:moveTo>
                      <a:pt x="7" y="11"/>
                    </a:moveTo>
                    <a:cubicBezTo>
                      <a:pt x="6" y="7"/>
                      <a:pt x="8" y="5"/>
                      <a:pt x="11" y="4"/>
                    </a:cubicBezTo>
                    <a:cubicBezTo>
                      <a:pt x="9" y="0"/>
                      <a:pt x="7" y="5"/>
                      <a:pt x="5" y="2"/>
                    </a:cubicBezTo>
                    <a:cubicBezTo>
                      <a:pt x="5" y="4"/>
                      <a:pt x="7" y="7"/>
                      <a:pt x="5" y="8"/>
                    </a:cubicBezTo>
                    <a:cubicBezTo>
                      <a:pt x="3" y="5"/>
                      <a:pt x="5" y="5"/>
                      <a:pt x="4" y="3"/>
                    </a:cubicBezTo>
                    <a:cubicBezTo>
                      <a:pt x="0" y="5"/>
                      <a:pt x="4" y="10"/>
                      <a:pt x="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6" name="任意多边形: 形状 10655">
                <a:extLst>
                  <a:ext uri="{FF2B5EF4-FFF2-40B4-BE49-F238E27FC236}">
                    <a16:creationId xmlns:a16="http://schemas.microsoft.com/office/drawing/2014/main" id="{898FAA82-9F0F-4153-A8A7-680C7D6F8B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2" y="1813"/>
                <a:ext cx="17" cy="19"/>
              </a:xfrm>
              <a:custGeom>
                <a:avLst/>
                <a:gdLst>
                  <a:gd name="T0" fmla="*/ 0 w 8"/>
                  <a:gd name="T1" fmla="*/ 5 h 9"/>
                  <a:gd name="T2" fmla="*/ 7 w 8"/>
                  <a:gd name="T3" fmla="*/ 5 h 9"/>
                  <a:gd name="T4" fmla="*/ 0 w 8"/>
                  <a:gd name="T5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3" y="2"/>
                      <a:pt x="8" y="9"/>
                      <a:pt x="7" y="5"/>
                    </a:cubicBezTo>
                    <a:cubicBezTo>
                      <a:pt x="6" y="4"/>
                      <a:pt x="0" y="0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7" name="任意多边形: 形状 10656">
                <a:extLst>
                  <a:ext uri="{FF2B5EF4-FFF2-40B4-BE49-F238E27FC236}">
                    <a16:creationId xmlns:a16="http://schemas.microsoft.com/office/drawing/2014/main" id="{C1FD8116-7D2F-478E-A076-5395C66026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2013"/>
                <a:ext cx="16" cy="31"/>
              </a:xfrm>
              <a:custGeom>
                <a:avLst/>
                <a:gdLst>
                  <a:gd name="T0" fmla="*/ 0 w 8"/>
                  <a:gd name="T1" fmla="*/ 10 h 15"/>
                  <a:gd name="T2" fmla="*/ 6 w 8"/>
                  <a:gd name="T3" fmla="*/ 12 h 15"/>
                  <a:gd name="T4" fmla="*/ 8 w 8"/>
                  <a:gd name="T5" fmla="*/ 5 h 15"/>
                  <a:gd name="T6" fmla="*/ 4 w 8"/>
                  <a:gd name="T7" fmla="*/ 0 h 15"/>
                  <a:gd name="T8" fmla="*/ 0 w 8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0" y="10"/>
                    </a:moveTo>
                    <a:cubicBezTo>
                      <a:pt x="2" y="9"/>
                      <a:pt x="4" y="15"/>
                      <a:pt x="6" y="12"/>
                    </a:cubicBezTo>
                    <a:cubicBezTo>
                      <a:pt x="2" y="8"/>
                      <a:pt x="7" y="8"/>
                      <a:pt x="8" y="5"/>
                    </a:cubicBezTo>
                    <a:cubicBezTo>
                      <a:pt x="5" y="2"/>
                      <a:pt x="6" y="3"/>
                      <a:pt x="4" y="0"/>
                    </a:cubicBezTo>
                    <a:cubicBezTo>
                      <a:pt x="6" y="7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8" name="任意多边形: 形状 10657">
                <a:extLst>
                  <a:ext uri="{FF2B5EF4-FFF2-40B4-BE49-F238E27FC236}">
                    <a16:creationId xmlns:a16="http://schemas.microsoft.com/office/drawing/2014/main" id="{642597D3-00E2-419C-991A-896EDC041A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27" y="2029"/>
                <a:ext cx="19" cy="15"/>
              </a:xfrm>
              <a:custGeom>
                <a:avLst/>
                <a:gdLst>
                  <a:gd name="T0" fmla="*/ 1 w 9"/>
                  <a:gd name="T1" fmla="*/ 2 h 7"/>
                  <a:gd name="T2" fmla="*/ 1 w 9"/>
                  <a:gd name="T3" fmla="*/ 7 h 7"/>
                  <a:gd name="T4" fmla="*/ 9 w 9"/>
                  <a:gd name="T5" fmla="*/ 3 h 7"/>
                  <a:gd name="T6" fmla="*/ 1 w 9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1" y="2"/>
                    </a:moveTo>
                    <a:cubicBezTo>
                      <a:pt x="1" y="4"/>
                      <a:pt x="0" y="5"/>
                      <a:pt x="1" y="7"/>
                    </a:cubicBezTo>
                    <a:cubicBezTo>
                      <a:pt x="3" y="3"/>
                      <a:pt x="5" y="4"/>
                      <a:pt x="9" y="3"/>
                    </a:cubicBezTo>
                    <a:cubicBezTo>
                      <a:pt x="6" y="0"/>
                      <a:pt x="3" y="0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9" name="任意多边形: 形状 10658">
                <a:extLst>
                  <a:ext uri="{FF2B5EF4-FFF2-40B4-BE49-F238E27FC236}">
                    <a16:creationId xmlns:a16="http://schemas.microsoft.com/office/drawing/2014/main" id="{805C84A8-BE91-44B1-BD3B-8E118D0951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10"/>
                <a:ext cx="9" cy="17"/>
              </a:xfrm>
              <a:custGeom>
                <a:avLst/>
                <a:gdLst>
                  <a:gd name="T0" fmla="*/ 1 w 4"/>
                  <a:gd name="T1" fmla="*/ 8 h 8"/>
                  <a:gd name="T2" fmla="*/ 3 w 4"/>
                  <a:gd name="T3" fmla="*/ 2 h 8"/>
                  <a:gd name="T4" fmla="*/ 1 w 4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8">
                    <a:moveTo>
                      <a:pt x="1" y="8"/>
                    </a:moveTo>
                    <a:cubicBezTo>
                      <a:pt x="4" y="7"/>
                      <a:pt x="3" y="4"/>
                      <a:pt x="3" y="2"/>
                    </a:cubicBezTo>
                    <a:cubicBezTo>
                      <a:pt x="0" y="0"/>
                      <a:pt x="1" y="5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0" name="任意多边形: 形状 10659">
                <a:extLst>
                  <a:ext uri="{FF2B5EF4-FFF2-40B4-BE49-F238E27FC236}">
                    <a16:creationId xmlns:a16="http://schemas.microsoft.com/office/drawing/2014/main" id="{1FF6E2CC-763F-402F-B6DD-4BE0BB3773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2" y="1950"/>
                <a:ext cx="14" cy="13"/>
              </a:xfrm>
              <a:custGeom>
                <a:avLst/>
                <a:gdLst>
                  <a:gd name="T0" fmla="*/ 1 w 7"/>
                  <a:gd name="T1" fmla="*/ 3 h 6"/>
                  <a:gd name="T2" fmla="*/ 4 w 7"/>
                  <a:gd name="T3" fmla="*/ 3 h 6"/>
                  <a:gd name="T4" fmla="*/ 6 w 7"/>
                  <a:gd name="T5" fmla="*/ 5 h 6"/>
                  <a:gd name="T6" fmla="*/ 2 w 7"/>
                  <a:gd name="T7" fmla="*/ 0 h 6"/>
                  <a:gd name="T8" fmla="*/ 1 w 7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1" y="3"/>
                    </a:moveTo>
                    <a:cubicBezTo>
                      <a:pt x="2" y="3"/>
                      <a:pt x="3" y="2"/>
                      <a:pt x="4" y="3"/>
                    </a:cubicBezTo>
                    <a:cubicBezTo>
                      <a:pt x="5" y="5"/>
                      <a:pt x="4" y="6"/>
                      <a:pt x="6" y="5"/>
                    </a:cubicBezTo>
                    <a:cubicBezTo>
                      <a:pt x="7" y="5"/>
                      <a:pt x="3" y="0"/>
                      <a:pt x="2" y="0"/>
                    </a:cubicBezTo>
                    <a:cubicBezTo>
                      <a:pt x="3" y="2"/>
                      <a:pt x="0" y="2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1" name="任意多边形: 形状 10660">
                <a:extLst>
                  <a:ext uri="{FF2B5EF4-FFF2-40B4-BE49-F238E27FC236}">
                    <a16:creationId xmlns:a16="http://schemas.microsoft.com/office/drawing/2014/main" id="{C949645E-1C39-4209-A2FA-A47D72518B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5" y="2019"/>
                <a:ext cx="19" cy="12"/>
              </a:xfrm>
              <a:custGeom>
                <a:avLst/>
                <a:gdLst>
                  <a:gd name="T0" fmla="*/ 2 w 9"/>
                  <a:gd name="T1" fmla="*/ 5 h 6"/>
                  <a:gd name="T2" fmla="*/ 5 w 9"/>
                  <a:gd name="T3" fmla="*/ 0 h 6"/>
                  <a:gd name="T4" fmla="*/ 2 w 9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2" y="5"/>
                    </a:moveTo>
                    <a:cubicBezTo>
                      <a:pt x="5" y="6"/>
                      <a:pt x="9" y="2"/>
                      <a:pt x="5" y="0"/>
                    </a:cubicBezTo>
                    <a:cubicBezTo>
                      <a:pt x="6" y="4"/>
                      <a:pt x="0" y="0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2" name="任意多边形: 形状 10661">
                <a:extLst>
                  <a:ext uri="{FF2B5EF4-FFF2-40B4-BE49-F238E27FC236}">
                    <a16:creationId xmlns:a16="http://schemas.microsoft.com/office/drawing/2014/main" id="{83CAF147-6AF3-4BC4-AD81-54FE6B0E86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851"/>
                <a:ext cx="10" cy="12"/>
              </a:xfrm>
              <a:custGeom>
                <a:avLst/>
                <a:gdLst>
                  <a:gd name="T0" fmla="*/ 1 w 5"/>
                  <a:gd name="T1" fmla="*/ 6 h 6"/>
                  <a:gd name="T2" fmla="*/ 3 w 5"/>
                  <a:gd name="T3" fmla="*/ 0 h 6"/>
                  <a:gd name="T4" fmla="*/ 1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3" y="5"/>
                      <a:pt x="5" y="3"/>
                      <a:pt x="3" y="0"/>
                    </a:cubicBezTo>
                    <a:cubicBezTo>
                      <a:pt x="0" y="1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3" name="任意多边形: 形状 10662">
                <a:extLst>
                  <a:ext uri="{FF2B5EF4-FFF2-40B4-BE49-F238E27FC236}">
                    <a16:creationId xmlns:a16="http://schemas.microsoft.com/office/drawing/2014/main" id="{3A82B218-BA83-4738-891F-872B55E26E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1776"/>
                <a:ext cx="15" cy="13"/>
              </a:xfrm>
              <a:custGeom>
                <a:avLst/>
                <a:gdLst>
                  <a:gd name="T0" fmla="*/ 7 w 7"/>
                  <a:gd name="T1" fmla="*/ 2 h 6"/>
                  <a:gd name="T2" fmla="*/ 5 w 7"/>
                  <a:gd name="T3" fmla="*/ 0 h 6"/>
                  <a:gd name="T4" fmla="*/ 1 w 7"/>
                  <a:gd name="T5" fmla="*/ 4 h 6"/>
                  <a:gd name="T6" fmla="*/ 7 w 7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7" y="2"/>
                    </a:moveTo>
                    <a:cubicBezTo>
                      <a:pt x="5" y="2"/>
                      <a:pt x="5" y="2"/>
                      <a:pt x="5" y="0"/>
                    </a:cubicBezTo>
                    <a:cubicBezTo>
                      <a:pt x="4" y="1"/>
                      <a:pt x="0" y="1"/>
                      <a:pt x="1" y="4"/>
                    </a:cubicBezTo>
                    <a:cubicBezTo>
                      <a:pt x="3" y="0"/>
                      <a:pt x="7" y="6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4" name="任意多边形: 形状 10663">
                <a:extLst>
                  <a:ext uri="{FF2B5EF4-FFF2-40B4-BE49-F238E27FC236}">
                    <a16:creationId xmlns:a16="http://schemas.microsoft.com/office/drawing/2014/main" id="{D03840DF-FA70-47E3-B140-D10326A3E8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710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5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3" y="4"/>
                      <a:pt x="5" y="3"/>
                      <a:pt x="5" y="0"/>
                    </a:cubicBezTo>
                    <a:cubicBezTo>
                      <a:pt x="2" y="3"/>
                      <a:pt x="0" y="1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5" name="任意多边形: 形状 10664">
                <a:extLst>
                  <a:ext uri="{FF2B5EF4-FFF2-40B4-BE49-F238E27FC236}">
                    <a16:creationId xmlns:a16="http://schemas.microsoft.com/office/drawing/2014/main" id="{A4CE2BD7-EF38-45BE-B8D4-92B54A395A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697"/>
                <a:ext cx="8" cy="15"/>
              </a:xfrm>
              <a:custGeom>
                <a:avLst/>
                <a:gdLst>
                  <a:gd name="T0" fmla="*/ 1 w 4"/>
                  <a:gd name="T1" fmla="*/ 0 h 7"/>
                  <a:gd name="T2" fmla="*/ 0 w 4"/>
                  <a:gd name="T3" fmla="*/ 7 h 7"/>
                  <a:gd name="T4" fmla="*/ 1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1" y="0"/>
                    </a:moveTo>
                    <a:cubicBezTo>
                      <a:pt x="3" y="3"/>
                      <a:pt x="0" y="5"/>
                      <a:pt x="0" y="7"/>
                    </a:cubicBezTo>
                    <a:cubicBezTo>
                      <a:pt x="4" y="7"/>
                      <a:pt x="3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6" name="任意多边形: 形状 10665">
                <a:extLst>
                  <a:ext uri="{FF2B5EF4-FFF2-40B4-BE49-F238E27FC236}">
                    <a16:creationId xmlns:a16="http://schemas.microsoft.com/office/drawing/2014/main" id="{8641FDAD-EB7D-4A16-B472-2CED0273E1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4" y="1677"/>
                <a:ext cx="21" cy="37"/>
              </a:xfrm>
              <a:custGeom>
                <a:avLst/>
                <a:gdLst>
                  <a:gd name="T0" fmla="*/ 0 w 10"/>
                  <a:gd name="T1" fmla="*/ 13 h 18"/>
                  <a:gd name="T2" fmla="*/ 2 w 10"/>
                  <a:gd name="T3" fmla="*/ 17 h 18"/>
                  <a:gd name="T4" fmla="*/ 7 w 10"/>
                  <a:gd name="T5" fmla="*/ 13 h 18"/>
                  <a:gd name="T6" fmla="*/ 10 w 10"/>
                  <a:gd name="T7" fmla="*/ 4 h 18"/>
                  <a:gd name="T8" fmla="*/ 7 w 10"/>
                  <a:gd name="T9" fmla="*/ 0 h 18"/>
                  <a:gd name="T10" fmla="*/ 3 w 10"/>
                  <a:gd name="T11" fmla="*/ 10 h 18"/>
                  <a:gd name="T12" fmla="*/ 0 w 10"/>
                  <a:gd name="T13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8">
                    <a:moveTo>
                      <a:pt x="0" y="13"/>
                    </a:moveTo>
                    <a:cubicBezTo>
                      <a:pt x="1" y="14"/>
                      <a:pt x="2" y="15"/>
                      <a:pt x="2" y="17"/>
                    </a:cubicBezTo>
                    <a:cubicBezTo>
                      <a:pt x="4" y="18"/>
                      <a:pt x="4" y="14"/>
                      <a:pt x="7" y="13"/>
                    </a:cubicBezTo>
                    <a:cubicBezTo>
                      <a:pt x="4" y="8"/>
                      <a:pt x="10" y="8"/>
                      <a:pt x="10" y="4"/>
                    </a:cubicBezTo>
                    <a:cubicBezTo>
                      <a:pt x="9" y="2"/>
                      <a:pt x="8" y="0"/>
                      <a:pt x="7" y="0"/>
                    </a:cubicBezTo>
                    <a:cubicBezTo>
                      <a:pt x="10" y="5"/>
                      <a:pt x="3" y="6"/>
                      <a:pt x="3" y="10"/>
                    </a:cubicBezTo>
                    <a:cubicBezTo>
                      <a:pt x="6" y="9"/>
                      <a:pt x="3" y="16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7" name="任意多边形: 形状 10666">
                <a:extLst>
                  <a:ext uri="{FF2B5EF4-FFF2-40B4-BE49-F238E27FC236}">
                    <a16:creationId xmlns:a16="http://schemas.microsoft.com/office/drawing/2014/main" id="{321C5D0D-554E-4E57-9B3D-C97834EDBF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652"/>
                <a:ext cx="19" cy="20"/>
              </a:xfrm>
              <a:custGeom>
                <a:avLst/>
                <a:gdLst>
                  <a:gd name="T0" fmla="*/ 8 w 9"/>
                  <a:gd name="T1" fmla="*/ 0 h 10"/>
                  <a:gd name="T2" fmla="*/ 2 w 9"/>
                  <a:gd name="T3" fmla="*/ 10 h 10"/>
                  <a:gd name="T4" fmla="*/ 8 w 9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8" y="0"/>
                    </a:moveTo>
                    <a:cubicBezTo>
                      <a:pt x="6" y="4"/>
                      <a:pt x="0" y="5"/>
                      <a:pt x="2" y="10"/>
                    </a:cubicBezTo>
                    <a:cubicBezTo>
                      <a:pt x="3" y="4"/>
                      <a:pt x="9" y="8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8" name="任意多边形: 形状 10667">
                <a:extLst>
                  <a:ext uri="{FF2B5EF4-FFF2-40B4-BE49-F238E27FC236}">
                    <a16:creationId xmlns:a16="http://schemas.microsoft.com/office/drawing/2014/main" id="{0F8B12F1-6030-46B9-A7F5-40BF133B90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0" y="1780"/>
                <a:ext cx="16" cy="19"/>
              </a:xfrm>
              <a:custGeom>
                <a:avLst/>
                <a:gdLst>
                  <a:gd name="T0" fmla="*/ 8 w 8"/>
                  <a:gd name="T1" fmla="*/ 9 h 9"/>
                  <a:gd name="T2" fmla="*/ 6 w 8"/>
                  <a:gd name="T3" fmla="*/ 0 h 9"/>
                  <a:gd name="T4" fmla="*/ 1 w 8"/>
                  <a:gd name="T5" fmla="*/ 9 h 9"/>
                  <a:gd name="T6" fmla="*/ 8 w 8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8" y="9"/>
                    </a:moveTo>
                    <a:cubicBezTo>
                      <a:pt x="5" y="5"/>
                      <a:pt x="8" y="4"/>
                      <a:pt x="6" y="0"/>
                    </a:cubicBezTo>
                    <a:cubicBezTo>
                      <a:pt x="6" y="5"/>
                      <a:pt x="0" y="6"/>
                      <a:pt x="1" y="9"/>
                    </a:cubicBezTo>
                    <a:cubicBezTo>
                      <a:pt x="4" y="6"/>
                      <a:pt x="5" y="9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9" name="任意多边形: 形状 10668">
                <a:extLst>
                  <a:ext uri="{FF2B5EF4-FFF2-40B4-BE49-F238E27FC236}">
                    <a16:creationId xmlns:a16="http://schemas.microsoft.com/office/drawing/2014/main" id="{341861E5-42F1-4FDE-A009-59BD5D1CFA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4" y="1764"/>
                <a:ext cx="10" cy="16"/>
              </a:xfrm>
              <a:custGeom>
                <a:avLst/>
                <a:gdLst>
                  <a:gd name="T0" fmla="*/ 3 w 5"/>
                  <a:gd name="T1" fmla="*/ 0 h 8"/>
                  <a:gd name="T2" fmla="*/ 3 w 5"/>
                  <a:gd name="T3" fmla="*/ 8 h 8"/>
                  <a:gd name="T4" fmla="*/ 3 w 5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8">
                    <a:moveTo>
                      <a:pt x="3" y="0"/>
                    </a:moveTo>
                    <a:cubicBezTo>
                      <a:pt x="0" y="1"/>
                      <a:pt x="3" y="5"/>
                      <a:pt x="3" y="8"/>
                    </a:cubicBezTo>
                    <a:cubicBezTo>
                      <a:pt x="5" y="6"/>
                      <a:pt x="4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0" name="任意多边形: 形状 10669">
                <a:extLst>
                  <a:ext uri="{FF2B5EF4-FFF2-40B4-BE49-F238E27FC236}">
                    <a16:creationId xmlns:a16="http://schemas.microsoft.com/office/drawing/2014/main" id="{474227FE-FD7A-425E-8C6D-6B1BBAD370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3" y="2025"/>
                <a:ext cx="19" cy="15"/>
              </a:xfrm>
              <a:custGeom>
                <a:avLst/>
                <a:gdLst>
                  <a:gd name="T0" fmla="*/ 3 w 9"/>
                  <a:gd name="T1" fmla="*/ 6 h 7"/>
                  <a:gd name="T2" fmla="*/ 8 w 9"/>
                  <a:gd name="T3" fmla="*/ 3 h 7"/>
                  <a:gd name="T4" fmla="*/ 3 w 9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3" y="6"/>
                    </a:moveTo>
                    <a:cubicBezTo>
                      <a:pt x="4" y="4"/>
                      <a:pt x="9" y="7"/>
                      <a:pt x="8" y="3"/>
                    </a:cubicBezTo>
                    <a:cubicBezTo>
                      <a:pt x="7" y="6"/>
                      <a:pt x="0" y="0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1" name="任意多边形: 形状 10670">
                <a:extLst>
                  <a:ext uri="{FF2B5EF4-FFF2-40B4-BE49-F238E27FC236}">
                    <a16:creationId xmlns:a16="http://schemas.microsoft.com/office/drawing/2014/main" id="{141EFEB4-8A82-4E3B-B323-9B83ADA5EE8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3" y="1836"/>
                <a:ext cx="15" cy="13"/>
              </a:xfrm>
              <a:custGeom>
                <a:avLst/>
                <a:gdLst>
                  <a:gd name="T0" fmla="*/ 2 w 7"/>
                  <a:gd name="T1" fmla="*/ 6 h 6"/>
                  <a:gd name="T2" fmla="*/ 4 w 7"/>
                  <a:gd name="T3" fmla="*/ 0 h 6"/>
                  <a:gd name="T4" fmla="*/ 2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2" y="6"/>
                    </a:moveTo>
                    <a:cubicBezTo>
                      <a:pt x="2" y="2"/>
                      <a:pt x="7" y="5"/>
                      <a:pt x="4" y="0"/>
                    </a:cubicBezTo>
                    <a:cubicBezTo>
                      <a:pt x="3" y="2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2" name="任意多边形: 形状 10671">
                <a:extLst>
                  <a:ext uri="{FF2B5EF4-FFF2-40B4-BE49-F238E27FC236}">
                    <a16:creationId xmlns:a16="http://schemas.microsoft.com/office/drawing/2014/main" id="{DDEF608F-2EA2-413D-A718-32F911C5B5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94" y="2000"/>
                <a:ext cx="12" cy="11"/>
              </a:xfrm>
              <a:custGeom>
                <a:avLst/>
                <a:gdLst>
                  <a:gd name="T0" fmla="*/ 4 w 6"/>
                  <a:gd name="T1" fmla="*/ 5 h 5"/>
                  <a:gd name="T2" fmla="*/ 6 w 6"/>
                  <a:gd name="T3" fmla="*/ 1 h 5"/>
                  <a:gd name="T4" fmla="*/ 0 w 6"/>
                  <a:gd name="T5" fmla="*/ 0 h 5"/>
                  <a:gd name="T6" fmla="*/ 2 w 6"/>
                  <a:gd name="T7" fmla="*/ 4 h 5"/>
                  <a:gd name="T8" fmla="*/ 4 w 6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">
                    <a:moveTo>
                      <a:pt x="4" y="5"/>
                    </a:moveTo>
                    <a:cubicBezTo>
                      <a:pt x="6" y="4"/>
                      <a:pt x="6" y="3"/>
                      <a:pt x="6" y="1"/>
                    </a:cubicBezTo>
                    <a:cubicBezTo>
                      <a:pt x="4" y="1"/>
                      <a:pt x="2" y="0"/>
                      <a:pt x="0" y="0"/>
                    </a:cubicBezTo>
                    <a:cubicBezTo>
                      <a:pt x="1" y="1"/>
                      <a:pt x="2" y="2"/>
                      <a:pt x="2" y="4"/>
                    </a:cubicBezTo>
                    <a:cubicBezTo>
                      <a:pt x="3" y="3"/>
                      <a:pt x="4" y="3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3" name="任意多边形: 形状 10672">
                <a:extLst>
                  <a:ext uri="{FF2B5EF4-FFF2-40B4-BE49-F238E27FC236}">
                    <a16:creationId xmlns:a16="http://schemas.microsoft.com/office/drawing/2014/main" id="{F940E7AE-E3D1-463A-98C2-71A44B06C1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743"/>
                <a:ext cx="15" cy="10"/>
              </a:xfrm>
              <a:custGeom>
                <a:avLst/>
                <a:gdLst>
                  <a:gd name="T0" fmla="*/ 0 w 7"/>
                  <a:gd name="T1" fmla="*/ 0 h 5"/>
                  <a:gd name="T2" fmla="*/ 7 w 7"/>
                  <a:gd name="T3" fmla="*/ 4 h 5"/>
                  <a:gd name="T4" fmla="*/ 0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cubicBezTo>
                      <a:pt x="2" y="4"/>
                      <a:pt x="4" y="5"/>
                      <a:pt x="7" y="4"/>
                    </a:cubicBezTo>
                    <a:cubicBezTo>
                      <a:pt x="5" y="1"/>
                      <a:pt x="2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4" name="任意多边形: 形状 10673">
                <a:extLst>
                  <a:ext uri="{FF2B5EF4-FFF2-40B4-BE49-F238E27FC236}">
                    <a16:creationId xmlns:a16="http://schemas.microsoft.com/office/drawing/2014/main" id="{B2AA9485-A807-4FFD-B7D7-DF436CF23B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6" y="1627"/>
                <a:ext cx="21" cy="14"/>
              </a:xfrm>
              <a:custGeom>
                <a:avLst/>
                <a:gdLst>
                  <a:gd name="T0" fmla="*/ 8 w 10"/>
                  <a:gd name="T1" fmla="*/ 0 h 7"/>
                  <a:gd name="T2" fmla="*/ 1 w 10"/>
                  <a:gd name="T3" fmla="*/ 7 h 7"/>
                  <a:gd name="T4" fmla="*/ 8 w 10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7">
                    <a:moveTo>
                      <a:pt x="8" y="0"/>
                    </a:moveTo>
                    <a:cubicBezTo>
                      <a:pt x="6" y="4"/>
                      <a:pt x="0" y="3"/>
                      <a:pt x="1" y="7"/>
                    </a:cubicBezTo>
                    <a:cubicBezTo>
                      <a:pt x="4" y="4"/>
                      <a:pt x="10" y="6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5" name="任意多边形: 形状 10674">
                <a:extLst>
                  <a:ext uri="{FF2B5EF4-FFF2-40B4-BE49-F238E27FC236}">
                    <a16:creationId xmlns:a16="http://schemas.microsoft.com/office/drawing/2014/main" id="{9D28E09B-BD76-4AE6-A45C-15D114838B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0" y="1797"/>
                <a:ext cx="15" cy="19"/>
              </a:xfrm>
              <a:custGeom>
                <a:avLst/>
                <a:gdLst>
                  <a:gd name="T0" fmla="*/ 7 w 7"/>
                  <a:gd name="T1" fmla="*/ 0 h 9"/>
                  <a:gd name="T2" fmla="*/ 0 w 7"/>
                  <a:gd name="T3" fmla="*/ 3 h 9"/>
                  <a:gd name="T4" fmla="*/ 7 w 7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7" y="0"/>
                    </a:moveTo>
                    <a:cubicBezTo>
                      <a:pt x="4" y="3"/>
                      <a:pt x="2" y="1"/>
                      <a:pt x="0" y="3"/>
                    </a:cubicBezTo>
                    <a:cubicBezTo>
                      <a:pt x="3" y="9"/>
                      <a:pt x="7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6" name="任意多边形: 形状 10675">
                <a:extLst>
                  <a:ext uri="{FF2B5EF4-FFF2-40B4-BE49-F238E27FC236}">
                    <a16:creationId xmlns:a16="http://schemas.microsoft.com/office/drawing/2014/main" id="{D784A1CF-7923-43F3-8953-2E2B2A18B2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67" y="1706"/>
                <a:ext cx="23" cy="12"/>
              </a:xfrm>
              <a:custGeom>
                <a:avLst/>
                <a:gdLst>
                  <a:gd name="T0" fmla="*/ 2 w 11"/>
                  <a:gd name="T1" fmla="*/ 6 h 6"/>
                  <a:gd name="T2" fmla="*/ 10 w 11"/>
                  <a:gd name="T3" fmla="*/ 0 h 6"/>
                  <a:gd name="T4" fmla="*/ 2 w 1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5" y="3"/>
                      <a:pt x="11" y="6"/>
                      <a:pt x="10" y="0"/>
                    </a:cubicBezTo>
                    <a:cubicBezTo>
                      <a:pt x="8" y="3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7" name="任意多边形: 形状 10676">
                <a:extLst>
                  <a:ext uri="{FF2B5EF4-FFF2-40B4-BE49-F238E27FC236}">
                    <a16:creationId xmlns:a16="http://schemas.microsoft.com/office/drawing/2014/main" id="{F22FB281-9559-4B69-B9D3-FDF6D4670A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3" y="1878"/>
                <a:ext cx="8" cy="14"/>
              </a:xfrm>
              <a:custGeom>
                <a:avLst/>
                <a:gdLst>
                  <a:gd name="T0" fmla="*/ 2 w 4"/>
                  <a:gd name="T1" fmla="*/ 0 h 7"/>
                  <a:gd name="T2" fmla="*/ 0 w 4"/>
                  <a:gd name="T3" fmla="*/ 7 h 7"/>
                  <a:gd name="T4" fmla="*/ 2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cubicBezTo>
                      <a:pt x="1" y="2"/>
                      <a:pt x="0" y="4"/>
                      <a:pt x="0" y="7"/>
                    </a:cubicBezTo>
                    <a:cubicBezTo>
                      <a:pt x="3" y="6"/>
                      <a:pt x="4" y="4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8" name="任意多边形: 形状 10677">
                <a:extLst>
                  <a:ext uri="{FF2B5EF4-FFF2-40B4-BE49-F238E27FC236}">
                    <a16:creationId xmlns:a16="http://schemas.microsoft.com/office/drawing/2014/main" id="{896F72B8-26C0-473B-99F1-6F79EABA56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6" y="1703"/>
                <a:ext cx="10" cy="13"/>
              </a:xfrm>
              <a:custGeom>
                <a:avLst/>
                <a:gdLst>
                  <a:gd name="T0" fmla="*/ 1 w 5"/>
                  <a:gd name="T1" fmla="*/ 6 h 6"/>
                  <a:gd name="T2" fmla="*/ 5 w 5"/>
                  <a:gd name="T3" fmla="*/ 0 h 6"/>
                  <a:gd name="T4" fmla="*/ 1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3" y="4"/>
                      <a:pt x="5" y="3"/>
                      <a:pt x="5" y="0"/>
                    </a:cubicBezTo>
                    <a:cubicBezTo>
                      <a:pt x="3" y="0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9" name="任意多边形: 形状 10678">
                <a:extLst>
                  <a:ext uri="{FF2B5EF4-FFF2-40B4-BE49-F238E27FC236}">
                    <a16:creationId xmlns:a16="http://schemas.microsoft.com/office/drawing/2014/main" id="{A07A09A6-8112-4876-B09C-E94C5FC67B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10" y="1874"/>
                <a:ext cx="13" cy="10"/>
              </a:xfrm>
              <a:custGeom>
                <a:avLst/>
                <a:gdLst>
                  <a:gd name="T0" fmla="*/ 2 w 6"/>
                  <a:gd name="T1" fmla="*/ 5 h 5"/>
                  <a:gd name="T2" fmla="*/ 6 w 6"/>
                  <a:gd name="T3" fmla="*/ 1 h 5"/>
                  <a:gd name="T4" fmla="*/ 2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2" y="1"/>
                      <a:pt x="6" y="4"/>
                      <a:pt x="6" y="1"/>
                    </a:cubicBezTo>
                    <a:cubicBezTo>
                      <a:pt x="4" y="0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0" name="任意多边形: 形状 10679">
                <a:extLst>
                  <a:ext uri="{FF2B5EF4-FFF2-40B4-BE49-F238E27FC236}">
                    <a16:creationId xmlns:a16="http://schemas.microsoft.com/office/drawing/2014/main" id="{F699841C-603C-40B9-9C00-FABD141E51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8" y="2048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3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2" y="4"/>
                      <a:pt x="5" y="4"/>
                      <a:pt x="3" y="0"/>
                    </a:cubicBezTo>
                    <a:cubicBezTo>
                      <a:pt x="1" y="2"/>
                      <a:pt x="0" y="3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1" name="任意多边形: 形状 10680">
                <a:extLst>
                  <a:ext uri="{FF2B5EF4-FFF2-40B4-BE49-F238E27FC236}">
                    <a16:creationId xmlns:a16="http://schemas.microsoft.com/office/drawing/2014/main" id="{291F31F3-2B92-4DD7-9EC0-4ADCFE0052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0" y="2017"/>
                <a:ext cx="23" cy="25"/>
              </a:xfrm>
              <a:custGeom>
                <a:avLst/>
                <a:gdLst>
                  <a:gd name="T0" fmla="*/ 11 w 11"/>
                  <a:gd name="T1" fmla="*/ 12 h 12"/>
                  <a:gd name="T2" fmla="*/ 9 w 11"/>
                  <a:gd name="T3" fmla="*/ 7 h 12"/>
                  <a:gd name="T4" fmla="*/ 5 w 11"/>
                  <a:gd name="T5" fmla="*/ 1 h 12"/>
                  <a:gd name="T6" fmla="*/ 0 w 11"/>
                  <a:gd name="T7" fmla="*/ 0 h 12"/>
                  <a:gd name="T8" fmla="*/ 11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11" y="12"/>
                    </a:moveTo>
                    <a:cubicBezTo>
                      <a:pt x="10" y="10"/>
                      <a:pt x="9" y="8"/>
                      <a:pt x="9" y="7"/>
                    </a:cubicBezTo>
                    <a:cubicBezTo>
                      <a:pt x="7" y="9"/>
                      <a:pt x="7" y="3"/>
                      <a:pt x="5" y="1"/>
                    </a:cubicBezTo>
                    <a:cubicBezTo>
                      <a:pt x="3" y="2"/>
                      <a:pt x="2" y="1"/>
                      <a:pt x="0" y="0"/>
                    </a:cubicBezTo>
                    <a:cubicBezTo>
                      <a:pt x="4" y="3"/>
                      <a:pt x="7" y="11"/>
                      <a:pt x="1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2" name="任意多边形: 形状 10681">
                <a:extLst>
                  <a:ext uri="{FF2B5EF4-FFF2-40B4-BE49-F238E27FC236}">
                    <a16:creationId xmlns:a16="http://schemas.microsoft.com/office/drawing/2014/main" id="{216AF5CC-159E-42C2-9930-553C7A98AF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43" y="1857"/>
                <a:ext cx="15" cy="15"/>
              </a:xfrm>
              <a:custGeom>
                <a:avLst/>
                <a:gdLst>
                  <a:gd name="T0" fmla="*/ 4 w 7"/>
                  <a:gd name="T1" fmla="*/ 0 h 7"/>
                  <a:gd name="T2" fmla="*/ 3 w 7"/>
                  <a:gd name="T3" fmla="*/ 7 h 7"/>
                  <a:gd name="T4" fmla="*/ 4 w 7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0"/>
                    </a:moveTo>
                    <a:cubicBezTo>
                      <a:pt x="2" y="1"/>
                      <a:pt x="0" y="6"/>
                      <a:pt x="3" y="7"/>
                    </a:cubicBezTo>
                    <a:cubicBezTo>
                      <a:pt x="0" y="3"/>
                      <a:pt x="7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3" name="任意多边形: 形状 10682">
                <a:extLst>
                  <a:ext uri="{FF2B5EF4-FFF2-40B4-BE49-F238E27FC236}">
                    <a16:creationId xmlns:a16="http://schemas.microsoft.com/office/drawing/2014/main" id="{F4B0CB63-C977-4E7A-B267-9BA21173BF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4" y="1706"/>
                <a:ext cx="15" cy="8"/>
              </a:xfrm>
              <a:custGeom>
                <a:avLst/>
                <a:gdLst>
                  <a:gd name="T0" fmla="*/ 7 w 7"/>
                  <a:gd name="T1" fmla="*/ 4 h 4"/>
                  <a:gd name="T2" fmla="*/ 3 w 7"/>
                  <a:gd name="T3" fmla="*/ 0 h 4"/>
                  <a:gd name="T4" fmla="*/ 1 w 7"/>
                  <a:gd name="T5" fmla="*/ 4 h 4"/>
                  <a:gd name="T6" fmla="*/ 7 w 7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cubicBezTo>
                      <a:pt x="6" y="2"/>
                      <a:pt x="5" y="0"/>
                      <a:pt x="3" y="0"/>
                    </a:cubicBezTo>
                    <a:cubicBezTo>
                      <a:pt x="2" y="1"/>
                      <a:pt x="0" y="2"/>
                      <a:pt x="1" y="4"/>
                    </a:cubicBezTo>
                    <a:cubicBezTo>
                      <a:pt x="3" y="2"/>
                      <a:pt x="5" y="4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4" name="任意多边形: 形状 10683">
                <a:extLst>
                  <a:ext uri="{FF2B5EF4-FFF2-40B4-BE49-F238E27FC236}">
                    <a16:creationId xmlns:a16="http://schemas.microsoft.com/office/drawing/2014/main" id="{73FE35BA-5ED9-475C-AD59-B6824908ED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9" y="2004"/>
                <a:ext cx="17" cy="36"/>
              </a:xfrm>
              <a:custGeom>
                <a:avLst/>
                <a:gdLst>
                  <a:gd name="T0" fmla="*/ 8 w 8"/>
                  <a:gd name="T1" fmla="*/ 12 h 17"/>
                  <a:gd name="T2" fmla="*/ 4 w 8"/>
                  <a:gd name="T3" fmla="*/ 0 h 17"/>
                  <a:gd name="T4" fmla="*/ 2 w 8"/>
                  <a:gd name="T5" fmla="*/ 1 h 17"/>
                  <a:gd name="T6" fmla="*/ 3 w 8"/>
                  <a:gd name="T7" fmla="*/ 11 h 17"/>
                  <a:gd name="T8" fmla="*/ 1 w 8"/>
                  <a:gd name="T9" fmla="*/ 17 h 17"/>
                  <a:gd name="T10" fmla="*/ 8 w 8"/>
                  <a:gd name="T1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7">
                    <a:moveTo>
                      <a:pt x="8" y="12"/>
                    </a:moveTo>
                    <a:cubicBezTo>
                      <a:pt x="7" y="9"/>
                      <a:pt x="3" y="3"/>
                      <a:pt x="4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5"/>
                      <a:pt x="4" y="8"/>
                      <a:pt x="3" y="11"/>
                    </a:cubicBezTo>
                    <a:cubicBezTo>
                      <a:pt x="0" y="7"/>
                      <a:pt x="0" y="14"/>
                      <a:pt x="1" y="17"/>
                    </a:cubicBezTo>
                    <a:cubicBezTo>
                      <a:pt x="4" y="14"/>
                      <a:pt x="4" y="8"/>
                      <a:pt x="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5" name="任意多边形: 形状 10684">
                <a:extLst>
                  <a:ext uri="{FF2B5EF4-FFF2-40B4-BE49-F238E27FC236}">
                    <a16:creationId xmlns:a16="http://schemas.microsoft.com/office/drawing/2014/main" id="{C8265E60-0D24-401E-AE49-6B6CB3B09B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2" y="1963"/>
                <a:ext cx="12" cy="14"/>
              </a:xfrm>
              <a:custGeom>
                <a:avLst/>
                <a:gdLst>
                  <a:gd name="T0" fmla="*/ 5 w 6"/>
                  <a:gd name="T1" fmla="*/ 3 h 7"/>
                  <a:gd name="T2" fmla="*/ 0 w 6"/>
                  <a:gd name="T3" fmla="*/ 3 h 7"/>
                  <a:gd name="T4" fmla="*/ 5 w 6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5" y="3"/>
                    </a:moveTo>
                    <a:cubicBezTo>
                      <a:pt x="3" y="3"/>
                      <a:pt x="2" y="0"/>
                      <a:pt x="0" y="3"/>
                    </a:cubicBezTo>
                    <a:cubicBezTo>
                      <a:pt x="1" y="7"/>
                      <a:pt x="6" y="6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6" name="任意多边形: 形状 10685">
                <a:extLst>
                  <a:ext uri="{FF2B5EF4-FFF2-40B4-BE49-F238E27FC236}">
                    <a16:creationId xmlns:a16="http://schemas.microsoft.com/office/drawing/2014/main" id="{ADF28AE5-1389-45D0-A82D-DC5A75D87D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6" y="1577"/>
                <a:ext cx="16" cy="12"/>
              </a:xfrm>
              <a:custGeom>
                <a:avLst/>
                <a:gdLst>
                  <a:gd name="T0" fmla="*/ 5 w 8"/>
                  <a:gd name="T1" fmla="*/ 0 h 6"/>
                  <a:gd name="T2" fmla="*/ 2 w 8"/>
                  <a:gd name="T3" fmla="*/ 4 h 6"/>
                  <a:gd name="T4" fmla="*/ 5 w 8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5" y="0"/>
                    </a:moveTo>
                    <a:cubicBezTo>
                      <a:pt x="4" y="2"/>
                      <a:pt x="0" y="1"/>
                      <a:pt x="2" y="4"/>
                    </a:cubicBezTo>
                    <a:cubicBezTo>
                      <a:pt x="4" y="4"/>
                      <a:pt x="8" y="6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7" name="任意多边形: 形状 10686">
                <a:extLst>
                  <a:ext uri="{FF2B5EF4-FFF2-40B4-BE49-F238E27FC236}">
                    <a16:creationId xmlns:a16="http://schemas.microsoft.com/office/drawing/2014/main" id="{C1B10B6C-3D90-4DDA-892F-A556534E2EF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27" y="1459"/>
                <a:ext cx="19" cy="14"/>
              </a:xfrm>
              <a:custGeom>
                <a:avLst/>
                <a:gdLst>
                  <a:gd name="T0" fmla="*/ 5 w 9"/>
                  <a:gd name="T1" fmla="*/ 0 h 7"/>
                  <a:gd name="T2" fmla="*/ 0 w 9"/>
                  <a:gd name="T3" fmla="*/ 3 h 7"/>
                  <a:gd name="T4" fmla="*/ 1 w 9"/>
                  <a:gd name="T5" fmla="*/ 7 h 7"/>
                  <a:gd name="T6" fmla="*/ 5 w 9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6" y="4"/>
                      <a:pt x="1" y="3"/>
                      <a:pt x="0" y="3"/>
                    </a:cubicBezTo>
                    <a:cubicBezTo>
                      <a:pt x="1" y="5"/>
                      <a:pt x="1" y="6"/>
                      <a:pt x="1" y="7"/>
                    </a:cubicBezTo>
                    <a:cubicBezTo>
                      <a:pt x="3" y="4"/>
                      <a:pt x="9" y="4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8" name="任意多边形: 形状 10687">
                <a:extLst>
                  <a:ext uri="{FF2B5EF4-FFF2-40B4-BE49-F238E27FC236}">
                    <a16:creationId xmlns:a16="http://schemas.microsoft.com/office/drawing/2014/main" id="{6FAB2CC7-5669-42B0-B248-C4143866123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73" y="1714"/>
                <a:ext cx="12" cy="12"/>
              </a:xfrm>
              <a:custGeom>
                <a:avLst/>
                <a:gdLst>
                  <a:gd name="T0" fmla="*/ 3 w 6"/>
                  <a:gd name="T1" fmla="*/ 0 h 6"/>
                  <a:gd name="T2" fmla="*/ 2 w 6"/>
                  <a:gd name="T3" fmla="*/ 6 h 6"/>
                  <a:gd name="T4" fmla="*/ 3 w 6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cubicBezTo>
                      <a:pt x="0" y="1"/>
                      <a:pt x="0" y="3"/>
                      <a:pt x="2" y="6"/>
                    </a:cubicBezTo>
                    <a:cubicBezTo>
                      <a:pt x="6" y="6"/>
                      <a:pt x="2" y="2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9" name="任意多边形: 形状 10688">
                <a:extLst>
                  <a:ext uri="{FF2B5EF4-FFF2-40B4-BE49-F238E27FC236}">
                    <a16:creationId xmlns:a16="http://schemas.microsoft.com/office/drawing/2014/main" id="{54D119B7-5064-4B40-88D8-111EB7144B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96" y="1747"/>
                <a:ext cx="10" cy="19"/>
              </a:xfrm>
              <a:custGeom>
                <a:avLst/>
                <a:gdLst>
                  <a:gd name="T0" fmla="*/ 2 w 5"/>
                  <a:gd name="T1" fmla="*/ 6 h 9"/>
                  <a:gd name="T2" fmla="*/ 3 w 5"/>
                  <a:gd name="T3" fmla="*/ 0 h 9"/>
                  <a:gd name="T4" fmla="*/ 3 w 5"/>
                  <a:gd name="T5" fmla="*/ 4 h 9"/>
                  <a:gd name="T6" fmla="*/ 2 w 5"/>
                  <a:gd name="T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6"/>
                    </a:moveTo>
                    <a:cubicBezTo>
                      <a:pt x="5" y="9"/>
                      <a:pt x="5" y="0"/>
                      <a:pt x="3" y="0"/>
                    </a:cubicBezTo>
                    <a:cubicBezTo>
                      <a:pt x="4" y="2"/>
                      <a:pt x="0" y="2"/>
                      <a:pt x="3" y="4"/>
                    </a:cubicBezTo>
                    <a:cubicBezTo>
                      <a:pt x="3" y="5"/>
                      <a:pt x="1" y="5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0" name="任意多边形: 形状 10689">
                <a:extLst>
                  <a:ext uri="{FF2B5EF4-FFF2-40B4-BE49-F238E27FC236}">
                    <a16:creationId xmlns:a16="http://schemas.microsoft.com/office/drawing/2014/main" id="{62A3DE17-AF73-4141-9726-B3FBE88FF2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1" y="1973"/>
                <a:ext cx="15" cy="13"/>
              </a:xfrm>
              <a:custGeom>
                <a:avLst/>
                <a:gdLst>
                  <a:gd name="T0" fmla="*/ 5 w 7"/>
                  <a:gd name="T1" fmla="*/ 0 h 6"/>
                  <a:gd name="T2" fmla="*/ 3 w 7"/>
                  <a:gd name="T3" fmla="*/ 6 h 6"/>
                  <a:gd name="T4" fmla="*/ 5 w 7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5" y="0"/>
                    </a:moveTo>
                    <a:cubicBezTo>
                      <a:pt x="3" y="1"/>
                      <a:pt x="0" y="3"/>
                      <a:pt x="3" y="6"/>
                    </a:cubicBezTo>
                    <a:cubicBezTo>
                      <a:pt x="3" y="4"/>
                      <a:pt x="7" y="3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1" name="任意多边形: 形状 10690">
                <a:extLst>
                  <a:ext uri="{FF2B5EF4-FFF2-40B4-BE49-F238E27FC236}">
                    <a16:creationId xmlns:a16="http://schemas.microsoft.com/office/drawing/2014/main" id="{08846EC8-7D23-44FF-8F30-EFFC66EC0E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1" y="1946"/>
                <a:ext cx="10" cy="17"/>
              </a:xfrm>
              <a:custGeom>
                <a:avLst/>
                <a:gdLst>
                  <a:gd name="T0" fmla="*/ 3 w 5"/>
                  <a:gd name="T1" fmla="*/ 8 h 8"/>
                  <a:gd name="T2" fmla="*/ 5 w 5"/>
                  <a:gd name="T3" fmla="*/ 5 h 8"/>
                  <a:gd name="T4" fmla="*/ 4 w 5"/>
                  <a:gd name="T5" fmla="*/ 0 h 8"/>
                  <a:gd name="T6" fmla="*/ 3 w 5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cubicBezTo>
                      <a:pt x="2" y="6"/>
                      <a:pt x="4" y="6"/>
                      <a:pt x="5" y="5"/>
                    </a:cubicBezTo>
                    <a:cubicBezTo>
                      <a:pt x="4" y="3"/>
                      <a:pt x="4" y="1"/>
                      <a:pt x="4" y="0"/>
                    </a:cubicBezTo>
                    <a:cubicBezTo>
                      <a:pt x="3" y="2"/>
                      <a:pt x="0" y="7"/>
                      <a:pt x="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2" name="任意多边形: 形状 10691">
                <a:extLst>
                  <a:ext uri="{FF2B5EF4-FFF2-40B4-BE49-F238E27FC236}">
                    <a16:creationId xmlns:a16="http://schemas.microsoft.com/office/drawing/2014/main" id="{4EEC6519-256B-44C1-BDE4-FE6B149489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41" y="1782"/>
                <a:ext cx="19" cy="17"/>
              </a:xfrm>
              <a:custGeom>
                <a:avLst/>
                <a:gdLst>
                  <a:gd name="T0" fmla="*/ 7 w 9"/>
                  <a:gd name="T1" fmla="*/ 1 h 8"/>
                  <a:gd name="T2" fmla="*/ 6 w 9"/>
                  <a:gd name="T3" fmla="*/ 1 h 8"/>
                  <a:gd name="T4" fmla="*/ 0 w 9"/>
                  <a:gd name="T5" fmla="*/ 4 h 8"/>
                  <a:gd name="T6" fmla="*/ 9 w 9"/>
                  <a:gd name="T7" fmla="*/ 7 h 8"/>
                  <a:gd name="T8" fmla="*/ 9 w 9"/>
                  <a:gd name="T9" fmla="*/ 4 h 8"/>
                  <a:gd name="T10" fmla="*/ 7 w 9"/>
                  <a:gd name="T1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7" y="1"/>
                    </a:moveTo>
                    <a:cubicBezTo>
                      <a:pt x="7" y="1"/>
                      <a:pt x="7" y="0"/>
                      <a:pt x="6" y="1"/>
                    </a:cubicBezTo>
                    <a:cubicBezTo>
                      <a:pt x="7" y="4"/>
                      <a:pt x="2" y="4"/>
                      <a:pt x="0" y="4"/>
                    </a:cubicBezTo>
                    <a:cubicBezTo>
                      <a:pt x="3" y="8"/>
                      <a:pt x="6" y="5"/>
                      <a:pt x="9" y="7"/>
                    </a:cubicBezTo>
                    <a:cubicBezTo>
                      <a:pt x="6" y="3"/>
                      <a:pt x="6" y="5"/>
                      <a:pt x="9" y="4"/>
                    </a:cubicBezTo>
                    <a:lnTo>
                      <a:pt x="7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3" name="任意多边形: 形状 10692">
                <a:extLst>
                  <a:ext uri="{FF2B5EF4-FFF2-40B4-BE49-F238E27FC236}">
                    <a16:creationId xmlns:a16="http://schemas.microsoft.com/office/drawing/2014/main" id="{57CD9123-F12F-4DF8-92C9-19B3A9EF39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" y="1963"/>
                <a:ext cx="10" cy="10"/>
              </a:xfrm>
              <a:custGeom>
                <a:avLst/>
                <a:gdLst>
                  <a:gd name="T0" fmla="*/ 0 w 5"/>
                  <a:gd name="T1" fmla="*/ 1 h 5"/>
                  <a:gd name="T2" fmla="*/ 1 w 5"/>
                  <a:gd name="T3" fmla="*/ 5 h 5"/>
                  <a:gd name="T4" fmla="*/ 5 w 5"/>
                  <a:gd name="T5" fmla="*/ 4 h 5"/>
                  <a:gd name="T6" fmla="*/ 0 w 5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cubicBezTo>
                      <a:pt x="0" y="2"/>
                      <a:pt x="1" y="4"/>
                      <a:pt x="1" y="5"/>
                    </a:cubicBezTo>
                    <a:cubicBezTo>
                      <a:pt x="2" y="2"/>
                      <a:pt x="4" y="5"/>
                      <a:pt x="5" y="4"/>
                    </a:cubicBezTo>
                    <a:cubicBezTo>
                      <a:pt x="3" y="1"/>
                      <a:pt x="1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4" name="任意多边形: 形状 10693">
                <a:extLst>
                  <a:ext uri="{FF2B5EF4-FFF2-40B4-BE49-F238E27FC236}">
                    <a16:creationId xmlns:a16="http://schemas.microsoft.com/office/drawing/2014/main" id="{4DBC7621-911F-4970-8224-06522EA8833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3" y="1992"/>
                <a:ext cx="17" cy="19"/>
              </a:xfrm>
              <a:custGeom>
                <a:avLst/>
                <a:gdLst>
                  <a:gd name="T0" fmla="*/ 2 w 8"/>
                  <a:gd name="T1" fmla="*/ 9 h 9"/>
                  <a:gd name="T2" fmla="*/ 5 w 8"/>
                  <a:gd name="T3" fmla="*/ 8 h 9"/>
                  <a:gd name="T4" fmla="*/ 3 w 8"/>
                  <a:gd name="T5" fmla="*/ 4 h 9"/>
                  <a:gd name="T6" fmla="*/ 4 w 8"/>
                  <a:gd name="T7" fmla="*/ 3 h 9"/>
                  <a:gd name="T8" fmla="*/ 8 w 8"/>
                  <a:gd name="T9" fmla="*/ 5 h 9"/>
                  <a:gd name="T10" fmla="*/ 2 w 8"/>
                  <a:gd name="T11" fmla="*/ 0 h 9"/>
                  <a:gd name="T12" fmla="*/ 0 w 8"/>
                  <a:gd name="T13" fmla="*/ 3 h 9"/>
                  <a:gd name="T14" fmla="*/ 2 w 8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4" y="6"/>
                      <a:pt x="2" y="5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6"/>
                      <a:pt x="6" y="7"/>
                      <a:pt x="8" y="5"/>
                    </a:cubicBezTo>
                    <a:cubicBezTo>
                      <a:pt x="6" y="3"/>
                      <a:pt x="4" y="2"/>
                      <a:pt x="2" y="0"/>
                    </a:cubicBezTo>
                    <a:cubicBezTo>
                      <a:pt x="3" y="2"/>
                      <a:pt x="1" y="2"/>
                      <a:pt x="0" y="3"/>
                    </a:cubicBezTo>
                    <a:cubicBezTo>
                      <a:pt x="0" y="5"/>
                      <a:pt x="2" y="8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5" name="任意多边形: 形状 10694">
                <a:extLst>
                  <a:ext uri="{FF2B5EF4-FFF2-40B4-BE49-F238E27FC236}">
                    <a16:creationId xmlns:a16="http://schemas.microsoft.com/office/drawing/2014/main" id="{10BDA2AD-E295-4678-89A2-D6476A9396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2" y="1488"/>
                <a:ext cx="13" cy="12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6 h 6"/>
                  <a:gd name="T4" fmla="*/ 0 w 6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2" y="3"/>
                      <a:pt x="1" y="4"/>
                      <a:pt x="3" y="6"/>
                    </a:cubicBezTo>
                    <a:cubicBezTo>
                      <a:pt x="6" y="5"/>
                      <a:pt x="3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6" name="任意多边形: 形状 10695">
                <a:extLst>
                  <a:ext uri="{FF2B5EF4-FFF2-40B4-BE49-F238E27FC236}">
                    <a16:creationId xmlns:a16="http://schemas.microsoft.com/office/drawing/2014/main" id="{44BFF244-6AA3-463D-A684-C56FC328D1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3" y="1965"/>
                <a:ext cx="10" cy="12"/>
              </a:xfrm>
              <a:custGeom>
                <a:avLst/>
                <a:gdLst>
                  <a:gd name="T0" fmla="*/ 4 w 5"/>
                  <a:gd name="T1" fmla="*/ 6 h 6"/>
                  <a:gd name="T2" fmla="*/ 3 w 5"/>
                  <a:gd name="T3" fmla="*/ 0 h 6"/>
                  <a:gd name="T4" fmla="*/ 4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cubicBezTo>
                      <a:pt x="1" y="3"/>
                      <a:pt x="5" y="3"/>
                      <a:pt x="3" y="0"/>
                    </a:cubicBezTo>
                    <a:cubicBezTo>
                      <a:pt x="0" y="1"/>
                      <a:pt x="0" y="6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7" name="任意多边形: 形状 10696">
                <a:extLst>
                  <a:ext uri="{FF2B5EF4-FFF2-40B4-BE49-F238E27FC236}">
                    <a16:creationId xmlns:a16="http://schemas.microsoft.com/office/drawing/2014/main" id="{C69A43BD-1EF9-42F9-8F4A-BDCC37082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4" y="1529"/>
                <a:ext cx="14" cy="13"/>
              </a:xfrm>
              <a:custGeom>
                <a:avLst/>
                <a:gdLst>
                  <a:gd name="T0" fmla="*/ 7 w 7"/>
                  <a:gd name="T1" fmla="*/ 4 h 6"/>
                  <a:gd name="T2" fmla="*/ 2 w 7"/>
                  <a:gd name="T3" fmla="*/ 4 h 6"/>
                  <a:gd name="T4" fmla="*/ 7 w 7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7" y="4"/>
                    </a:moveTo>
                    <a:cubicBezTo>
                      <a:pt x="5" y="0"/>
                      <a:pt x="0" y="0"/>
                      <a:pt x="2" y="4"/>
                    </a:cubicBezTo>
                    <a:cubicBezTo>
                      <a:pt x="4" y="2"/>
                      <a:pt x="5" y="6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8" name="任意多边形: 形状 10697">
                <a:extLst>
                  <a:ext uri="{FF2B5EF4-FFF2-40B4-BE49-F238E27FC236}">
                    <a16:creationId xmlns:a16="http://schemas.microsoft.com/office/drawing/2014/main" id="{94DC4891-C7CF-4EDC-86AB-BB3C1BA332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59" y="1948"/>
                <a:ext cx="17" cy="23"/>
              </a:xfrm>
              <a:custGeom>
                <a:avLst/>
                <a:gdLst>
                  <a:gd name="T0" fmla="*/ 0 w 8"/>
                  <a:gd name="T1" fmla="*/ 6 h 11"/>
                  <a:gd name="T2" fmla="*/ 8 w 8"/>
                  <a:gd name="T3" fmla="*/ 6 h 11"/>
                  <a:gd name="T4" fmla="*/ 0 w 8"/>
                  <a:gd name="T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1">
                    <a:moveTo>
                      <a:pt x="0" y="6"/>
                    </a:moveTo>
                    <a:cubicBezTo>
                      <a:pt x="2" y="11"/>
                      <a:pt x="5" y="7"/>
                      <a:pt x="8" y="6"/>
                    </a:cubicBezTo>
                    <a:cubicBezTo>
                      <a:pt x="4" y="0"/>
                      <a:pt x="4" y="6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9" name="任意多边形: 形状 10698">
                <a:extLst>
                  <a:ext uri="{FF2B5EF4-FFF2-40B4-BE49-F238E27FC236}">
                    <a16:creationId xmlns:a16="http://schemas.microsoft.com/office/drawing/2014/main" id="{BCAC778C-E9CA-4331-8101-0BC6FA1B37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9" y="1247"/>
                <a:ext cx="37" cy="27"/>
              </a:xfrm>
              <a:custGeom>
                <a:avLst/>
                <a:gdLst>
                  <a:gd name="T0" fmla="*/ 15 w 18"/>
                  <a:gd name="T1" fmla="*/ 7 h 13"/>
                  <a:gd name="T2" fmla="*/ 15 w 18"/>
                  <a:gd name="T3" fmla="*/ 0 h 13"/>
                  <a:gd name="T4" fmla="*/ 0 w 18"/>
                  <a:gd name="T5" fmla="*/ 6 h 13"/>
                  <a:gd name="T6" fmla="*/ 2 w 18"/>
                  <a:gd name="T7" fmla="*/ 13 h 13"/>
                  <a:gd name="T8" fmla="*/ 15 w 18"/>
                  <a:gd name="T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3">
                    <a:moveTo>
                      <a:pt x="15" y="7"/>
                    </a:moveTo>
                    <a:cubicBezTo>
                      <a:pt x="12" y="3"/>
                      <a:pt x="18" y="4"/>
                      <a:pt x="15" y="0"/>
                    </a:cubicBezTo>
                    <a:cubicBezTo>
                      <a:pt x="11" y="8"/>
                      <a:pt x="8" y="6"/>
                      <a:pt x="0" y="6"/>
                    </a:cubicBezTo>
                    <a:cubicBezTo>
                      <a:pt x="2" y="9"/>
                      <a:pt x="2" y="11"/>
                      <a:pt x="2" y="13"/>
                    </a:cubicBezTo>
                    <a:cubicBezTo>
                      <a:pt x="7" y="12"/>
                      <a:pt x="9" y="6"/>
                      <a:pt x="1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0" name="任意多边形: 形状 10699">
                <a:extLst>
                  <a:ext uri="{FF2B5EF4-FFF2-40B4-BE49-F238E27FC236}">
                    <a16:creationId xmlns:a16="http://schemas.microsoft.com/office/drawing/2014/main" id="{63D68451-4339-4F3F-90DF-DA8DC87C96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47" y="1888"/>
                <a:ext cx="21" cy="31"/>
              </a:xfrm>
              <a:custGeom>
                <a:avLst/>
                <a:gdLst>
                  <a:gd name="T0" fmla="*/ 0 w 10"/>
                  <a:gd name="T1" fmla="*/ 2 h 15"/>
                  <a:gd name="T2" fmla="*/ 7 w 10"/>
                  <a:gd name="T3" fmla="*/ 14 h 15"/>
                  <a:gd name="T4" fmla="*/ 10 w 10"/>
                  <a:gd name="T5" fmla="*/ 13 h 15"/>
                  <a:gd name="T6" fmla="*/ 5 w 10"/>
                  <a:gd name="T7" fmla="*/ 4 h 15"/>
                  <a:gd name="T8" fmla="*/ 0 w 10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0" y="2"/>
                    </a:moveTo>
                    <a:cubicBezTo>
                      <a:pt x="4" y="6"/>
                      <a:pt x="3" y="12"/>
                      <a:pt x="7" y="14"/>
                    </a:cubicBezTo>
                    <a:cubicBezTo>
                      <a:pt x="5" y="11"/>
                      <a:pt x="9" y="15"/>
                      <a:pt x="10" y="13"/>
                    </a:cubicBezTo>
                    <a:cubicBezTo>
                      <a:pt x="7" y="9"/>
                      <a:pt x="3" y="8"/>
                      <a:pt x="5" y="4"/>
                    </a:cubicBezTo>
                    <a:cubicBezTo>
                      <a:pt x="3" y="5"/>
                      <a:pt x="1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1" name="任意多边形: 形状 10700">
                <a:extLst>
                  <a:ext uri="{FF2B5EF4-FFF2-40B4-BE49-F238E27FC236}">
                    <a16:creationId xmlns:a16="http://schemas.microsoft.com/office/drawing/2014/main" id="{2F2085C1-813E-4FF7-B4A5-E36FEFC6670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" y="1950"/>
                <a:ext cx="15" cy="9"/>
              </a:xfrm>
              <a:custGeom>
                <a:avLst/>
                <a:gdLst>
                  <a:gd name="T0" fmla="*/ 3 w 7"/>
                  <a:gd name="T1" fmla="*/ 4 h 4"/>
                  <a:gd name="T2" fmla="*/ 7 w 7"/>
                  <a:gd name="T3" fmla="*/ 0 h 4"/>
                  <a:gd name="T4" fmla="*/ 3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3" y="4"/>
                    </a:moveTo>
                    <a:cubicBezTo>
                      <a:pt x="4" y="1"/>
                      <a:pt x="7" y="4"/>
                      <a:pt x="7" y="0"/>
                    </a:cubicBezTo>
                    <a:cubicBezTo>
                      <a:pt x="6" y="0"/>
                      <a:pt x="0" y="0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2" name="任意多边形: 形状 10701">
                <a:extLst>
                  <a:ext uri="{FF2B5EF4-FFF2-40B4-BE49-F238E27FC236}">
                    <a16:creationId xmlns:a16="http://schemas.microsoft.com/office/drawing/2014/main" id="{286B4BFC-37A6-4422-B24E-8E3BFB93D7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2" y="1911"/>
                <a:ext cx="23" cy="21"/>
              </a:xfrm>
              <a:custGeom>
                <a:avLst/>
                <a:gdLst>
                  <a:gd name="T0" fmla="*/ 11 w 11"/>
                  <a:gd name="T1" fmla="*/ 4 h 10"/>
                  <a:gd name="T2" fmla="*/ 5 w 11"/>
                  <a:gd name="T3" fmla="*/ 7 h 10"/>
                  <a:gd name="T4" fmla="*/ 1 w 11"/>
                  <a:gd name="T5" fmla="*/ 1 h 10"/>
                  <a:gd name="T6" fmla="*/ 2 w 11"/>
                  <a:gd name="T7" fmla="*/ 10 h 10"/>
                  <a:gd name="T8" fmla="*/ 11 w 11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11" y="4"/>
                    </a:moveTo>
                    <a:cubicBezTo>
                      <a:pt x="9" y="6"/>
                      <a:pt x="7" y="4"/>
                      <a:pt x="5" y="7"/>
                    </a:cubicBezTo>
                    <a:cubicBezTo>
                      <a:pt x="3" y="5"/>
                      <a:pt x="2" y="0"/>
                      <a:pt x="1" y="1"/>
                    </a:cubicBezTo>
                    <a:cubicBezTo>
                      <a:pt x="4" y="6"/>
                      <a:pt x="0" y="7"/>
                      <a:pt x="2" y="10"/>
                    </a:cubicBezTo>
                    <a:cubicBezTo>
                      <a:pt x="6" y="7"/>
                      <a:pt x="11" y="10"/>
                      <a:pt x="1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3" name="任意多边形: 形状 10702">
                <a:extLst>
                  <a:ext uri="{FF2B5EF4-FFF2-40B4-BE49-F238E27FC236}">
                    <a16:creationId xmlns:a16="http://schemas.microsoft.com/office/drawing/2014/main" id="{3EAAE325-3C92-4A83-A913-39FFCDF538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1291"/>
                <a:ext cx="22" cy="10"/>
              </a:xfrm>
              <a:custGeom>
                <a:avLst/>
                <a:gdLst>
                  <a:gd name="T0" fmla="*/ 3 w 11"/>
                  <a:gd name="T1" fmla="*/ 5 h 5"/>
                  <a:gd name="T2" fmla="*/ 8 w 11"/>
                  <a:gd name="T3" fmla="*/ 0 h 5"/>
                  <a:gd name="T4" fmla="*/ 3 w 1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3" y="5"/>
                    </a:moveTo>
                    <a:cubicBezTo>
                      <a:pt x="4" y="4"/>
                      <a:pt x="11" y="1"/>
                      <a:pt x="8" y="0"/>
                    </a:cubicBezTo>
                    <a:cubicBezTo>
                      <a:pt x="7" y="2"/>
                      <a:pt x="0" y="4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4" name="任意多边形: 形状 10703">
                <a:extLst>
                  <a:ext uri="{FF2B5EF4-FFF2-40B4-BE49-F238E27FC236}">
                    <a16:creationId xmlns:a16="http://schemas.microsoft.com/office/drawing/2014/main" id="{4975732C-8368-4B9F-97F1-10E58B9F8A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43" y="1853"/>
                <a:ext cx="14" cy="12"/>
              </a:xfrm>
              <a:custGeom>
                <a:avLst/>
                <a:gdLst>
                  <a:gd name="T0" fmla="*/ 0 w 7"/>
                  <a:gd name="T1" fmla="*/ 1 h 6"/>
                  <a:gd name="T2" fmla="*/ 7 w 7"/>
                  <a:gd name="T3" fmla="*/ 5 h 6"/>
                  <a:gd name="T4" fmla="*/ 0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0" y="1"/>
                    </a:moveTo>
                    <a:cubicBezTo>
                      <a:pt x="2" y="6"/>
                      <a:pt x="5" y="5"/>
                      <a:pt x="7" y="5"/>
                    </a:cubicBezTo>
                    <a:cubicBezTo>
                      <a:pt x="5" y="0"/>
                      <a:pt x="2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5" name="任意多边形: 形状 10704">
                <a:extLst>
                  <a:ext uri="{FF2B5EF4-FFF2-40B4-BE49-F238E27FC236}">
                    <a16:creationId xmlns:a16="http://schemas.microsoft.com/office/drawing/2014/main" id="{6E69E994-EAC3-4C9F-9B25-07ADB0AA36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1" y="1452"/>
                <a:ext cx="12" cy="13"/>
              </a:xfrm>
              <a:custGeom>
                <a:avLst/>
                <a:gdLst>
                  <a:gd name="T0" fmla="*/ 2 w 6"/>
                  <a:gd name="T1" fmla="*/ 6 h 6"/>
                  <a:gd name="T2" fmla="*/ 5 w 6"/>
                  <a:gd name="T3" fmla="*/ 1 h 6"/>
                  <a:gd name="T4" fmla="*/ 2 w 6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2" y="6"/>
                    </a:moveTo>
                    <a:cubicBezTo>
                      <a:pt x="4" y="5"/>
                      <a:pt x="6" y="3"/>
                      <a:pt x="5" y="1"/>
                    </a:cubicBezTo>
                    <a:cubicBezTo>
                      <a:pt x="4" y="0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6" name="任意多边形: 形状 10705">
                <a:extLst>
                  <a:ext uri="{FF2B5EF4-FFF2-40B4-BE49-F238E27FC236}">
                    <a16:creationId xmlns:a16="http://schemas.microsoft.com/office/drawing/2014/main" id="{2A0F838B-82E8-4F4C-80D9-557228A15CB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8" y="1226"/>
                <a:ext cx="15" cy="17"/>
              </a:xfrm>
              <a:custGeom>
                <a:avLst/>
                <a:gdLst>
                  <a:gd name="T0" fmla="*/ 7 w 7"/>
                  <a:gd name="T1" fmla="*/ 6 h 8"/>
                  <a:gd name="T2" fmla="*/ 2 w 7"/>
                  <a:gd name="T3" fmla="*/ 8 h 8"/>
                  <a:gd name="T4" fmla="*/ 7 w 7"/>
                  <a:gd name="T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6"/>
                    </a:moveTo>
                    <a:cubicBezTo>
                      <a:pt x="5" y="0"/>
                      <a:pt x="0" y="4"/>
                      <a:pt x="2" y="8"/>
                    </a:cubicBezTo>
                    <a:cubicBezTo>
                      <a:pt x="4" y="7"/>
                      <a:pt x="5" y="6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7" name="任意多边形: 形状 10706">
                <a:extLst>
                  <a:ext uri="{FF2B5EF4-FFF2-40B4-BE49-F238E27FC236}">
                    <a16:creationId xmlns:a16="http://schemas.microsoft.com/office/drawing/2014/main" id="{E7299DDA-D09C-4E1C-AF8C-4AA90C4E90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7" y="1434"/>
                <a:ext cx="16" cy="8"/>
              </a:xfrm>
              <a:custGeom>
                <a:avLst/>
                <a:gdLst>
                  <a:gd name="T0" fmla="*/ 3 w 8"/>
                  <a:gd name="T1" fmla="*/ 4 h 4"/>
                  <a:gd name="T2" fmla="*/ 5 w 8"/>
                  <a:gd name="T3" fmla="*/ 0 h 4"/>
                  <a:gd name="T4" fmla="*/ 3 w 8"/>
                  <a:gd name="T5" fmla="*/ 3 h 4"/>
                  <a:gd name="T6" fmla="*/ 0 w 8"/>
                  <a:gd name="T7" fmla="*/ 0 h 4"/>
                  <a:gd name="T8" fmla="*/ 3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3" y="4"/>
                    </a:moveTo>
                    <a:cubicBezTo>
                      <a:pt x="4" y="3"/>
                      <a:pt x="8" y="3"/>
                      <a:pt x="5" y="0"/>
                    </a:cubicBezTo>
                    <a:cubicBezTo>
                      <a:pt x="4" y="1"/>
                      <a:pt x="4" y="2"/>
                      <a:pt x="3" y="3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" y="2"/>
                      <a:pt x="2" y="4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8" name="任意多边形: 形状 10707">
                <a:extLst>
                  <a:ext uri="{FF2B5EF4-FFF2-40B4-BE49-F238E27FC236}">
                    <a16:creationId xmlns:a16="http://schemas.microsoft.com/office/drawing/2014/main" id="{FFDCDB52-208F-42B9-8705-D5A1E709C5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2" y="1430"/>
                <a:ext cx="10" cy="10"/>
              </a:xfrm>
              <a:custGeom>
                <a:avLst/>
                <a:gdLst>
                  <a:gd name="T0" fmla="*/ 5 w 5"/>
                  <a:gd name="T1" fmla="*/ 1 h 5"/>
                  <a:gd name="T2" fmla="*/ 2 w 5"/>
                  <a:gd name="T3" fmla="*/ 5 h 5"/>
                  <a:gd name="T4" fmla="*/ 5 w 5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5" y="1"/>
                    </a:moveTo>
                    <a:cubicBezTo>
                      <a:pt x="3" y="0"/>
                      <a:pt x="0" y="2"/>
                      <a:pt x="2" y="5"/>
                    </a:cubicBezTo>
                    <a:cubicBezTo>
                      <a:pt x="4" y="4"/>
                      <a:pt x="5" y="3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9" name="任意多边形: 形状 10708">
                <a:extLst>
                  <a:ext uri="{FF2B5EF4-FFF2-40B4-BE49-F238E27FC236}">
                    <a16:creationId xmlns:a16="http://schemas.microsoft.com/office/drawing/2014/main" id="{065A8077-A6E2-4944-BE39-0E1C3AAF93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75" y="1415"/>
                <a:ext cx="37" cy="35"/>
              </a:xfrm>
              <a:custGeom>
                <a:avLst/>
                <a:gdLst>
                  <a:gd name="T0" fmla="*/ 0 w 18"/>
                  <a:gd name="T1" fmla="*/ 16 h 17"/>
                  <a:gd name="T2" fmla="*/ 3 w 18"/>
                  <a:gd name="T3" fmla="*/ 16 h 17"/>
                  <a:gd name="T4" fmla="*/ 13 w 18"/>
                  <a:gd name="T5" fmla="*/ 11 h 17"/>
                  <a:gd name="T6" fmla="*/ 18 w 18"/>
                  <a:gd name="T7" fmla="*/ 6 h 17"/>
                  <a:gd name="T8" fmla="*/ 17 w 18"/>
                  <a:gd name="T9" fmla="*/ 0 h 17"/>
                  <a:gd name="T10" fmla="*/ 16 w 18"/>
                  <a:gd name="T11" fmla="*/ 5 h 17"/>
                  <a:gd name="T12" fmla="*/ 0 w 18"/>
                  <a:gd name="T1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7">
                    <a:moveTo>
                      <a:pt x="0" y="16"/>
                    </a:moveTo>
                    <a:cubicBezTo>
                      <a:pt x="1" y="15"/>
                      <a:pt x="2" y="17"/>
                      <a:pt x="3" y="16"/>
                    </a:cubicBezTo>
                    <a:cubicBezTo>
                      <a:pt x="2" y="13"/>
                      <a:pt x="9" y="7"/>
                      <a:pt x="13" y="11"/>
                    </a:cubicBezTo>
                    <a:cubicBezTo>
                      <a:pt x="16" y="10"/>
                      <a:pt x="15" y="5"/>
                      <a:pt x="18" y="6"/>
                    </a:cubicBezTo>
                    <a:cubicBezTo>
                      <a:pt x="18" y="3"/>
                      <a:pt x="15" y="3"/>
                      <a:pt x="17" y="0"/>
                    </a:cubicBezTo>
                    <a:cubicBezTo>
                      <a:pt x="13" y="0"/>
                      <a:pt x="11" y="2"/>
                      <a:pt x="16" y="5"/>
                    </a:cubicBezTo>
                    <a:cubicBezTo>
                      <a:pt x="11" y="8"/>
                      <a:pt x="1" y="8"/>
                      <a:pt x="0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0" name="任意多边形: 形状 10709">
                <a:extLst>
                  <a:ext uri="{FF2B5EF4-FFF2-40B4-BE49-F238E27FC236}">
                    <a16:creationId xmlns:a16="http://schemas.microsoft.com/office/drawing/2014/main" id="{A86877B5-D3EA-4C54-8A29-C889F1593E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8" y="1884"/>
                <a:ext cx="11" cy="15"/>
              </a:xfrm>
              <a:custGeom>
                <a:avLst/>
                <a:gdLst>
                  <a:gd name="T0" fmla="*/ 0 w 5"/>
                  <a:gd name="T1" fmla="*/ 1 h 7"/>
                  <a:gd name="T2" fmla="*/ 1 w 5"/>
                  <a:gd name="T3" fmla="*/ 6 h 7"/>
                  <a:gd name="T4" fmla="*/ 4 w 5"/>
                  <a:gd name="T5" fmla="*/ 3 h 7"/>
                  <a:gd name="T6" fmla="*/ 0 w 5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0" y="1"/>
                    </a:moveTo>
                    <a:cubicBezTo>
                      <a:pt x="3" y="3"/>
                      <a:pt x="0" y="4"/>
                      <a:pt x="1" y="6"/>
                    </a:cubicBezTo>
                    <a:cubicBezTo>
                      <a:pt x="3" y="7"/>
                      <a:pt x="5" y="6"/>
                      <a:pt x="4" y="3"/>
                    </a:cubicBezTo>
                    <a:cubicBezTo>
                      <a:pt x="2" y="4"/>
                      <a:pt x="1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1" name="任意多边形: 形状 10710">
                <a:extLst>
                  <a:ext uri="{FF2B5EF4-FFF2-40B4-BE49-F238E27FC236}">
                    <a16:creationId xmlns:a16="http://schemas.microsoft.com/office/drawing/2014/main" id="{CFEAB0EE-2706-4E6B-ABD1-7D6B81FAF3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5" y="1928"/>
                <a:ext cx="9" cy="12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0 h 6"/>
                  <a:gd name="T4" fmla="*/ 2 w 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cubicBezTo>
                      <a:pt x="4" y="5"/>
                      <a:pt x="4" y="3"/>
                      <a:pt x="2" y="0"/>
                    </a:cubicBezTo>
                    <a:cubicBezTo>
                      <a:pt x="0" y="1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2" name="任意多边形: 形状 10711">
                <a:extLst>
                  <a:ext uri="{FF2B5EF4-FFF2-40B4-BE49-F238E27FC236}">
                    <a16:creationId xmlns:a16="http://schemas.microsoft.com/office/drawing/2014/main" id="{C9D9C6FB-F5D8-4127-A2FD-6135C41F25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2" y="1195"/>
                <a:ext cx="54" cy="39"/>
              </a:xfrm>
              <a:custGeom>
                <a:avLst/>
                <a:gdLst>
                  <a:gd name="T0" fmla="*/ 4 w 26"/>
                  <a:gd name="T1" fmla="*/ 19 h 19"/>
                  <a:gd name="T2" fmla="*/ 26 w 26"/>
                  <a:gd name="T3" fmla="*/ 4 h 19"/>
                  <a:gd name="T4" fmla="*/ 16 w 26"/>
                  <a:gd name="T5" fmla="*/ 0 h 19"/>
                  <a:gd name="T6" fmla="*/ 14 w 26"/>
                  <a:gd name="T7" fmla="*/ 1 h 19"/>
                  <a:gd name="T8" fmla="*/ 11 w 26"/>
                  <a:gd name="T9" fmla="*/ 9 h 19"/>
                  <a:gd name="T10" fmla="*/ 6 w 26"/>
                  <a:gd name="T11" fmla="*/ 4 h 19"/>
                  <a:gd name="T12" fmla="*/ 0 w 26"/>
                  <a:gd name="T13" fmla="*/ 12 h 19"/>
                  <a:gd name="T14" fmla="*/ 4 w 26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9">
                    <a:moveTo>
                      <a:pt x="4" y="19"/>
                    </a:moveTo>
                    <a:cubicBezTo>
                      <a:pt x="7" y="8"/>
                      <a:pt x="19" y="9"/>
                      <a:pt x="26" y="4"/>
                    </a:cubicBezTo>
                    <a:cubicBezTo>
                      <a:pt x="22" y="1"/>
                      <a:pt x="21" y="1"/>
                      <a:pt x="16" y="0"/>
                    </a:cubicBezTo>
                    <a:cubicBezTo>
                      <a:pt x="19" y="4"/>
                      <a:pt x="15" y="1"/>
                      <a:pt x="14" y="1"/>
                    </a:cubicBezTo>
                    <a:cubicBezTo>
                      <a:pt x="16" y="5"/>
                      <a:pt x="14" y="7"/>
                      <a:pt x="11" y="9"/>
                    </a:cubicBezTo>
                    <a:cubicBezTo>
                      <a:pt x="9" y="8"/>
                      <a:pt x="8" y="5"/>
                      <a:pt x="6" y="4"/>
                    </a:cubicBezTo>
                    <a:cubicBezTo>
                      <a:pt x="10" y="11"/>
                      <a:pt x="0" y="9"/>
                      <a:pt x="0" y="12"/>
                    </a:cubicBezTo>
                    <a:cubicBezTo>
                      <a:pt x="5" y="10"/>
                      <a:pt x="4" y="16"/>
                      <a:pt x="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3" name="任意多边形: 形状 10712">
                <a:extLst>
                  <a:ext uri="{FF2B5EF4-FFF2-40B4-BE49-F238E27FC236}">
                    <a16:creationId xmlns:a16="http://schemas.microsoft.com/office/drawing/2014/main" id="{3135643C-86DC-460E-9AD9-8991A51B1C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1909"/>
                <a:ext cx="17" cy="14"/>
              </a:xfrm>
              <a:custGeom>
                <a:avLst/>
                <a:gdLst>
                  <a:gd name="T0" fmla="*/ 4 w 8"/>
                  <a:gd name="T1" fmla="*/ 0 h 7"/>
                  <a:gd name="T2" fmla="*/ 2 w 8"/>
                  <a:gd name="T3" fmla="*/ 6 h 7"/>
                  <a:gd name="T4" fmla="*/ 8 w 8"/>
                  <a:gd name="T5" fmla="*/ 4 h 7"/>
                  <a:gd name="T6" fmla="*/ 4 w 8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3" y="2"/>
                      <a:pt x="0" y="3"/>
                      <a:pt x="2" y="6"/>
                    </a:cubicBezTo>
                    <a:cubicBezTo>
                      <a:pt x="4" y="7"/>
                      <a:pt x="6" y="5"/>
                      <a:pt x="8" y="4"/>
                    </a:cubicBezTo>
                    <a:cubicBezTo>
                      <a:pt x="7" y="0"/>
                      <a:pt x="5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4" name="任意多边形: 形状 10713">
                <a:extLst>
                  <a:ext uri="{FF2B5EF4-FFF2-40B4-BE49-F238E27FC236}">
                    <a16:creationId xmlns:a16="http://schemas.microsoft.com/office/drawing/2014/main" id="{39DD97FE-17FF-48F9-86B6-80F29A70DA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1" y="1890"/>
                <a:ext cx="13" cy="21"/>
              </a:xfrm>
              <a:custGeom>
                <a:avLst/>
                <a:gdLst>
                  <a:gd name="T0" fmla="*/ 6 w 6"/>
                  <a:gd name="T1" fmla="*/ 7 h 10"/>
                  <a:gd name="T2" fmla="*/ 4 w 6"/>
                  <a:gd name="T3" fmla="*/ 10 h 10"/>
                  <a:gd name="T4" fmla="*/ 6 w 6"/>
                  <a:gd name="T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0">
                    <a:moveTo>
                      <a:pt x="6" y="7"/>
                    </a:moveTo>
                    <a:cubicBezTo>
                      <a:pt x="3" y="0"/>
                      <a:pt x="0" y="9"/>
                      <a:pt x="4" y="10"/>
                    </a:cubicBezTo>
                    <a:cubicBezTo>
                      <a:pt x="4" y="8"/>
                      <a:pt x="5" y="8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5" name="任意多边形: 形状 10714">
                <a:extLst>
                  <a:ext uri="{FF2B5EF4-FFF2-40B4-BE49-F238E27FC236}">
                    <a16:creationId xmlns:a16="http://schemas.microsoft.com/office/drawing/2014/main" id="{E5A84EFE-BF25-4502-8241-7E482CA9FB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9" y="1961"/>
                <a:ext cx="11" cy="10"/>
              </a:xfrm>
              <a:custGeom>
                <a:avLst/>
                <a:gdLst>
                  <a:gd name="T0" fmla="*/ 2 w 5"/>
                  <a:gd name="T1" fmla="*/ 5 h 5"/>
                  <a:gd name="T2" fmla="*/ 5 w 5"/>
                  <a:gd name="T3" fmla="*/ 0 h 5"/>
                  <a:gd name="T4" fmla="*/ 2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4" y="4"/>
                      <a:pt x="5" y="2"/>
                      <a:pt x="5" y="0"/>
                    </a:cubicBezTo>
                    <a:cubicBezTo>
                      <a:pt x="4" y="0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6" name="任意多边形: 形状 10715">
                <a:extLst>
                  <a:ext uri="{FF2B5EF4-FFF2-40B4-BE49-F238E27FC236}">
                    <a16:creationId xmlns:a16="http://schemas.microsoft.com/office/drawing/2014/main" id="{5416DC93-991D-45BB-8C16-7F0656ACA5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8" y="1988"/>
                <a:ext cx="27" cy="21"/>
              </a:xfrm>
              <a:custGeom>
                <a:avLst/>
                <a:gdLst>
                  <a:gd name="T0" fmla="*/ 8 w 13"/>
                  <a:gd name="T1" fmla="*/ 3 h 10"/>
                  <a:gd name="T2" fmla="*/ 3 w 13"/>
                  <a:gd name="T3" fmla="*/ 0 h 10"/>
                  <a:gd name="T4" fmla="*/ 7 w 13"/>
                  <a:gd name="T5" fmla="*/ 8 h 10"/>
                  <a:gd name="T6" fmla="*/ 11 w 13"/>
                  <a:gd name="T7" fmla="*/ 5 h 10"/>
                  <a:gd name="T8" fmla="*/ 8 w 13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0">
                    <a:moveTo>
                      <a:pt x="8" y="3"/>
                    </a:moveTo>
                    <a:cubicBezTo>
                      <a:pt x="7" y="7"/>
                      <a:pt x="3" y="4"/>
                      <a:pt x="3" y="0"/>
                    </a:cubicBezTo>
                    <a:cubicBezTo>
                      <a:pt x="0" y="0"/>
                      <a:pt x="5" y="9"/>
                      <a:pt x="7" y="8"/>
                    </a:cubicBezTo>
                    <a:cubicBezTo>
                      <a:pt x="5" y="4"/>
                      <a:pt x="13" y="10"/>
                      <a:pt x="11" y="5"/>
                    </a:cubicBezTo>
                    <a:cubicBezTo>
                      <a:pt x="10" y="6"/>
                      <a:pt x="9" y="4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7" name="任意多边形: 形状 10716">
                <a:extLst>
                  <a:ext uri="{FF2B5EF4-FFF2-40B4-BE49-F238E27FC236}">
                    <a16:creationId xmlns:a16="http://schemas.microsoft.com/office/drawing/2014/main" id="{FD7504E7-30FD-47B7-B399-CCCE9EB9EE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5" y="1907"/>
                <a:ext cx="16" cy="23"/>
              </a:xfrm>
              <a:custGeom>
                <a:avLst/>
                <a:gdLst>
                  <a:gd name="T0" fmla="*/ 6 w 8"/>
                  <a:gd name="T1" fmla="*/ 5 h 11"/>
                  <a:gd name="T2" fmla="*/ 2 w 8"/>
                  <a:gd name="T3" fmla="*/ 0 h 11"/>
                  <a:gd name="T4" fmla="*/ 1 w 8"/>
                  <a:gd name="T5" fmla="*/ 8 h 11"/>
                  <a:gd name="T6" fmla="*/ 6 w 8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6" y="5"/>
                    </a:moveTo>
                    <a:cubicBezTo>
                      <a:pt x="2" y="9"/>
                      <a:pt x="3" y="3"/>
                      <a:pt x="2" y="0"/>
                    </a:cubicBezTo>
                    <a:cubicBezTo>
                      <a:pt x="0" y="2"/>
                      <a:pt x="1" y="5"/>
                      <a:pt x="1" y="8"/>
                    </a:cubicBezTo>
                    <a:cubicBezTo>
                      <a:pt x="3" y="8"/>
                      <a:pt x="8" y="11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8" name="任意多边形: 形状 10717">
                <a:extLst>
                  <a:ext uri="{FF2B5EF4-FFF2-40B4-BE49-F238E27FC236}">
                    <a16:creationId xmlns:a16="http://schemas.microsoft.com/office/drawing/2014/main" id="{EF0CFC87-7863-4728-86AB-DDD48A6D46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0" y="1967"/>
                <a:ext cx="11" cy="15"/>
              </a:xfrm>
              <a:custGeom>
                <a:avLst/>
                <a:gdLst>
                  <a:gd name="T0" fmla="*/ 2 w 5"/>
                  <a:gd name="T1" fmla="*/ 7 h 7"/>
                  <a:gd name="T2" fmla="*/ 5 w 5"/>
                  <a:gd name="T3" fmla="*/ 6 h 7"/>
                  <a:gd name="T4" fmla="*/ 2 w 5"/>
                  <a:gd name="T5" fmla="*/ 0 h 7"/>
                  <a:gd name="T6" fmla="*/ 2 w 5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3" y="6"/>
                      <a:pt x="4" y="6"/>
                      <a:pt x="5" y="6"/>
                    </a:cubicBezTo>
                    <a:cubicBezTo>
                      <a:pt x="2" y="4"/>
                      <a:pt x="4" y="3"/>
                      <a:pt x="2" y="0"/>
                    </a:cubicBezTo>
                    <a:cubicBezTo>
                      <a:pt x="0" y="1"/>
                      <a:pt x="2" y="5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9" name="任意多边形: 形状 10718">
                <a:extLst>
                  <a:ext uri="{FF2B5EF4-FFF2-40B4-BE49-F238E27FC236}">
                    <a16:creationId xmlns:a16="http://schemas.microsoft.com/office/drawing/2014/main" id="{D0578693-832E-4D15-B0B0-7A0ACBA2D4C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0" y="1181"/>
                <a:ext cx="31" cy="20"/>
              </a:xfrm>
              <a:custGeom>
                <a:avLst/>
                <a:gdLst>
                  <a:gd name="T0" fmla="*/ 0 w 15"/>
                  <a:gd name="T1" fmla="*/ 6 h 10"/>
                  <a:gd name="T2" fmla="*/ 9 w 15"/>
                  <a:gd name="T3" fmla="*/ 7 h 10"/>
                  <a:gd name="T4" fmla="*/ 15 w 15"/>
                  <a:gd name="T5" fmla="*/ 0 h 10"/>
                  <a:gd name="T6" fmla="*/ 1 w 15"/>
                  <a:gd name="T7" fmla="*/ 3 h 10"/>
                  <a:gd name="T8" fmla="*/ 0 w 15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6"/>
                    </a:moveTo>
                    <a:cubicBezTo>
                      <a:pt x="4" y="10"/>
                      <a:pt x="5" y="2"/>
                      <a:pt x="9" y="7"/>
                    </a:cubicBezTo>
                    <a:cubicBezTo>
                      <a:pt x="9" y="4"/>
                      <a:pt x="15" y="3"/>
                      <a:pt x="15" y="0"/>
                    </a:cubicBezTo>
                    <a:cubicBezTo>
                      <a:pt x="9" y="0"/>
                      <a:pt x="7" y="6"/>
                      <a:pt x="1" y="3"/>
                    </a:cubicBezTo>
                    <a:cubicBezTo>
                      <a:pt x="1" y="5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0" name="任意多边形: 形状 10719">
                <a:extLst>
                  <a:ext uri="{FF2B5EF4-FFF2-40B4-BE49-F238E27FC236}">
                    <a16:creationId xmlns:a16="http://schemas.microsoft.com/office/drawing/2014/main" id="{F0A37BF4-9D07-42D6-A4EC-25A2BE6EE0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79" y="1961"/>
                <a:ext cx="13" cy="10"/>
              </a:xfrm>
              <a:custGeom>
                <a:avLst/>
                <a:gdLst>
                  <a:gd name="T0" fmla="*/ 2 w 6"/>
                  <a:gd name="T1" fmla="*/ 5 h 5"/>
                  <a:gd name="T2" fmla="*/ 4 w 6"/>
                  <a:gd name="T3" fmla="*/ 0 h 5"/>
                  <a:gd name="T4" fmla="*/ 2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4" y="4"/>
                      <a:pt x="6" y="3"/>
                      <a:pt x="4" y="0"/>
                    </a:cubicBezTo>
                    <a:cubicBezTo>
                      <a:pt x="3" y="1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1" name="任意多边形: 形状 10720">
                <a:extLst>
                  <a:ext uri="{FF2B5EF4-FFF2-40B4-BE49-F238E27FC236}">
                    <a16:creationId xmlns:a16="http://schemas.microsoft.com/office/drawing/2014/main" id="{F0865C28-A768-41AA-8621-B294B29761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25" y="1857"/>
                <a:ext cx="21" cy="12"/>
              </a:xfrm>
              <a:custGeom>
                <a:avLst/>
                <a:gdLst>
                  <a:gd name="T0" fmla="*/ 3 w 10"/>
                  <a:gd name="T1" fmla="*/ 5 h 6"/>
                  <a:gd name="T2" fmla="*/ 6 w 10"/>
                  <a:gd name="T3" fmla="*/ 2 h 6"/>
                  <a:gd name="T4" fmla="*/ 3 w 10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3" y="5"/>
                    </a:moveTo>
                    <a:cubicBezTo>
                      <a:pt x="6" y="4"/>
                      <a:pt x="10" y="6"/>
                      <a:pt x="6" y="2"/>
                    </a:cubicBezTo>
                    <a:cubicBezTo>
                      <a:pt x="7" y="5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2" name="任意多边形: 形状 10721">
                <a:extLst>
                  <a:ext uri="{FF2B5EF4-FFF2-40B4-BE49-F238E27FC236}">
                    <a16:creationId xmlns:a16="http://schemas.microsoft.com/office/drawing/2014/main" id="{29F7DD78-4CC2-48B4-8566-F247EAF298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3" y="1174"/>
                <a:ext cx="15" cy="11"/>
              </a:xfrm>
              <a:custGeom>
                <a:avLst/>
                <a:gdLst>
                  <a:gd name="T0" fmla="*/ 6 w 7"/>
                  <a:gd name="T1" fmla="*/ 0 h 5"/>
                  <a:gd name="T2" fmla="*/ 1 w 7"/>
                  <a:gd name="T3" fmla="*/ 4 h 5"/>
                  <a:gd name="T4" fmla="*/ 6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6" y="0"/>
                    </a:moveTo>
                    <a:cubicBezTo>
                      <a:pt x="5" y="1"/>
                      <a:pt x="0" y="0"/>
                      <a:pt x="1" y="4"/>
                    </a:cubicBezTo>
                    <a:cubicBezTo>
                      <a:pt x="3" y="4"/>
                      <a:pt x="7" y="5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3" name="任意多边形: 形状 10722">
                <a:extLst>
                  <a:ext uri="{FF2B5EF4-FFF2-40B4-BE49-F238E27FC236}">
                    <a16:creationId xmlns:a16="http://schemas.microsoft.com/office/drawing/2014/main" id="{104CEBAB-18BB-4892-B5B2-8ED2FB4C9E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2" y="1840"/>
                <a:ext cx="23" cy="17"/>
              </a:xfrm>
              <a:custGeom>
                <a:avLst/>
                <a:gdLst>
                  <a:gd name="T0" fmla="*/ 11 w 11"/>
                  <a:gd name="T1" fmla="*/ 8 h 8"/>
                  <a:gd name="T2" fmla="*/ 4 w 11"/>
                  <a:gd name="T3" fmla="*/ 0 h 8"/>
                  <a:gd name="T4" fmla="*/ 11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8"/>
                    </a:moveTo>
                    <a:cubicBezTo>
                      <a:pt x="11" y="3"/>
                      <a:pt x="5" y="6"/>
                      <a:pt x="4" y="0"/>
                    </a:cubicBezTo>
                    <a:cubicBezTo>
                      <a:pt x="0" y="3"/>
                      <a:pt x="8" y="7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4" name="任意多边形: 形状 10723">
                <a:extLst>
                  <a:ext uri="{FF2B5EF4-FFF2-40B4-BE49-F238E27FC236}">
                    <a16:creationId xmlns:a16="http://schemas.microsoft.com/office/drawing/2014/main" id="{F8D1C5E6-A489-4D56-A4D2-69B2B887ED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50" y="1166"/>
                <a:ext cx="18" cy="15"/>
              </a:xfrm>
              <a:custGeom>
                <a:avLst/>
                <a:gdLst>
                  <a:gd name="T0" fmla="*/ 6 w 9"/>
                  <a:gd name="T1" fmla="*/ 0 h 7"/>
                  <a:gd name="T2" fmla="*/ 1 w 9"/>
                  <a:gd name="T3" fmla="*/ 5 h 7"/>
                  <a:gd name="T4" fmla="*/ 6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6" y="0"/>
                    </a:moveTo>
                    <a:cubicBezTo>
                      <a:pt x="5" y="2"/>
                      <a:pt x="0" y="2"/>
                      <a:pt x="1" y="5"/>
                    </a:cubicBezTo>
                    <a:cubicBezTo>
                      <a:pt x="4" y="4"/>
                      <a:pt x="9" y="7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5" name="任意多边形: 形状 10724">
                <a:extLst>
                  <a:ext uri="{FF2B5EF4-FFF2-40B4-BE49-F238E27FC236}">
                    <a16:creationId xmlns:a16="http://schemas.microsoft.com/office/drawing/2014/main" id="{DF7475DB-6536-4EC6-BAF6-97B11D0CC83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9" y="1934"/>
                <a:ext cx="12" cy="14"/>
              </a:xfrm>
              <a:custGeom>
                <a:avLst/>
                <a:gdLst>
                  <a:gd name="T0" fmla="*/ 0 w 6"/>
                  <a:gd name="T1" fmla="*/ 3 h 7"/>
                  <a:gd name="T2" fmla="*/ 6 w 6"/>
                  <a:gd name="T3" fmla="*/ 4 h 7"/>
                  <a:gd name="T4" fmla="*/ 0 w 6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0" y="3"/>
                    </a:moveTo>
                    <a:cubicBezTo>
                      <a:pt x="2" y="7"/>
                      <a:pt x="4" y="6"/>
                      <a:pt x="6" y="4"/>
                    </a:cubicBezTo>
                    <a:cubicBezTo>
                      <a:pt x="4" y="0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6" name="任意多边形: 形状 10725">
                <a:extLst>
                  <a:ext uri="{FF2B5EF4-FFF2-40B4-BE49-F238E27FC236}">
                    <a16:creationId xmlns:a16="http://schemas.microsoft.com/office/drawing/2014/main" id="{C1CB6E79-049E-4150-BAFE-5761C3AC83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0" y="1911"/>
                <a:ext cx="11" cy="12"/>
              </a:xfrm>
              <a:custGeom>
                <a:avLst/>
                <a:gdLst>
                  <a:gd name="T0" fmla="*/ 2 w 5"/>
                  <a:gd name="T1" fmla="*/ 0 h 6"/>
                  <a:gd name="T2" fmla="*/ 2 w 5"/>
                  <a:gd name="T3" fmla="*/ 6 h 6"/>
                  <a:gd name="T4" fmla="*/ 5 w 5"/>
                  <a:gd name="T5" fmla="*/ 1 h 6"/>
                  <a:gd name="T6" fmla="*/ 2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1"/>
                      <a:pt x="0" y="3"/>
                      <a:pt x="2" y="6"/>
                    </a:cubicBezTo>
                    <a:cubicBezTo>
                      <a:pt x="3" y="4"/>
                      <a:pt x="5" y="3"/>
                      <a:pt x="5" y="1"/>
                    </a:cubicBezTo>
                    <a:cubicBezTo>
                      <a:pt x="4" y="2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7" name="任意多边形: 形状 10726">
                <a:extLst>
                  <a:ext uri="{FF2B5EF4-FFF2-40B4-BE49-F238E27FC236}">
                    <a16:creationId xmlns:a16="http://schemas.microsoft.com/office/drawing/2014/main" id="{204299A1-AFDA-4595-8FBE-BD82C362C8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27" y="1903"/>
                <a:ext cx="23" cy="20"/>
              </a:xfrm>
              <a:custGeom>
                <a:avLst/>
                <a:gdLst>
                  <a:gd name="T0" fmla="*/ 0 w 11"/>
                  <a:gd name="T1" fmla="*/ 0 h 10"/>
                  <a:gd name="T2" fmla="*/ 4 w 11"/>
                  <a:gd name="T3" fmla="*/ 8 h 10"/>
                  <a:gd name="T4" fmla="*/ 9 w 11"/>
                  <a:gd name="T5" fmla="*/ 3 h 10"/>
                  <a:gd name="T6" fmla="*/ 0 w 11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0" y="0"/>
                    </a:moveTo>
                    <a:cubicBezTo>
                      <a:pt x="0" y="3"/>
                      <a:pt x="5" y="4"/>
                      <a:pt x="4" y="8"/>
                    </a:cubicBezTo>
                    <a:cubicBezTo>
                      <a:pt x="5" y="3"/>
                      <a:pt x="11" y="10"/>
                      <a:pt x="9" y="3"/>
                    </a:cubicBezTo>
                    <a:cubicBezTo>
                      <a:pt x="5" y="4"/>
                      <a:pt x="4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8" name="任意多边形: 形状 10727">
                <a:extLst>
                  <a:ext uri="{FF2B5EF4-FFF2-40B4-BE49-F238E27FC236}">
                    <a16:creationId xmlns:a16="http://schemas.microsoft.com/office/drawing/2014/main" id="{57B71483-B792-42EF-9393-A9E9F62638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78" y="1041"/>
                <a:ext cx="39" cy="30"/>
              </a:xfrm>
              <a:custGeom>
                <a:avLst/>
                <a:gdLst>
                  <a:gd name="T0" fmla="*/ 4 w 19"/>
                  <a:gd name="T1" fmla="*/ 14 h 14"/>
                  <a:gd name="T2" fmla="*/ 14 w 19"/>
                  <a:gd name="T3" fmla="*/ 0 h 14"/>
                  <a:gd name="T4" fmla="*/ 0 w 19"/>
                  <a:gd name="T5" fmla="*/ 12 h 14"/>
                  <a:gd name="T6" fmla="*/ 4 w 19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4">
                    <a:moveTo>
                      <a:pt x="4" y="14"/>
                    </a:moveTo>
                    <a:cubicBezTo>
                      <a:pt x="8" y="10"/>
                      <a:pt x="19" y="8"/>
                      <a:pt x="14" y="0"/>
                    </a:cubicBezTo>
                    <a:cubicBezTo>
                      <a:pt x="14" y="9"/>
                      <a:pt x="2" y="7"/>
                      <a:pt x="0" y="12"/>
                    </a:cubicBezTo>
                    <a:cubicBezTo>
                      <a:pt x="1" y="12"/>
                      <a:pt x="3" y="12"/>
                      <a:pt x="4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9" name="任意多边形: 形状 10728">
                <a:extLst>
                  <a:ext uri="{FF2B5EF4-FFF2-40B4-BE49-F238E27FC236}">
                    <a16:creationId xmlns:a16="http://schemas.microsoft.com/office/drawing/2014/main" id="{E39B78DC-88A6-43DF-AB8B-5475DDAABF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7" y="1037"/>
                <a:ext cx="9" cy="13"/>
              </a:xfrm>
              <a:custGeom>
                <a:avLst/>
                <a:gdLst>
                  <a:gd name="T0" fmla="*/ 3 w 4"/>
                  <a:gd name="T1" fmla="*/ 1 h 6"/>
                  <a:gd name="T2" fmla="*/ 0 w 4"/>
                  <a:gd name="T3" fmla="*/ 5 h 6"/>
                  <a:gd name="T4" fmla="*/ 3 w 4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3" y="1"/>
                    </a:moveTo>
                    <a:cubicBezTo>
                      <a:pt x="2" y="0"/>
                      <a:pt x="0" y="3"/>
                      <a:pt x="0" y="5"/>
                    </a:cubicBezTo>
                    <a:cubicBezTo>
                      <a:pt x="2" y="6"/>
                      <a:pt x="4" y="4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0" name="任意多边形: 形状 10729">
                <a:extLst>
                  <a:ext uri="{FF2B5EF4-FFF2-40B4-BE49-F238E27FC236}">
                    <a16:creationId xmlns:a16="http://schemas.microsoft.com/office/drawing/2014/main" id="{933FCB43-DCA1-43CF-9377-08F7F6269F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0" y="1008"/>
                <a:ext cx="25" cy="17"/>
              </a:xfrm>
              <a:custGeom>
                <a:avLst/>
                <a:gdLst>
                  <a:gd name="T0" fmla="*/ 12 w 12"/>
                  <a:gd name="T1" fmla="*/ 3 h 8"/>
                  <a:gd name="T2" fmla="*/ 1 w 12"/>
                  <a:gd name="T3" fmla="*/ 8 h 8"/>
                  <a:gd name="T4" fmla="*/ 12 w 12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8">
                    <a:moveTo>
                      <a:pt x="12" y="3"/>
                    </a:moveTo>
                    <a:cubicBezTo>
                      <a:pt x="9" y="0"/>
                      <a:pt x="0" y="3"/>
                      <a:pt x="1" y="8"/>
                    </a:cubicBezTo>
                    <a:cubicBezTo>
                      <a:pt x="3" y="5"/>
                      <a:pt x="8" y="4"/>
                      <a:pt x="1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1" name="任意多边形: 形状 10730">
                <a:extLst>
                  <a:ext uri="{FF2B5EF4-FFF2-40B4-BE49-F238E27FC236}">
                    <a16:creationId xmlns:a16="http://schemas.microsoft.com/office/drawing/2014/main" id="{8DCE63EF-AA08-42BB-8118-46314C5579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98" y="936"/>
                <a:ext cx="15" cy="22"/>
              </a:xfrm>
              <a:custGeom>
                <a:avLst/>
                <a:gdLst>
                  <a:gd name="T0" fmla="*/ 7 w 7"/>
                  <a:gd name="T1" fmla="*/ 8 h 11"/>
                  <a:gd name="T2" fmla="*/ 2 w 7"/>
                  <a:gd name="T3" fmla="*/ 1 h 11"/>
                  <a:gd name="T4" fmla="*/ 4 w 7"/>
                  <a:gd name="T5" fmla="*/ 4 h 11"/>
                  <a:gd name="T6" fmla="*/ 1 w 7"/>
                  <a:gd name="T7" fmla="*/ 9 h 11"/>
                  <a:gd name="T8" fmla="*/ 7 w 7"/>
                  <a:gd name="T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7" y="8"/>
                    </a:moveTo>
                    <a:cubicBezTo>
                      <a:pt x="6" y="6"/>
                      <a:pt x="4" y="0"/>
                      <a:pt x="2" y="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7"/>
                      <a:pt x="0" y="4"/>
                      <a:pt x="1" y="9"/>
                    </a:cubicBezTo>
                    <a:cubicBezTo>
                      <a:pt x="3" y="11"/>
                      <a:pt x="5" y="10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2" name="任意多边形: 形状 10731">
                <a:extLst>
                  <a:ext uri="{FF2B5EF4-FFF2-40B4-BE49-F238E27FC236}">
                    <a16:creationId xmlns:a16="http://schemas.microsoft.com/office/drawing/2014/main" id="{599E94BD-AE62-49AC-9217-18D56FAD2F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11" y="921"/>
                <a:ext cx="41" cy="27"/>
              </a:xfrm>
              <a:custGeom>
                <a:avLst/>
                <a:gdLst>
                  <a:gd name="T0" fmla="*/ 20 w 20"/>
                  <a:gd name="T1" fmla="*/ 0 h 13"/>
                  <a:gd name="T2" fmla="*/ 0 w 20"/>
                  <a:gd name="T3" fmla="*/ 10 h 13"/>
                  <a:gd name="T4" fmla="*/ 1 w 20"/>
                  <a:gd name="T5" fmla="*/ 13 h 13"/>
                  <a:gd name="T6" fmla="*/ 20 w 20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3">
                    <a:moveTo>
                      <a:pt x="20" y="0"/>
                    </a:moveTo>
                    <a:cubicBezTo>
                      <a:pt x="12" y="2"/>
                      <a:pt x="8" y="6"/>
                      <a:pt x="0" y="10"/>
                    </a:cubicBezTo>
                    <a:cubicBezTo>
                      <a:pt x="1" y="11"/>
                      <a:pt x="0" y="12"/>
                      <a:pt x="1" y="13"/>
                    </a:cubicBezTo>
                    <a:cubicBezTo>
                      <a:pt x="9" y="6"/>
                      <a:pt x="17" y="5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3" name="任意多边形: 形状 10732">
                <a:extLst>
                  <a:ext uri="{FF2B5EF4-FFF2-40B4-BE49-F238E27FC236}">
                    <a16:creationId xmlns:a16="http://schemas.microsoft.com/office/drawing/2014/main" id="{C959B1C0-9B15-4BE1-8556-22D7163871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48" y="838"/>
                <a:ext cx="145" cy="85"/>
              </a:xfrm>
              <a:custGeom>
                <a:avLst/>
                <a:gdLst>
                  <a:gd name="T0" fmla="*/ 5 w 70"/>
                  <a:gd name="T1" fmla="*/ 41 h 41"/>
                  <a:gd name="T2" fmla="*/ 26 w 70"/>
                  <a:gd name="T3" fmla="*/ 34 h 41"/>
                  <a:gd name="T4" fmla="*/ 25 w 70"/>
                  <a:gd name="T5" fmla="*/ 39 h 41"/>
                  <a:gd name="T6" fmla="*/ 31 w 70"/>
                  <a:gd name="T7" fmla="*/ 32 h 41"/>
                  <a:gd name="T8" fmla="*/ 66 w 70"/>
                  <a:gd name="T9" fmla="*/ 9 h 41"/>
                  <a:gd name="T10" fmla="*/ 68 w 70"/>
                  <a:gd name="T11" fmla="*/ 0 h 41"/>
                  <a:gd name="T12" fmla="*/ 53 w 70"/>
                  <a:gd name="T13" fmla="*/ 7 h 41"/>
                  <a:gd name="T14" fmla="*/ 57 w 70"/>
                  <a:gd name="T15" fmla="*/ 8 h 41"/>
                  <a:gd name="T16" fmla="*/ 32 w 70"/>
                  <a:gd name="T17" fmla="*/ 25 h 41"/>
                  <a:gd name="T18" fmla="*/ 26 w 70"/>
                  <a:gd name="T19" fmla="*/ 25 h 41"/>
                  <a:gd name="T20" fmla="*/ 13 w 70"/>
                  <a:gd name="T21" fmla="*/ 36 h 41"/>
                  <a:gd name="T22" fmla="*/ 5 w 70"/>
                  <a:gd name="T2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0" h="41">
                    <a:moveTo>
                      <a:pt x="5" y="41"/>
                    </a:moveTo>
                    <a:cubicBezTo>
                      <a:pt x="12" y="41"/>
                      <a:pt x="16" y="29"/>
                      <a:pt x="26" y="34"/>
                    </a:cubicBezTo>
                    <a:cubicBezTo>
                      <a:pt x="25" y="36"/>
                      <a:pt x="24" y="37"/>
                      <a:pt x="25" y="39"/>
                    </a:cubicBezTo>
                    <a:cubicBezTo>
                      <a:pt x="26" y="38"/>
                      <a:pt x="30" y="27"/>
                      <a:pt x="31" y="32"/>
                    </a:cubicBezTo>
                    <a:cubicBezTo>
                      <a:pt x="39" y="20"/>
                      <a:pt x="56" y="15"/>
                      <a:pt x="66" y="9"/>
                    </a:cubicBezTo>
                    <a:cubicBezTo>
                      <a:pt x="65" y="1"/>
                      <a:pt x="70" y="9"/>
                      <a:pt x="68" y="0"/>
                    </a:cubicBezTo>
                    <a:cubicBezTo>
                      <a:pt x="63" y="2"/>
                      <a:pt x="57" y="5"/>
                      <a:pt x="53" y="7"/>
                    </a:cubicBezTo>
                    <a:cubicBezTo>
                      <a:pt x="55" y="7"/>
                      <a:pt x="56" y="7"/>
                      <a:pt x="57" y="8"/>
                    </a:cubicBezTo>
                    <a:cubicBezTo>
                      <a:pt x="49" y="13"/>
                      <a:pt x="38" y="15"/>
                      <a:pt x="32" y="25"/>
                    </a:cubicBezTo>
                    <a:cubicBezTo>
                      <a:pt x="29" y="24"/>
                      <a:pt x="28" y="28"/>
                      <a:pt x="26" y="25"/>
                    </a:cubicBezTo>
                    <a:cubicBezTo>
                      <a:pt x="22" y="30"/>
                      <a:pt x="15" y="29"/>
                      <a:pt x="13" y="36"/>
                    </a:cubicBezTo>
                    <a:cubicBezTo>
                      <a:pt x="11" y="33"/>
                      <a:pt x="0" y="39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4" name="任意多边形: 形状 10733">
                <a:extLst>
                  <a:ext uri="{FF2B5EF4-FFF2-40B4-BE49-F238E27FC236}">
                    <a16:creationId xmlns:a16="http://schemas.microsoft.com/office/drawing/2014/main" id="{66651444-9291-4EC9-9D32-9EAF02770E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85" y="761"/>
                <a:ext cx="8" cy="13"/>
              </a:xfrm>
              <a:custGeom>
                <a:avLst/>
                <a:gdLst>
                  <a:gd name="T0" fmla="*/ 3 w 4"/>
                  <a:gd name="T1" fmla="*/ 0 h 6"/>
                  <a:gd name="T2" fmla="*/ 0 w 4"/>
                  <a:gd name="T3" fmla="*/ 2 h 6"/>
                  <a:gd name="T4" fmla="*/ 3 w 4"/>
                  <a:gd name="T5" fmla="*/ 6 h 6"/>
                  <a:gd name="T6" fmla="*/ 3 w 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5"/>
                      <a:pt x="4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5" name="任意多边形: 形状 10734">
                <a:extLst>
                  <a:ext uri="{FF2B5EF4-FFF2-40B4-BE49-F238E27FC236}">
                    <a16:creationId xmlns:a16="http://schemas.microsoft.com/office/drawing/2014/main" id="{8CCBDDCD-6E0F-4B23-A05B-C25A29D155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2" y="2062"/>
                <a:ext cx="13" cy="13"/>
              </a:xfrm>
              <a:custGeom>
                <a:avLst/>
                <a:gdLst>
                  <a:gd name="T0" fmla="*/ 2 w 6"/>
                  <a:gd name="T1" fmla="*/ 0 h 6"/>
                  <a:gd name="T2" fmla="*/ 0 w 6"/>
                  <a:gd name="T3" fmla="*/ 1 h 6"/>
                  <a:gd name="T4" fmla="*/ 5 w 6"/>
                  <a:gd name="T5" fmla="*/ 2 h 6"/>
                  <a:gd name="T6" fmla="*/ 2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5"/>
                      <a:pt x="6" y="6"/>
                      <a:pt x="5" y="2"/>
                    </a:cubicBezTo>
                    <a:cubicBezTo>
                      <a:pt x="4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6" name="任意多边形: 形状 10735">
                <a:extLst>
                  <a:ext uri="{FF2B5EF4-FFF2-40B4-BE49-F238E27FC236}">
                    <a16:creationId xmlns:a16="http://schemas.microsoft.com/office/drawing/2014/main" id="{36509172-6131-45B0-A1E7-76568ECA51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33" y="595"/>
                <a:ext cx="21" cy="19"/>
              </a:xfrm>
              <a:custGeom>
                <a:avLst/>
                <a:gdLst>
                  <a:gd name="T0" fmla="*/ 5 w 10"/>
                  <a:gd name="T1" fmla="*/ 9 h 9"/>
                  <a:gd name="T2" fmla="*/ 8 w 10"/>
                  <a:gd name="T3" fmla="*/ 5 h 9"/>
                  <a:gd name="T4" fmla="*/ 8 w 10"/>
                  <a:gd name="T5" fmla="*/ 7 h 9"/>
                  <a:gd name="T6" fmla="*/ 8 w 10"/>
                  <a:gd name="T7" fmla="*/ 2 h 9"/>
                  <a:gd name="T8" fmla="*/ 5 w 10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3" y="6"/>
                      <a:pt x="8" y="5"/>
                      <a:pt x="8" y="5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10" y="6"/>
                      <a:pt x="10" y="4"/>
                      <a:pt x="8" y="2"/>
                    </a:cubicBezTo>
                    <a:cubicBezTo>
                      <a:pt x="5" y="0"/>
                      <a:pt x="0" y="7"/>
                      <a:pt x="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7" name="任意多边形: 形状 10736">
                <a:extLst>
                  <a:ext uri="{FF2B5EF4-FFF2-40B4-BE49-F238E27FC236}">
                    <a16:creationId xmlns:a16="http://schemas.microsoft.com/office/drawing/2014/main" id="{3F451B1C-F9FF-44FF-9945-FB4265296B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0" y="759"/>
                <a:ext cx="15" cy="17"/>
              </a:xfrm>
              <a:custGeom>
                <a:avLst/>
                <a:gdLst>
                  <a:gd name="T0" fmla="*/ 1 w 7"/>
                  <a:gd name="T1" fmla="*/ 3 h 8"/>
                  <a:gd name="T2" fmla="*/ 1 w 7"/>
                  <a:gd name="T3" fmla="*/ 7 h 8"/>
                  <a:gd name="T4" fmla="*/ 6 w 7"/>
                  <a:gd name="T5" fmla="*/ 4 h 8"/>
                  <a:gd name="T6" fmla="*/ 1 w 7"/>
                  <a:gd name="T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1" y="3"/>
                    </a:moveTo>
                    <a:cubicBezTo>
                      <a:pt x="0" y="4"/>
                      <a:pt x="1" y="6"/>
                      <a:pt x="1" y="7"/>
                    </a:cubicBezTo>
                    <a:cubicBezTo>
                      <a:pt x="3" y="8"/>
                      <a:pt x="7" y="8"/>
                      <a:pt x="6" y="4"/>
                    </a:cubicBezTo>
                    <a:cubicBezTo>
                      <a:pt x="4" y="6"/>
                      <a:pt x="2" y="0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8" name="任意多边形: 形状 10737">
                <a:extLst>
                  <a:ext uri="{FF2B5EF4-FFF2-40B4-BE49-F238E27FC236}">
                    <a16:creationId xmlns:a16="http://schemas.microsoft.com/office/drawing/2014/main" id="{D0BA815F-618D-429B-8A8F-75ED09ED58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95" y="662"/>
                <a:ext cx="19" cy="16"/>
              </a:xfrm>
              <a:custGeom>
                <a:avLst/>
                <a:gdLst>
                  <a:gd name="T0" fmla="*/ 4 w 9"/>
                  <a:gd name="T1" fmla="*/ 6 h 8"/>
                  <a:gd name="T2" fmla="*/ 4 w 9"/>
                  <a:gd name="T3" fmla="*/ 8 h 8"/>
                  <a:gd name="T4" fmla="*/ 6 w 9"/>
                  <a:gd name="T5" fmla="*/ 6 h 8"/>
                  <a:gd name="T6" fmla="*/ 6 w 9"/>
                  <a:gd name="T7" fmla="*/ 0 h 8"/>
                  <a:gd name="T8" fmla="*/ 4 w 9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4" y="6"/>
                    </a:moveTo>
                    <a:cubicBezTo>
                      <a:pt x="3" y="6"/>
                      <a:pt x="3" y="7"/>
                      <a:pt x="4" y="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" y="3"/>
                      <a:pt x="9" y="1"/>
                      <a:pt x="6" y="0"/>
                    </a:cubicBezTo>
                    <a:cubicBezTo>
                      <a:pt x="0" y="1"/>
                      <a:pt x="3" y="3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9" name="任意多边形: 形状 10738">
                <a:extLst>
                  <a:ext uri="{FF2B5EF4-FFF2-40B4-BE49-F238E27FC236}">
                    <a16:creationId xmlns:a16="http://schemas.microsoft.com/office/drawing/2014/main" id="{1936B5A1-5460-475B-9956-64D370BBF6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08" y="678"/>
                <a:ext cx="10" cy="15"/>
              </a:xfrm>
              <a:custGeom>
                <a:avLst/>
                <a:gdLst>
                  <a:gd name="T0" fmla="*/ 5 w 5"/>
                  <a:gd name="T1" fmla="*/ 5 h 7"/>
                  <a:gd name="T2" fmla="*/ 3 w 5"/>
                  <a:gd name="T3" fmla="*/ 0 h 7"/>
                  <a:gd name="T4" fmla="*/ 5 w 5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5" y="5"/>
                    </a:moveTo>
                    <a:cubicBezTo>
                      <a:pt x="3" y="3"/>
                      <a:pt x="3" y="1"/>
                      <a:pt x="3" y="0"/>
                    </a:cubicBezTo>
                    <a:cubicBezTo>
                      <a:pt x="0" y="1"/>
                      <a:pt x="1" y="7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0" name="任意多边形: 形状 10739">
                <a:extLst>
                  <a:ext uri="{FF2B5EF4-FFF2-40B4-BE49-F238E27FC236}">
                    <a16:creationId xmlns:a16="http://schemas.microsoft.com/office/drawing/2014/main" id="{8D55983A-A8C3-405D-9B5E-7D8E1F091E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52" y="550"/>
                <a:ext cx="12" cy="10"/>
              </a:xfrm>
              <a:custGeom>
                <a:avLst/>
                <a:gdLst>
                  <a:gd name="T0" fmla="*/ 5 w 6"/>
                  <a:gd name="T1" fmla="*/ 1 h 5"/>
                  <a:gd name="T2" fmla="*/ 2 w 6"/>
                  <a:gd name="T3" fmla="*/ 4 h 5"/>
                  <a:gd name="T4" fmla="*/ 5 w 6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5" y="1"/>
                    </a:moveTo>
                    <a:cubicBezTo>
                      <a:pt x="3" y="2"/>
                      <a:pt x="0" y="0"/>
                      <a:pt x="2" y="4"/>
                    </a:cubicBezTo>
                    <a:cubicBezTo>
                      <a:pt x="4" y="5"/>
                      <a:pt x="6" y="4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1" name="任意多边形: 形状 10740">
                <a:extLst>
                  <a:ext uri="{FF2B5EF4-FFF2-40B4-BE49-F238E27FC236}">
                    <a16:creationId xmlns:a16="http://schemas.microsoft.com/office/drawing/2014/main" id="{038A4D04-CDE3-4B5F-8ACD-D7CB4F33DB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0" y="550"/>
                <a:ext cx="17" cy="16"/>
              </a:xfrm>
              <a:custGeom>
                <a:avLst/>
                <a:gdLst>
                  <a:gd name="T0" fmla="*/ 3 w 8"/>
                  <a:gd name="T1" fmla="*/ 6 h 8"/>
                  <a:gd name="T2" fmla="*/ 8 w 8"/>
                  <a:gd name="T3" fmla="*/ 6 h 8"/>
                  <a:gd name="T4" fmla="*/ 1 w 8"/>
                  <a:gd name="T5" fmla="*/ 0 h 8"/>
                  <a:gd name="T6" fmla="*/ 3 w 8"/>
                  <a:gd name="T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4" y="2"/>
                      <a:pt x="6" y="8"/>
                      <a:pt x="8" y="6"/>
                    </a:cubicBezTo>
                    <a:cubicBezTo>
                      <a:pt x="8" y="3"/>
                      <a:pt x="4" y="1"/>
                      <a:pt x="1" y="0"/>
                    </a:cubicBezTo>
                    <a:cubicBezTo>
                      <a:pt x="3" y="3"/>
                      <a:pt x="0" y="3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2" name="任意多边形: 形状 10741">
                <a:extLst>
                  <a:ext uri="{FF2B5EF4-FFF2-40B4-BE49-F238E27FC236}">
                    <a16:creationId xmlns:a16="http://schemas.microsoft.com/office/drawing/2014/main" id="{E5717180-881D-4ED5-A43C-0C098A470D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699"/>
                <a:ext cx="17" cy="15"/>
              </a:xfrm>
              <a:custGeom>
                <a:avLst/>
                <a:gdLst>
                  <a:gd name="T0" fmla="*/ 2 w 8"/>
                  <a:gd name="T1" fmla="*/ 7 h 7"/>
                  <a:gd name="T2" fmla="*/ 4 w 8"/>
                  <a:gd name="T3" fmla="*/ 0 h 7"/>
                  <a:gd name="T4" fmla="*/ 2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2" y="7"/>
                    </a:moveTo>
                    <a:cubicBezTo>
                      <a:pt x="5" y="6"/>
                      <a:pt x="8" y="1"/>
                      <a:pt x="4" y="0"/>
                    </a:cubicBezTo>
                    <a:cubicBezTo>
                      <a:pt x="6" y="5"/>
                      <a:pt x="0" y="1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3" name="任意多边形: 形状 10742">
                <a:extLst>
                  <a:ext uri="{FF2B5EF4-FFF2-40B4-BE49-F238E27FC236}">
                    <a16:creationId xmlns:a16="http://schemas.microsoft.com/office/drawing/2014/main" id="{1F300BB1-FD67-4520-8470-CAA8F3C85D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16" y="622"/>
                <a:ext cx="21" cy="19"/>
              </a:xfrm>
              <a:custGeom>
                <a:avLst/>
                <a:gdLst>
                  <a:gd name="T0" fmla="*/ 10 w 10"/>
                  <a:gd name="T1" fmla="*/ 3 h 9"/>
                  <a:gd name="T2" fmla="*/ 1 w 10"/>
                  <a:gd name="T3" fmla="*/ 9 h 9"/>
                  <a:gd name="T4" fmla="*/ 10 w 10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9">
                    <a:moveTo>
                      <a:pt x="10" y="3"/>
                    </a:moveTo>
                    <a:cubicBezTo>
                      <a:pt x="6" y="0"/>
                      <a:pt x="0" y="6"/>
                      <a:pt x="1" y="9"/>
                    </a:cubicBezTo>
                    <a:cubicBezTo>
                      <a:pt x="5" y="6"/>
                      <a:pt x="5" y="4"/>
                      <a:pt x="1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4" name="任意多边形: 形状 10743">
                <a:extLst>
                  <a:ext uri="{FF2B5EF4-FFF2-40B4-BE49-F238E27FC236}">
                    <a16:creationId xmlns:a16="http://schemas.microsoft.com/office/drawing/2014/main" id="{AE1EDBCC-E0EB-4C6B-9153-CF1152B756E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39" y="635"/>
                <a:ext cx="16" cy="12"/>
              </a:xfrm>
              <a:custGeom>
                <a:avLst/>
                <a:gdLst>
                  <a:gd name="T0" fmla="*/ 8 w 8"/>
                  <a:gd name="T1" fmla="*/ 3 h 6"/>
                  <a:gd name="T2" fmla="*/ 2 w 8"/>
                  <a:gd name="T3" fmla="*/ 6 h 6"/>
                  <a:gd name="T4" fmla="*/ 8 w 8"/>
                  <a:gd name="T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8" y="3"/>
                    </a:moveTo>
                    <a:cubicBezTo>
                      <a:pt x="6" y="0"/>
                      <a:pt x="0" y="2"/>
                      <a:pt x="2" y="6"/>
                    </a:cubicBezTo>
                    <a:cubicBezTo>
                      <a:pt x="4" y="4"/>
                      <a:pt x="6" y="4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5" name="任意多边形: 形状 10744">
                <a:extLst>
                  <a:ext uri="{FF2B5EF4-FFF2-40B4-BE49-F238E27FC236}">
                    <a16:creationId xmlns:a16="http://schemas.microsoft.com/office/drawing/2014/main" id="{47E41961-6616-4134-8F28-6B5ACD48B6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0" y="792"/>
                <a:ext cx="14" cy="17"/>
              </a:xfrm>
              <a:custGeom>
                <a:avLst/>
                <a:gdLst>
                  <a:gd name="T0" fmla="*/ 1 w 7"/>
                  <a:gd name="T1" fmla="*/ 8 h 8"/>
                  <a:gd name="T2" fmla="*/ 7 w 7"/>
                  <a:gd name="T3" fmla="*/ 0 h 8"/>
                  <a:gd name="T4" fmla="*/ 2 w 7"/>
                  <a:gd name="T5" fmla="*/ 0 h 8"/>
                  <a:gd name="T6" fmla="*/ 1 w 7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1" y="8"/>
                    </a:moveTo>
                    <a:cubicBezTo>
                      <a:pt x="4" y="5"/>
                      <a:pt x="5" y="5"/>
                      <a:pt x="7" y="0"/>
                    </a:cubicBezTo>
                    <a:cubicBezTo>
                      <a:pt x="5" y="0"/>
                      <a:pt x="3" y="1"/>
                      <a:pt x="2" y="0"/>
                    </a:cubicBezTo>
                    <a:cubicBezTo>
                      <a:pt x="5" y="4"/>
                      <a:pt x="0" y="5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6" name="任意多边形: 形状 10745">
                <a:extLst>
                  <a:ext uri="{FF2B5EF4-FFF2-40B4-BE49-F238E27FC236}">
                    <a16:creationId xmlns:a16="http://schemas.microsoft.com/office/drawing/2014/main" id="{FD0D8420-AB4E-4500-A95C-CAFF0A2FD3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66" y="425"/>
                <a:ext cx="15" cy="15"/>
              </a:xfrm>
              <a:custGeom>
                <a:avLst/>
                <a:gdLst>
                  <a:gd name="T0" fmla="*/ 4 w 7"/>
                  <a:gd name="T1" fmla="*/ 2 h 7"/>
                  <a:gd name="T2" fmla="*/ 1 w 7"/>
                  <a:gd name="T3" fmla="*/ 7 h 7"/>
                  <a:gd name="T4" fmla="*/ 4 w 7"/>
                  <a:gd name="T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2"/>
                    </a:moveTo>
                    <a:cubicBezTo>
                      <a:pt x="2" y="0"/>
                      <a:pt x="0" y="5"/>
                      <a:pt x="1" y="7"/>
                    </a:cubicBezTo>
                    <a:cubicBezTo>
                      <a:pt x="2" y="4"/>
                      <a:pt x="7" y="5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7" name="任意多边形: 形状 10746">
                <a:extLst>
                  <a:ext uri="{FF2B5EF4-FFF2-40B4-BE49-F238E27FC236}">
                    <a16:creationId xmlns:a16="http://schemas.microsoft.com/office/drawing/2014/main" id="{D027344C-D5B5-4244-86BB-08993A11B1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22" y="664"/>
                <a:ext cx="33" cy="27"/>
              </a:xfrm>
              <a:custGeom>
                <a:avLst/>
                <a:gdLst>
                  <a:gd name="T0" fmla="*/ 16 w 16"/>
                  <a:gd name="T1" fmla="*/ 7 h 13"/>
                  <a:gd name="T2" fmla="*/ 11 w 16"/>
                  <a:gd name="T3" fmla="*/ 0 h 13"/>
                  <a:gd name="T4" fmla="*/ 3 w 16"/>
                  <a:gd name="T5" fmla="*/ 13 h 13"/>
                  <a:gd name="T6" fmla="*/ 16 w 16"/>
                  <a:gd name="T7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3">
                    <a:moveTo>
                      <a:pt x="16" y="7"/>
                    </a:moveTo>
                    <a:cubicBezTo>
                      <a:pt x="14" y="4"/>
                      <a:pt x="12" y="1"/>
                      <a:pt x="11" y="0"/>
                    </a:cubicBezTo>
                    <a:cubicBezTo>
                      <a:pt x="11" y="6"/>
                      <a:pt x="0" y="5"/>
                      <a:pt x="3" y="13"/>
                    </a:cubicBezTo>
                    <a:cubicBezTo>
                      <a:pt x="6" y="9"/>
                      <a:pt x="12" y="10"/>
                      <a:pt x="1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8" name="任意多边形: 形状 10747">
                <a:extLst>
                  <a:ext uri="{FF2B5EF4-FFF2-40B4-BE49-F238E27FC236}">
                    <a16:creationId xmlns:a16="http://schemas.microsoft.com/office/drawing/2014/main" id="{5934D20D-F081-4224-A0A7-C72FAC378D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94" y="1295"/>
                <a:ext cx="12" cy="12"/>
              </a:xfrm>
              <a:custGeom>
                <a:avLst/>
                <a:gdLst>
                  <a:gd name="T0" fmla="*/ 3 w 6"/>
                  <a:gd name="T1" fmla="*/ 6 h 6"/>
                  <a:gd name="T2" fmla="*/ 3 w 6"/>
                  <a:gd name="T3" fmla="*/ 0 h 6"/>
                  <a:gd name="T4" fmla="*/ 1 w 6"/>
                  <a:gd name="T5" fmla="*/ 5 h 6"/>
                  <a:gd name="T6" fmla="*/ 3 w 6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cubicBezTo>
                      <a:pt x="6" y="5"/>
                      <a:pt x="5" y="3"/>
                      <a:pt x="3" y="0"/>
                    </a:cubicBezTo>
                    <a:cubicBezTo>
                      <a:pt x="2" y="2"/>
                      <a:pt x="0" y="3"/>
                      <a:pt x="1" y="5"/>
                    </a:cubicBezTo>
                    <a:cubicBezTo>
                      <a:pt x="2" y="4"/>
                      <a:pt x="3" y="4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49" name="任意多边形: 形状 10748">
                <a:extLst>
                  <a:ext uri="{FF2B5EF4-FFF2-40B4-BE49-F238E27FC236}">
                    <a16:creationId xmlns:a16="http://schemas.microsoft.com/office/drawing/2014/main" id="{5EF86DF7-1906-4A92-9F02-8FD0FA4CC4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0" y="865"/>
                <a:ext cx="21" cy="15"/>
              </a:xfrm>
              <a:custGeom>
                <a:avLst/>
                <a:gdLst>
                  <a:gd name="T0" fmla="*/ 4 w 10"/>
                  <a:gd name="T1" fmla="*/ 2 h 7"/>
                  <a:gd name="T2" fmla="*/ 7 w 10"/>
                  <a:gd name="T3" fmla="*/ 6 h 7"/>
                  <a:gd name="T4" fmla="*/ 5 w 10"/>
                  <a:gd name="T5" fmla="*/ 0 h 7"/>
                  <a:gd name="T6" fmla="*/ 1 w 10"/>
                  <a:gd name="T7" fmla="*/ 7 h 7"/>
                  <a:gd name="T8" fmla="*/ 4 w 10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4" y="2"/>
                    </a:moveTo>
                    <a:cubicBezTo>
                      <a:pt x="7" y="3"/>
                      <a:pt x="5" y="3"/>
                      <a:pt x="7" y="6"/>
                    </a:cubicBezTo>
                    <a:cubicBezTo>
                      <a:pt x="10" y="6"/>
                      <a:pt x="6" y="2"/>
                      <a:pt x="5" y="0"/>
                    </a:cubicBezTo>
                    <a:cubicBezTo>
                      <a:pt x="2" y="0"/>
                      <a:pt x="0" y="3"/>
                      <a:pt x="1" y="7"/>
                    </a:cubicBezTo>
                    <a:cubicBezTo>
                      <a:pt x="4" y="6"/>
                      <a:pt x="4" y="4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0" name="任意多边形: 形状 10749">
                <a:extLst>
                  <a:ext uri="{FF2B5EF4-FFF2-40B4-BE49-F238E27FC236}">
                    <a16:creationId xmlns:a16="http://schemas.microsoft.com/office/drawing/2014/main" id="{F718861D-3FBB-4B86-AD21-AED0564B4D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94" y="774"/>
                <a:ext cx="17" cy="23"/>
              </a:xfrm>
              <a:custGeom>
                <a:avLst/>
                <a:gdLst>
                  <a:gd name="T0" fmla="*/ 2 w 8"/>
                  <a:gd name="T1" fmla="*/ 8 h 11"/>
                  <a:gd name="T2" fmla="*/ 6 w 8"/>
                  <a:gd name="T3" fmla="*/ 10 h 11"/>
                  <a:gd name="T4" fmla="*/ 6 w 8"/>
                  <a:gd name="T5" fmla="*/ 5 h 11"/>
                  <a:gd name="T6" fmla="*/ 2 w 8"/>
                  <a:gd name="T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2" y="8"/>
                    </a:moveTo>
                    <a:cubicBezTo>
                      <a:pt x="3" y="11"/>
                      <a:pt x="4" y="9"/>
                      <a:pt x="6" y="10"/>
                    </a:cubicBezTo>
                    <a:cubicBezTo>
                      <a:pt x="2" y="6"/>
                      <a:pt x="8" y="7"/>
                      <a:pt x="6" y="5"/>
                    </a:cubicBezTo>
                    <a:cubicBezTo>
                      <a:pt x="0" y="0"/>
                      <a:pt x="7" y="6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1" name="任意多边形: 形状 10750">
                <a:extLst>
                  <a:ext uri="{FF2B5EF4-FFF2-40B4-BE49-F238E27FC236}">
                    <a16:creationId xmlns:a16="http://schemas.microsoft.com/office/drawing/2014/main" id="{A5789D06-4017-4C88-912F-D9B51E0FAC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09" y="768"/>
                <a:ext cx="19" cy="24"/>
              </a:xfrm>
              <a:custGeom>
                <a:avLst/>
                <a:gdLst>
                  <a:gd name="T0" fmla="*/ 8 w 9"/>
                  <a:gd name="T1" fmla="*/ 2 h 12"/>
                  <a:gd name="T2" fmla="*/ 3 w 9"/>
                  <a:gd name="T3" fmla="*/ 2 h 12"/>
                  <a:gd name="T4" fmla="*/ 0 w 9"/>
                  <a:gd name="T5" fmla="*/ 7 h 12"/>
                  <a:gd name="T6" fmla="*/ 8 w 9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2">
                    <a:moveTo>
                      <a:pt x="8" y="2"/>
                    </a:moveTo>
                    <a:cubicBezTo>
                      <a:pt x="7" y="5"/>
                      <a:pt x="5" y="0"/>
                      <a:pt x="3" y="2"/>
                    </a:cubicBezTo>
                    <a:cubicBezTo>
                      <a:pt x="2" y="4"/>
                      <a:pt x="4" y="9"/>
                      <a:pt x="0" y="7"/>
                    </a:cubicBezTo>
                    <a:cubicBezTo>
                      <a:pt x="5" y="12"/>
                      <a:pt x="9" y="6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2" name="任意多边形: 形状 10751">
                <a:extLst>
                  <a:ext uri="{FF2B5EF4-FFF2-40B4-BE49-F238E27FC236}">
                    <a16:creationId xmlns:a16="http://schemas.microsoft.com/office/drawing/2014/main" id="{74BF5253-B99F-4AC8-A814-303390DD17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9" y="836"/>
                <a:ext cx="15" cy="17"/>
              </a:xfrm>
              <a:custGeom>
                <a:avLst/>
                <a:gdLst>
                  <a:gd name="T0" fmla="*/ 2 w 7"/>
                  <a:gd name="T1" fmla="*/ 8 h 8"/>
                  <a:gd name="T2" fmla="*/ 7 w 7"/>
                  <a:gd name="T3" fmla="*/ 5 h 8"/>
                  <a:gd name="T4" fmla="*/ 1 w 7"/>
                  <a:gd name="T5" fmla="*/ 0 h 8"/>
                  <a:gd name="T6" fmla="*/ 2 w 7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2" y="8"/>
                    </a:moveTo>
                    <a:cubicBezTo>
                      <a:pt x="7" y="5"/>
                      <a:pt x="7" y="5"/>
                      <a:pt x="7" y="5"/>
                    </a:cubicBezTo>
                    <a:cubicBezTo>
                      <a:pt x="5" y="1"/>
                      <a:pt x="3" y="1"/>
                      <a:pt x="1" y="0"/>
                    </a:cubicBezTo>
                    <a:cubicBezTo>
                      <a:pt x="6" y="7"/>
                      <a:pt x="0" y="4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3" name="任意多边形: 形状 10752">
                <a:extLst>
                  <a:ext uri="{FF2B5EF4-FFF2-40B4-BE49-F238E27FC236}">
                    <a16:creationId xmlns:a16="http://schemas.microsoft.com/office/drawing/2014/main" id="{F21C2227-061D-4BA6-AEF5-56A4E5594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8" y="747"/>
                <a:ext cx="19" cy="14"/>
              </a:xfrm>
              <a:custGeom>
                <a:avLst/>
                <a:gdLst>
                  <a:gd name="T0" fmla="*/ 8 w 9"/>
                  <a:gd name="T1" fmla="*/ 0 h 7"/>
                  <a:gd name="T2" fmla="*/ 2 w 9"/>
                  <a:gd name="T3" fmla="*/ 7 h 7"/>
                  <a:gd name="T4" fmla="*/ 8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8" y="0"/>
                    </a:moveTo>
                    <a:cubicBezTo>
                      <a:pt x="7" y="5"/>
                      <a:pt x="0" y="2"/>
                      <a:pt x="2" y="7"/>
                    </a:cubicBezTo>
                    <a:cubicBezTo>
                      <a:pt x="4" y="5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4" name="任意多边形: 形状 10753">
                <a:extLst>
                  <a:ext uri="{FF2B5EF4-FFF2-40B4-BE49-F238E27FC236}">
                    <a16:creationId xmlns:a16="http://schemas.microsoft.com/office/drawing/2014/main" id="{61CC8C66-F64C-4506-8421-42B70CF8EB7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86" y="788"/>
                <a:ext cx="21" cy="21"/>
              </a:xfrm>
              <a:custGeom>
                <a:avLst/>
                <a:gdLst>
                  <a:gd name="T0" fmla="*/ 0 w 10"/>
                  <a:gd name="T1" fmla="*/ 7 h 10"/>
                  <a:gd name="T2" fmla="*/ 8 w 10"/>
                  <a:gd name="T3" fmla="*/ 10 h 10"/>
                  <a:gd name="T4" fmla="*/ 7 w 10"/>
                  <a:gd name="T5" fmla="*/ 0 h 10"/>
                  <a:gd name="T6" fmla="*/ 0 w 10"/>
                  <a:gd name="T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7"/>
                    </a:moveTo>
                    <a:cubicBezTo>
                      <a:pt x="3" y="7"/>
                      <a:pt x="5" y="10"/>
                      <a:pt x="8" y="10"/>
                    </a:cubicBezTo>
                    <a:cubicBezTo>
                      <a:pt x="4" y="5"/>
                      <a:pt x="10" y="5"/>
                      <a:pt x="7" y="0"/>
                    </a:cubicBezTo>
                    <a:cubicBezTo>
                      <a:pt x="5" y="5"/>
                      <a:pt x="3" y="6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5" name="任意多边形: 形状 10754">
                <a:extLst>
                  <a:ext uri="{FF2B5EF4-FFF2-40B4-BE49-F238E27FC236}">
                    <a16:creationId xmlns:a16="http://schemas.microsoft.com/office/drawing/2014/main" id="{A4729077-1473-47CF-9C9E-049D376F4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92" y="637"/>
                <a:ext cx="13" cy="14"/>
              </a:xfrm>
              <a:custGeom>
                <a:avLst/>
                <a:gdLst>
                  <a:gd name="T0" fmla="*/ 2 w 6"/>
                  <a:gd name="T1" fmla="*/ 0 h 7"/>
                  <a:gd name="T2" fmla="*/ 2 w 6"/>
                  <a:gd name="T3" fmla="*/ 7 h 7"/>
                  <a:gd name="T4" fmla="*/ 2 w 6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2" y="3"/>
                      <a:pt x="0" y="4"/>
                      <a:pt x="2" y="7"/>
                    </a:cubicBezTo>
                    <a:cubicBezTo>
                      <a:pt x="3" y="6"/>
                      <a:pt x="6" y="1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6" name="任意多边形: 形状 10755">
                <a:extLst>
                  <a:ext uri="{FF2B5EF4-FFF2-40B4-BE49-F238E27FC236}">
                    <a16:creationId xmlns:a16="http://schemas.microsoft.com/office/drawing/2014/main" id="{71BB0D41-ECF3-4B60-A3EE-78FB98ACBC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3" y="739"/>
                <a:ext cx="15" cy="12"/>
              </a:xfrm>
              <a:custGeom>
                <a:avLst/>
                <a:gdLst>
                  <a:gd name="T0" fmla="*/ 6 w 7"/>
                  <a:gd name="T1" fmla="*/ 1 h 6"/>
                  <a:gd name="T2" fmla="*/ 3 w 7"/>
                  <a:gd name="T3" fmla="*/ 0 h 6"/>
                  <a:gd name="T4" fmla="*/ 2 w 7"/>
                  <a:gd name="T5" fmla="*/ 5 h 6"/>
                  <a:gd name="T6" fmla="*/ 6 w 7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6" y="1"/>
                    </a:moveTo>
                    <a:cubicBezTo>
                      <a:pt x="5" y="2"/>
                      <a:pt x="4" y="0"/>
                      <a:pt x="3" y="0"/>
                    </a:cubicBezTo>
                    <a:cubicBezTo>
                      <a:pt x="7" y="4"/>
                      <a:pt x="0" y="2"/>
                      <a:pt x="2" y="5"/>
                    </a:cubicBezTo>
                    <a:cubicBezTo>
                      <a:pt x="4" y="6"/>
                      <a:pt x="6" y="4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7" name="任意多边形: 形状 10756">
                <a:extLst>
                  <a:ext uri="{FF2B5EF4-FFF2-40B4-BE49-F238E27FC236}">
                    <a16:creationId xmlns:a16="http://schemas.microsoft.com/office/drawing/2014/main" id="{7BDD918B-5613-41D9-B51F-14154D21B0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2" y="836"/>
                <a:ext cx="12" cy="17"/>
              </a:xfrm>
              <a:custGeom>
                <a:avLst/>
                <a:gdLst>
                  <a:gd name="T0" fmla="*/ 6 w 6"/>
                  <a:gd name="T1" fmla="*/ 2 h 8"/>
                  <a:gd name="T2" fmla="*/ 0 w 6"/>
                  <a:gd name="T3" fmla="*/ 3 h 8"/>
                  <a:gd name="T4" fmla="*/ 2 w 6"/>
                  <a:gd name="T5" fmla="*/ 8 h 8"/>
                  <a:gd name="T6" fmla="*/ 6 w 6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8">
                    <a:moveTo>
                      <a:pt x="6" y="2"/>
                    </a:moveTo>
                    <a:cubicBezTo>
                      <a:pt x="4" y="0"/>
                      <a:pt x="2" y="1"/>
                      <a:pt x="0" y="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6"/>
                      <a:pt x="6" y="4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8" name="任意多边形: 形状 10757">
                <a:extLst>
                  <a:ext uri="{FF2B5EF4-FFF2-40B4-BE49-F238E27FC236}">
                    <a16:creationId xmlns:a16="http://schemas.microsoft.com/office/drawing/2014/main" id="{7CB0BEE8-C09E-4800-80F9-5350BB80B2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27" y="826"/>
                <a:ext cx="25" cy="12"/>
              </a:xfrm>
              <a:custGeom>
                <a:avLst/>
                <a:gdLst>
                  <a:gd name="T0" fmla="*/ 12 w 12"/>
                  <a:gd name="T1" fmla="*/ 5 h 6"/>
                  <a:gd name="T2" fmla="*/ 8 w 12"/>
                  <a:gd name="T3" fmla="*/ 1 h 6"/>
                  <a:gd name="T4" fmla="*/ 3 w 12"/>
                  <a:gd name="T5" fmla="*/ 6 h 6"/>
                  <a:gd name="T6" fmla="*/ 12 w 12"/>
                  <a:gd name="T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12" y="5"/>
                    </a:moveTo>
                    <a:cubicBezTo>
                      <a:pt x="10" y="3"/>
                      <a:pt x="9" y="3"/>
                      <a:pt x="8" y="1"/>
                    </a:cubicBezTo>
                    <a:cubicBezTo>
                      <a:pt x="7" y="4"/>
                      <a:pt x="0" y="0"/>
                      <a:pt x="3" y="6"/>
                    </a:cubicBezTo>
                    <a:cubicBezTo>
                      <a:pt x="6" y="2"/>
                      <a:pt x="9" y="4"/>
                      <a:pt x="1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59" name="任意多边形: 形状 10758">
                <a:extLst>
                  <a:ext uri="{FF2B5EF4-FFF2-40B4-BE49-F238E27FC236}">
                    <a16:creationId xmlns:a16="http://schemas.microsoft.com/office/drawing/2014/main" id="{3244C0EC-31EE-48F8-9C8A-F2FDE9B637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97" y="429"/>
                <a:ext cx="27" cy="25"/>
              </a:xfrm>
              <a:custGeom>
                <a:avLst/>
                <a:gdLst>
                  <a:gd name="T0" fmla="*/ 2 w 13"/>
                  <a:gd name="T1" fmla="*/ 8 h 12"/>
                  <a:gd name="T2" fmla="*/ 6 w 13"/>
                  <a:gd name="T3" fmla="*/ 12 h 12"/>
                  <a:gd name="T4" fmla="*/ 10 w 13"/>
                  <a:gd name="T5" fmla="*/ 11 h 12"/>
                  <a:gd name="T6" fmla="*/ 13 w 13"/>
                  <a:gd name="T7" fmla="*/ 9 h 12"/>
                  <a:gd name="T8" fmla="*/ 9 w 13"/>
                  <a:gd name="T9" fmla="*/ 3 h 12"/>
                  <a:gd name="T10" fmla="*/ 4 w 13"/>
                  <a:gd name="T11" fmla="*/ 0 h 12"/>
                  <a:gd name="T12" fmla="*/ 2 w 13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2" y="8"/>
                    </a:moveTo>
                    <a:cubicBezTo>
                      <a:pt x="5" y="6"/>
                      <a:pt x="3" y="10"/>
                      <a:pt x="6" y="12"/>
                    </a:cubicBezTo>
                    <a:cubicBezTo>
                      <a:pt x="7" y="10"/>
                      <a:pt x="8" y="9"/>
                      <a:pt x="10" y="11"/>
                    </a:cubicBezTo>
                    <a:cubicBezTo>
                      <a:pt x="6" y="5"/>
                      <a:pt x="11" y="8"/>
                      <a:pt x="13" y="9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7" y="4"/>
                      <a:pt x="5" y="1"/>
                      <a:pt x="4" y="0"/>
                    </a:cubicBezTo>
                    <a:cubicBezTo>
                      <a:pt x="4" y="3"/>
                      <a:pt x="0" y="4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0" name="任意多边形: 形状 10759">
                <a:extLst>
                  <a:ext uri="{FF2B5EF4-FFF2-40B4-BE49-F238E27FC236}">
                    <a16:creationId xmlns:a16="http://schemas.microsoft.com/office/drawing/2014/main" id="{ECD08E5B-3206-45FE-AF67-176D9D352D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80" y="730"/>
                <a:ext cx="12" cy="15"/>
              </a:xfrm>
              <a:custGeom>
                <a:avLst/>
                <a:gdLst>
                  <a:gd name="T0" fmla="*/ 3 w 6"/>
                  <a:gd name="T1" fmla="*/ 0 h 7"/>
                  <a:gd name="T2" fmla="*/ 0 w 6"/>
                  <a:gd name="T3" fmla="*/ 3 h 7"/>
                  <a:gd name="T4" fmla="*/ 2 w 6"/>
                  <a:gd name="T5" fmla="*/ 7 h 7"/>
                  <a:gd name="T6" fmla="*/ 3 w 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0"/>
                    </a:moveTo>
                    <a:cubicBezTo>
                      <a:pt x="4" y="3"/>
                      <a:pt x="2" y="4"/>
                      <a:pt x="0" y="3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7"/>
                      <a:pt x="6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1" name="任意多边形: 形状 10760">
                <a:extLst>
                  <a:ext uri="{FF2B5EF4-FFF2-40B4-BE49-F238E27FC236}">
                    <a16:creationId xmlns:a16="http://schemas.microsoft.com/office/drawing/2014/main" id="{F534662C-0ED9-4F80-AD73-67E989FF8C0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614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1 w 7"/>
                  <a:gd name="T3" fmla="*/ 3 h 4"/>
                  <a:gd name="T4" fmla="*/ 6 w 7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5" y="1"/>
                      <a:pt x="0" y="0"/>
                      <a:pt x="1" y="3"/>
                    </a:cubicBezTo>
                    <a:cubicBezTo>
                      <a:pt x="3" y="3"/>
                      <a:pt x="7" y="4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2" name="任意多边形: 形状 10761">
                <a:extLst>
                  <a:ext uri="{FF2B5EF4-FFF2-40B4-BE49-F238E27FC236}">
                    <a16:creationId xmlns:a16="http://schemas.microsoft.com/office/drawing/2014/main" id="{D1F97D67-D9EA-4571-BC9C-507DFE8020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2" y="718"/>
                <a:ext cx="8" cy="14"/>
              </a:xfrm>
              <a:custGeom>
                <a:avLst/>
                <a:gdLst>
                  <a:gd name="T0" fmla="*/ 2 w 4"/>
                  <a:gd name="T1" fmla="*/ 0 h 7"/>
                  <a:gd name="T2" fmla="*/ 0 w 4"/>
                  <a:gd name="T3" fmla="*/ 7 h 7"/>
                  <a:gd name="T4" fmla="*/ 2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cubicBezTo>
                      <a:pt x="0" y="2"/>
                      <a:pt x="1" y="5"/>
                      <a:pt x="0" y="7"/>
                    </a:cubicBezTo>
                    <a:cubicBezTo>
                      <a:pt x="2" y="6"/>
                      <a:pt x="4" y="4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3" name="任意多边形: 形状 10762">
                <a:extLst>
                  <a:ext uri="{FF2B5EF4-FFF2-40B4-BE49-F238E27FC236}">
                    <a16:creationId xmlns:a16="http://schemas.microsoft.com/office/drawing/2014/main" id="{3A4C3D60-F149-47D2-9F9B-81289E623A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25" y="925"/>
                <a:ext cx="12" cy="17"/>
              </a:xfrm>
              <a:custGeom>
                <a:avLst/>
                <a:gdLst>
                  <a:gd name="T0" fmla="*/ 6 w 6"/>
                  <a:gd name="T1" fmla="*/ 4 h 8"/>
                  <a:gd name="T2" fmla="*/ 3 w 6"/>
                  <a:gd name="T3" fmla="*/ 0 h 8"/>
                  <a:gd name="T4" fmla="*/ 0 w 6"/>
                  <a:gd name="T5" fmla="*/ 3 h 8"/>
                  <a:gd name="T6" fmla="*/ 4 w 6"/>
                  <a:gd name="T7" fmla="*/ 8 h 8"/>
                  <a:gd name="T8" fmla="*/ 6 w 6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4"/>
                    </a:moveTo>
                    <a:cubicBezTo>
                      <a:pt x="5" y="2"/>
                      <a:pt x="4" y="0"/>
                      <a:pt x="3" y="0"/>
                    </a:cubicBezTo>
                    <a:cubicBezTo>
                      <a:pt x="4" y="4"/>
                      <a:pt x="3" y="5"/>
                      <a:pt x="0" y="3"/>
                    </a:cubicBezTo>
                    <a:cubicBezTo>
                      <a:pt x="1" y="6"/>
                      <a:pt x="1" y="8"/>
                      <a:pt x="4" y="8"/>
                    </a:cubicBezTo>
                    <a:cubicBezTo>
                      <a:pt x="3" y="6"/>
                      <a:pt x="4" y="5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4" name="任意多边形: 形状 10763">
                <a:extLst>
                  <a:ext uri="{FF2B5EF4-FFF2-40B4-BE49-F238E27FC236}">
                    <a16:creationId xmlns:a16="http://schemas.microsoft.com/office/drawing/2014/main" id="{89346AF9-A543-401C-8C97-E3AE90BDCD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2" y="606"/>
                <a:ext cx="19" cy="14"/>
              </a:xfrm>
              <a:custGeom>
                <a:avLst/>
                <a:gdLst>
                  <a:gd name="T0" fmla="*/ 5 w 9"/>
                  <a:gd name="T1" fmla="*/ 7 h 7"/>
                  <a:gd name="T2" fmla="*/ 0 w 9"/>
                  <a:gd name="T3" fmla="*/ 0 h 7"/>
                  <a:gd name="T4" fmla="*/ 5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cubicBezTo>
                      <a:pt x="9" y="5"/>
                      <a:pt x="2" y="0"/>
                      <a:pt x="0" y="0"/>
                    </a:cubicBezTo>
                    <a:cubicBezTo>
                      <a:pt x="2" y="4"/>
                      <a:pt x="4" y="3"/>
                      <a:pt x="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5" name="任意多边形: 形状 10764">
                <a:extLst>
                  <a:ext uri="{FF2B5EF4-FFF2-40B4-BE49-F238E27FC236}">
                    <a16:creationId xmlns:a16="http://schemas.microsoft.com/office/drawing/2014/main" id="{77E0BA89-9322-435E-AAB8-11A4F6F13B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00" y="707"/>
                <a:ext cx="15" cy="21"/>
              </a:xfrm>
              <a:custGeom>
                <a:avLst/>
                <a:gdLst>
                  <a:gd name="T0" fmla="*/ 7 w 7"/>
                  <a:gd name="T1" fmla="*/ 10 h 10"/>
                  <a:gd name="T2" fmla="*/ 3 w 7"/>
                  <a:gd name="T3" fmla="*/ 0 h 10"/>
                  <a:gd name="T4" fmla="*/ 2 w 7"/>
                  <a:gd name="T5" fmla="*/ 0 h 10"/>
                  <a:gd name="T6" fmla="*/ 0 w 7"/>
                  <a:gd name="T7" fmla="*/ 1 h 10"/>
                  <a:gd name="T8" fmla="*/ 7 w 7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7" y="10"/>
                    </a:moveTo>
                    <a:cubicBezTo>
                      <a:pt x="4" y="5"/>
                      <a:pt x="4" y="5"/>
                      <a:pt x="3" y="0"/>
                    </a:cubicBezTo>
                    <a:cubicBezTo>
                      <a:pt x="3" y="0"/>
                      <a:pt x="2" y="1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3"/>
                      <a:pt x="3" y="10"/>
                      <a:pt x="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6" name="任意多边形: 形状 10765">
                <a:extLst>
                  <a:ext uri="{FF2B5EF4-FFF2-40B4-BE49-F238E27FC236}">
                    <a16:creationId xmlns:a16="http://schemas.microsoft.com/office/drawing/2014/main" id="{395179A1-7913-4B3B-A5F9-1B72AC82D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58" y="938"/>
                <a:ext cx="27" cy="31"/>
              </a:xfrm>
              <a:custGeom>
                <a:avLst/>
                <a:gdLst>
                  <a:gd name="T0" fmla="*/ 1 w 13"/>
                  <a:gd name="T1" fmla="*/ 5 h 15"/>
                  <a:gd name="T2" fmla="*/ 7 w 13"/>
                  <a:gd name="T3" fmla="*/ 15 h 15"/>
                  <a:gd name="T4" fmla="*/ 1 w 13"/>
                  <a:gd name="T5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5">
                    <a:moveTo>
                      <a:pt x="1" y="5"/>
                    </a:moveTo>
                    <a:cubicBezTo>
                      <a:pt x="4" y="6"/>
                      <a:pt x="6" y="13"/>
                      <a:pt x="7" y="15"/>
                    </a:cubicBezTo>
                    <a:cubicBezTo>
                      <a:pt x="13" y="15"/>
                      <a:pt x="0" y="0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7" name="任意多边形: 形状 10766">
                <a:extLst>
                  <a:ext uri="{FF2B5EF4-FFF2-40B4-BE49-F238E27FC236}">
                    <a16:creationId xmlns:a16="http://schemas.microsoft.com/office/drawing/2014/main" id="{D5B8051C-BAE3-4865-80AB-BF4BAA1B1E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3" y="782"/>
                <a:ext cx="10" cy="10"/>
              </a:xfrm>
              <a:custGeom>
                <a:avLst/>
                <a:gdLst>
                  <a:gd name="T0" fmla="*/ 5 w 5"/>
                  <a:gd name="T1" fmla="*/ 5 h 5"/>
                  <a:gd name="T2" fmla="*/ 3 w 5"/>
                  <a:gd name="T3" fmla="*/ 0 h 5"/>
                  <a:gd name="T4" fmla="*/ 1 w 5"/>
                  <a:gd name="T5" fmla="*/ 5 h 5"/>
                  <a:gd name="T6" fmla="*/ 5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cubicBezTo>
                      <a:pt x="4" y="3"/>
                      <a:pt x="5" y="2"/>
                      <a:pt x="3" y="0"/>
                    </a:cubicBezTo>
                    <a:cubicBezTo>
                      <a:pt x="1" y="1"/>
                      <a:pt x="0" y="2"/>
                      <a:pt x="1" y="5"/>
                    </a:cubicBezTo>
                    <a:cubicBezTo>
                      <a:pt x="2" y="5"/>
                      <a:pt x="4" y="5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8" name="任意多边形: 形状 10767">
                <a:extLst>
                  <a:ext uri="{FF2B5EF4-FFF2-40B4-BE49-F238E27FC236}">
                    <a16:creationId xmlns:a16="http://schemas.microsoft.com/office/drawing/2014/main" id="{210E85CF-D0C8-4F96-8276-68309EE0C2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00" y="653"/>
                <a:ext cx="19" cy="17"/>
              </a:xfrm>
              <a:custGeom>
                <a:avLst/>
                <a:gdLst>
                  <a:gd name="T0" fmla="*/ 9 w 9"/>
                  <a:gd name="T1" fmla="*/ 4 h 8"/>
                  <a:gd name="T2" fmla="*/ 3 w 9"/>
                  <a:gd name="T3" fmla="*/ 2 h 8"/>
                  <a:gd name="T4" fmla="*/ 2 w 9"/>
                  <a:gd name="T5" fmla="*/ 8 h 8"/>
                  <a:gd name="T6" fmla="*/ 9 w 9"/>
                  <a:gd name="T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9" y="4"/>
                    </a:moveTo>
                    <a:cubicBezTo>
                      <a:pt x="7" y="4"/>
                      <a:pt x="5" y="0"/>
                      <a:pt x="3" y="2"/>
                    </a:cubicBezTo>
                    <a:cubicBezTo>
                      <a:pt x="3" y="4"/>
                      <a:pt x="0" y="5"/>
                      <a:pt x="2" y="8"/>
                    </a:cubicBezTo>
                    <a:cubicBezTo>
                      <a:pt x="6" y="7"/>
                      <a:pt x="8" y="7"/>
                      <a:pt x="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69" name="任意多边形: 形状 10768">
                <a:extLst>
                  <a:ext uri="{FF2B5EF4-FFF2-40B4-BE49-F238E27FC236}">
                    <a16:creationId xmlns:a16="http://schemas.microsoft.com/office/drawing/2014/main" id="{F1FB4CCC-8542-4324-AE2A-74599B3D76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7" y="1405"/>
                <a:ext cx="25" cy="29"/>
              </a:xfrm>
              <a:custGeom>
                <a:avLst/>
                <a:gdLst>
                  <a:gd name="T0" fmla="*/ 2 w 12"/>
                  <a:gd name="T1" fmla="*/ 14 h 14"/>
                  <a:gd name="T2" fmla="*/ 12 w 12"/>
                  <a:gd name="T3" fmla="*/ 10 h 14"/>
                  <a:gd name="T4" fmla="*/ 2 w 12"/>
                  <a:gd name="T5" fmla="*/ 7 h 14"/>
                  <a:gd name="T6" fmla="*/ 3 w 12"/>
                  <a:gd name="T7" fmla="*/ 7 h 14"/>
                  <a:gd name="T8" fmla="*/ 0 w 12"/>
                  <a:gd name="T9" fmla="*/ 7 h 14"/>
                  <a:gd name="T10" fmla="*/ 2 w 12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4">
                    <a:moveTo>
                      <a:pt x="2" y="14"/>
                    </a:moveTo>
                    <a:cubicBezTo>
                      <a:pt x="4" y="10"/>
                      <a:pt x="8" y="13"/>
                      <a:pt x="12" y="10"/>
                    </a:cubicBezTo>
                    <a:cubicBezTo>
                      <a:pt x="9" y="6"/>
                      <a:pt x="1" y="0"/>
                      <a:pt x="2" y="7"/>
                    </a:cubicBezTo>
                    <a:cubicBezTo>
                      <a:pt x="3" y="6"/>
                      <a:pt x="4" y="6"/>
                      <a:pt x="3" y="7"/>
                    </a:cubicBezTo>
                    <a:cubicBezTo>
                      <a:pt x="2" y="8"/>
                      <a:pt x="1" y="6"/>
                      <a:pt x="0" y="7"/>
                    </a:cubicBezTo>
                    <a:cubicBezTo>
                      <a:pt x="4" y="11"/>
                      <a:pt x="1" y="10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0" name="任意多边形: 形状 10769">
                <a:extLst>
                  <a:ext uri="{FF2B5EF4-FFF2-40B4-BE49-F238E27FC236}">
                    <a16:creationId xmlns:a16="http://schemas.microsoft.com/office/drawing/2014/main" id="{C4E480BB-D676-49A3-B473-591819A18F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44" y="705"/>
                <a:ext cx="10" cy="13"/>
              </a:xfrm>
              <a:custGeom>
                <a:avLst/>
                <a:gdLst>
                  <a:gd name="T0" fmla="*/ 3 w 5"/>
                  <a:gd name="T1" fmla="*/ 0 h 6"/>
                  <a:gd name="T2" fmla="*/ 1 w 5"/>
                  <a:gd name="T3" fmla="*/ 6 h 6"/>
                  <a:gd name="T4" fmla="*/ 3 w 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3" y="0"/>
                    </a:moveTo>
                    <a:cubicBezTo>
                      <a:pt x="2" y="2"/>
                      <a:pt x="0" y="3"/>
                      <a:pt x="1" y="6"/>
                    </a:cubicBezTo>
                    <a:cubicBezTo>
                      <a:pt x="2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71" name="任意多边形: 形状 10770">
                <a:extLst>
                  <a:ext uri="{FF2B5EF4-FFF2-40B4-BE49-F238E27FC236}">
                    <a16:creationId xmlns:a16="http://schemas.microsoft.com/office/drawing/2014/main" id="{D7EB208B-7382-47B7-BC9F-89A5FE0C40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00" y="954"/>
                <a:ext cx="14" cy="11"/>
              </a:xfrm>
              <a:custGeom>
                <a:avLst/>
                <a:gdLst>
                  <a:gd name="T0" fmla="*/ 0 w 7"/>
                  <a:gd name="T1" fmla="*/ 3 h 5"/>
                  <a:gd name="T2" fmla="*/ 7 w 7"/>
                  <a:gd name="T3" fmla="*/ 5 h 5"/>
                  <a:gd name="T4" fmla="*/ 0 w 7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cubicBezTo>
                      <a:pt x="3" y="1"/>
                      <a:pt x="5" y="5"/>
                      <a:pt x="7" y="5"/>
                    </a:cubicBezTo>
                    <a:cubicBezTo>
                      <a:pt x="5" y="0"/>
                      <a:pt x="0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2083" name="组合 2082">
              <a:extLst>
                <a:ext uri="{FF2B5EF4-FFF2-40B4-BE49-F238E27FC236}">
                  <a16:creationId xmlns:a16="http://schemas.microsoft.com/office/drawing/2014/main" id="{D2628132-3F2F-49FF-A8E9-46C235691DF9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336088" y="-9513884"/>
              <a:ext cx="10415589" cy="3744923"/>
              <a:chOff x="601" y="415"/>
              <a:chExt cx="6561" cy="2359"/>
            </a:xfrm>
            <a:grpFill/>
          </p:grpSpPr>
          <p:sp>
            <p:nvSpPr>
              <p:cNvPr id="10372" name="任意多边形: 形状 10371">
                <a:extLst>
                  <a:ext uri="{FF2B5EF4-FFF2-40B4-BE49-F238E27FC236}">
                    <a16:creationId xmlns:a16="http://schemas.microsoft.com/office/drawing/2014/main" id="{E4A380F5-F5B1-439A-A406-CE338FF50E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2" y="772"/>
                <a:ext cx="48" cy="16"/>
              </a:xfrm>
              <a:custGeom>
                <a:avLst/>
                <a:gdLst>
                  <a:gd name="T0" fmla="*/ 0 w 23"/>
                  <a:gd name="T1" fmla="*/ 8 h 8"/>
                  <a:gd name="T2" fmla="*/ 23 w 23"/>
                  <a:gd name="T3" fmla="*/ 2 h 8"/>
                  <a:gd name="T4" fmla="*/ 0 w 23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8">
                    <a:moveTo>
                      <a:pt x="0" y="8"/>
                    </a:moveTo>
                    <a:cubicBezTo>
                      <a:pt x="7" y="3"/>
                      <a:pt x="18" y="6"/>
                      <a:pt x="23" y="2"/>
                    </a:cubicBezTo>
                    <a:cubicBezTo>
                      <a:pt x="16" y="0"/>
                      <a:pt x="5" y="0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3" name="任意多边形: 形状 10372">
                <a:extLst>
                  <a:ext uri="{FF2B5EF4-FFF2-40B4-BE49-F238E27FC236}">
                    <a16:creationId xmlns:a16="http://schemas.microsoft.com/office/drawing/2014/main" id="{A122E682-0180-4CA3-8E0D-953A847F020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5" y="1037"/>
                <a:ext cx="29" cy="27"/>
              </a:xfrm>
              <a:custGeom>
                <a:avLst/>
                <a:gdLst>
                  <a:gd name="T0" fmla="*/ 14 w 14"/>
                  <a:gd name="T1" fmla="*/ 7 h 13"/>
                  <a:gd name="T2" fmla="*/ 10 w 14"/>
                  <a:gd name="T3" fmla="*/ 0 h 13"/>
                  <a:gd name="T4" fmla="*/ 4 w 14"/>
                  <a:gd name="T5" fmla="*/ 4 h 13"/>
                  <a:gd name="T6" fmla="*/ 4 w 14"/>
                  <a:gd name="T7" fmla="*/ 13 h 13"/>
                  <a:gd name="T8" fmla="*/ 14 w 14"/>
                  <a:gd name="T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7"/>
                    </a:moveTo>
                    <a:cubicBezTo>
                      <a:pt x="14" y="4"/>
                      <a:pt x="11" y="2"/>
                      <a:pt x="10" y="0"/>
                    </a:cubicBezTo>
                    <a:cubicBezTo>
                      <a:pt x="9" y="3"/>
                      <a:pt x="7" y="2"/>
                      <a:pt x="4" y="4"/>
                    </a:cubicBezTo>
                    <a:cubicBezTo>
                      <a:pt x="7" y="8"/>
                      <a:pt x="0" y="8"/>
                      <a:pt x="4" y="13"/>
                    </a:cubicBezTo>
                    <a:cubicBezTo>
                      <a:pt x="7" y="9"/>
                      <a:pt x="8" y="2"/>
                      <a:pt x="1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4" name="任意多边形: 形状 10373">
                <a:extLst>
                  <a:ext uri="{FF2B5EF4-FFF2-40B4-BE49-F238E27FC236}">
                    <a16:creationId xmlns:a16="http://schemas.microsoft.com/office/drawing/2014/main" id="{AD6BE6B2-FFD9-4138-A4AA-F5CFFD1BF0A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0" y="1025"/>
                <a:ext cx="13" cy="14"/>
              </a:xfrm>
              <a:custGeom>
                <a:avLst/>
                <a:gdLst>
                  <a:gd name="T0" fmla="*/ 2 w 6"/>
                  <a:gd name="T1" fmla="*/ 5 h 7"/>
                  <a:gd name="T2" fmla="*/ 3 w 6"/>
                  <a:gd name="T3" fmla="*/ 7 h 7"/>
                  <a:gd name="T4" fmla="*/ 6 w 6"/>
                  <a:gd name="T5" fmla="*/ 7 h 7"/>
                  <a:gd name="T6" fmla="*/ 4 w 6"/>
                  <a:gd name="T7" fmla="*/ 0 h 7"/>
                  <a:gd name="T8" fmla="*/ 3 w 6"/>
                  <a:gd name="T9" fmla="*/ 5 h 7"/>
                  <a:gd name="T10" fmla="*/ 2 w 6"/>
                  <a:gd name="T1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7">
                    <a:moveTo>
                      <a:pt x="2" y="5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4" y="6"/>
                      <a:pt x="5" y="7"/>
                      <a:pt x="6" y="7"/>
                    </a:cubicBezTo>
                    <a:cubicBezTo>
                      <a:pt x="5" y="5"/>
                      <a:pt x="5" y="3"/>
                      <a:pt x="4" y="0"/>
                    </a:cubicBezTo>
                    <a:cubicBezTo>
                      <a:pt x="0" y="0"/>
                      <a:pt x="5" y="5"/>
                      <a:pt x="3" y="5"/>
                    </a:cubicBezTo>
                    <a:cubicBezTo>
                      <a:pt x="3" y="5"/>
                      <a:pt x="3" y="4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5" name="任意多边形: 形状 10374">
                <a:extLst>
                  <a:ext uri="{FF2B5EF4-FFF2-40B4-BE49-F238E27FC236}">
                    <a16:creationId xmlns:a16="http://schemas.microsoft.com/office/drawing/2014/main" id="{44EE038B-54B1-4F70-B83A-2839B14241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60" y="1162"/>
                <a:ext cx="16" cy="8"/>
              </a:xfrm>
              <a:custGeom>
                <a:avLst/>
                <a:gdLst>
                  <a:gd name="T0" fmla="*/ 3 w 8"/>
                  <a:gd name="T1" fmla="*/ 4 h 4"/>
                  <a:gd name="T2" fmla="*/ 7 w 8"/>
                  <a:gd name="T3" fmla="*/ 0 h 4"/>
                  <a:gd name="T4" fmla="*/ 3 w 8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3" y="4"/>
                    </a:moveTo>
                    <a:cubicBezTo>
                      <a:pt x="4" y="3"/>
                      <a:pt x="8" y="3"/>
                      <a:pt x="7" y="0"/>
                    </a:cubicBezTo>
                    <a:cubicBezTo>
                      <a:pt x="6" y="0"/>
                      <a:pt x="0" y="1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6" name="任意多边形: 形状 10375">
                <a:extLst>
                  <a:ext uri="{FF2B5EF4-FFF2-40B4-BE49-F238E27FC236}">
                    <a16:creationId xmlns:a16="http://schemas.microsoft.com/office/drawing/2014/main" id="{40CCE40D-D050-440D-9D52-BAFC2D3A6F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9" y="822"/>
                <a:ext cx="12" cy="14"/>
              </a:xfrm>
              <a:custGeom>
                <a:avLst/>
                <a:gdLst>
                  <a:gd name="T0" fmla="*/ 2 w 6"/>
                  <a:gd name="T1" fmla="*/ 6 h 7"/>
                  <a:gd name="T2" fmla="*/ 3 w 6"/>
                  <a:gd name="T3" fmla="*/ 0 h 7"/>
                  <a:gd name="T4" fmla="*/ 2 w 6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6"/>
                    </a:moveTo>
                    <a:cubicBezTo>
                      <a:pt x="4" y="7"/>
                      <a:pt x="6" y="4"/>
                      <a:pt x="3" y="0"/>
                    </a:cubicBezTo>
                    <a:cubicBezTo>
                      <a:pt x="2" y="1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7" name="任意多边形: 形状 10376">
                <a:extLst>
                  <a:ext uri="{FF2B5EF4-FFF2-40B4-BE49-F238E27FC236}">
                    <a16:creationId xmlns:a16="http://schemas.microsoft.com/office/drawing/2014/main" id="{03C3CE18-9908-41AC-8CBA-8E85E96C32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3" y="807"/>
                <a:ext cx="11" cy="15"/>
              </a:xfrm>
              <a:custGeom>
                <a:avLst/>
                <a:gdLst>
                  <a:gd name="T0" fmla="*/ 5 w 5"/>
                  <a:gd name="T1" fmla="*/ 1 h 7"/>
                  <a:gd name="T2" fmla="*/ 0 w 5"/>
                  <a:gd name="T3" fmla="*/ 4 h 7"/>
                  <a:gd name="T4" fmla="*/ 2 w 5"/>
                  <a:gd name="T5" fmla="*/ 7 h 7"/>
                  <a:gd name="T6" fmla="*/ 5 w 5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5" y="1"/>
                    </a:moveTo>
                    <a:cubicBezTo>
                      <a:pt x="2" y="0"/>
                      <a:pt x="4" y="3"/>
                      <a:pt x="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5" y="6"/>
                      <a:pt x="4" y="3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8" name="任意多边形: 形状 10377">
                <a:extLst>
                  <a:ext uri="{FF2B5EF4-FFF2-40B4-BE49-F238E27FC236}">
                    <a16:creationId xmlns:a16="http://schemas.microsoft.com/office/drawing/2014/main" id="{282AAC72-B00A-4B77-AE88-DDDE7DCABB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39" y="467"/>
                <a:ext cx="15" cy="12"/>
              </a:xfrm>
              <a:custGeom>
                <a:avLst/>
                <a:gdLst>
                  <a:gd name="T0" fmla="*/ 7 w 7"/>
                  <a:gd name="T1" fmla="*/ 1 h 6"/>
                  <a:gd name="T2" fmla="*/ 4 w 7"/>
                  <a:gd name="T3" fmla="*/ 5 h 6"/>
                  <a:gd name="T4" fmla="*/ 7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7" y="1"/>
                    </a:moveTo>
                    <a:cubicBezTo>
                      <a:pt x="6" y="0"/>
                      <a:pt x="0" y="1"/>
                      <a:pt x="4" y="5"/>
                    </a:cubicBezTo>
                    <a:cubicBezTo>
                      <a:pt x="6" y="6"/>
                      <a:pt x="7" y="3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9" name="任意多边形: 形状 10378">
                <a:extLst>
                  <a:ext uri="{FF2B5EF4-FFF2-40B4-BE49-F238E27FC236}">
                    <a16:creationId xmlns:a16="http://schemas.microsoft.com/office/drawing/2014/main" id="{0AF00ECB-F1D4-4E7F-80E4-907A75396B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89" y="473"/>
                <a:ext cx="27" cy="14"/>
              </a:xfrm>
              <a:custGeom>
                <a:avLst/>
                <a:gdLst>
                  <a:gd name="T0" fmla="*/ 8 w 13"/>
                  <a:gd name="T1" fmla="*/ 5 h 7"/>
                  <a:gd name="T2" fmla="*/ 3 w 13"/>
                  <a:gd name="T3" fmla="*/ 7 h 7"/>
                  <a:gd name="T4" fmla="*/ 13 w 13"/>
                  <a:gd name="T5" fmla="*/ 6 h 7"/>
                  <a:gd name="T6" fmla="*/ 8 w 13"/>
                  <a:gd name="T7" fmla="*/ 0 h 7"/>
                  <a:gd name="T8" fmla="*/ 8 w 13"/>
                  <a:gd name="T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7">
                    <a:moveTo>
                      <a:pt x="8" y="5"/>
                    </a:moveTo>
                    <a:cubicBezTo>
                      <a:pt x="6" y="3"/>
                      <a:pt x="0" y="4"/>
                      <a:pt x="3" y="7"/>
                    </a:cubicBezTo>
                    <a:cubicBezTo>
                      <a:pt x="6" y="5"/>
                      <a:pt x="10" y="7"/>
                      <a:pt x="13" y="6"/>
                    </a:cubicBezTo>
                    <a:cubicBezTo>
                      <a:pt x="12" y="3"/>
                      <a:pt x="11" y="1"/>
                      <a:pt x="8" y="0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0" name="任意多边形: 形状 10379">
                <a:extLst>
                  <a:ext uri="{FF2B5EF4-FFF2-40B4-BE49-F238E27FC236}">
                    <a16:creationId xmlns:a16="http://schemas.microsoft.com/office/drawing/2014/main" id="{92D62D0B-AEF4-4C7F-9889-773525707A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95" y="452"/>
                <a:ext cx="31" cy="21"/>
              </a:xfrm>
              <a:custGeom>
                <a:avLst/>
                <a:gdLst>
                  <a:gd name="T0" fmla="*/ 15 w 15"/>
                  <a:gd name="T1" fmla="*/ 6 h 10"/>
                  <a:gd name="T2" fmla="*/ 0 w 15"/>
                  <a:gd name="T3" fmla="*/ 0 h 10"/>
                  <a:gd name="T4" fmla="*/ 3 w 15"/>
                  <a:gd name="T5" fmla="*/ 8 h 10"/>
                  <a:gd name="T6" fmla="*/ 15 w 15"/>
                  <a:gd name="T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0" y="1"/>
                      <a:pt x="5" y="0"/>
                      <a:pt x="0" y="0"/>
                    </a:cubicBezTo>
                    <a:cubicBezTo>
                      <a:pt x="1" y="2"/>
                      <a:pt x="3" y="4"/>
                      <a:pt x="3" y="8"/>
                    </a:cubicBezTo>
                    <a:cubicBezTo>
                      <a:pt x="7" y="5"/>
                      <a:pt x="14" y="10"/>
                      <a:pt x="1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1" name="任意多边形: 形状 10380">
                <a:extLst>
                  <a:ext uri="{FF2B5EF4-FFF2-40B4-BE49-F238E27FC236}">
                    <a16:creationId xmlns:a16="http://schemas.microsoft.com/office/drawing/2014/main" id="{6A24FE2D-F770-4B3D-B2CF-720A03DF97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" y="2496"/>
                <a:ext cx="29" cy="52"/>
              </a:xfrm>
              <a:custGeom>
                <a:avLst/>
                <a:gdLst>
                  <a:gd name="T0" fmla="*/ 11 w 14"/>
                  <a:gd name="T1" fmla="*/ 21 h 25"/>
                  <a:gd name="T2" fmla="*/ 8 w 14"/>
                  <a:gd name="T3" fmla="*/ 18 h 25"/>
                  <a:gd name="T4" fmla="*/ 9 w 14"/>
                  <a:gd name="T5" fmla="*/ 15 h 25"/>
                  <a:gd name="T6" fmla="*/ 14 w 14"/>
                  <a:gd name="T7" fmla="*/ 0 h 25"/>
                  <a:gd name="T8" fmla="*/ 0 w 14"/>
                  <a:gd name="T9" fmla="*/ 24 h 25"/>
                  <a:gd name="T10" fmla="*/ 11 w 14"/>
                  <a:gd name="T11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25">
                    <a:moveTo>
                      <a:pt x="11" y="21"/>
                    </a:moveTo>
                    <a:cubicBezTo>
                      <a:pt x="10" y="21"/>
                      <a:pt x="9" y="20"/>
                      <a:pt x="8" y="18"/>
                    </a:cubicBezTo>
                    <a:cubicBezTo>
                      <a:pt x="13" y="18"/>
                      <a:pt x="13" y="17"/>
                      <a:pt x="9" y="15"/>
                    </a:cubicBezTo>
                    <a:cubicBezTo>
                      <a:pt x="11" y="13"/>
                      <a:pt x="14" y="2"/>
                      <a:pt x="14" y="0"/>
                    </a:cubicBezTo>
                    <a:cubicBezTo>
                      <a:pt x="6" y="8"/>
                      <a:pt x="10" y="23"/>
                      <a:pt x="0" y="24"/>
                    </a:cubicBezTo>
                    <a:cubicBezTo>
                      <a:pt x="5" y="24"/>
                      <a:pt x="9" y="25"/>
                      <a:pt x="11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2" name="任意多边形: 形状 10381">
                <a:extLst>
                  <a:ext uri="{FF2B5EF4-FFF2-40B4-BE49-F238E27FC236}">
                    <a16:creationId xmlns:a16="http://schemas.microsoft.com/office/drawing/2014/main" id="{DF22748A-2987-4FEA-A218-7650DC2C58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" y="2758"/>
                <a:ext cx="15" cy="16"/>
              </a:xfrm>
              <a:custGeom>
                <a:avLst/>
                <a:gdLst>
                  <a:gd name="T0" fmla="*/ 5 w 7"/>
                  <a:gd name="T1" fmla="*/ 5 h 8"/>
                  <a:gd name="T2" fmla="*/ 5 w 7"/>
                  <a:gd name="T3" fmla="*/ 2 h 8"/>
                  <a:gd name="T4" fmla="*/ 6 w 7"/>
                  <a:gd name="T5" fmla="*/ 0 h 8"/>
                  <a:gd name="T6" fmla="*/ 0 w 7"/>
                  <a:gd name="T7" fmla="*/ 4 h 8"/>
                  <a:gd name="T8" fmla="*/ 5 w 7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5" y="5"/>
                    </a:moveTo>
                    <a:cubicBezTo>
                      <a:pt x="5" y="4"/>
                      <a:pt x="4" y="3"/>
                      <a:pt x="5" y="2"/>
                    </a:cubicBezTo>
                    <a:cubicBezTo>
                      <a:pt x="6" y="3"/>
                      <a:pt x="7" y="3"/>
                      <a:pt x="6" y="0"/>
                    </a:cubicBezTo>
                    <a:cubicBezTo>
                      <a:pt x="4" y="4"/>
                      <a:pt x="1" y="2"/>
                      <a:pt x="0" y="4"/>
                    </a:cubicBezTo>
                    <a:cubicBezTo>
                      <a:pt x="2" y="2"/>
                      <a:pt x="3" y="8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3" name="任意多边形: 形状 10382">
                <a:extLst>
                  <a:ext uri="{FF2B5EF4-FFF2-40B4-BE49-F238E27FC236}">
                    <a16:creationId xmlns:a16="http://schemas.microsoft.com/office/drawing/2014/main" id="{A7CAE210-250E-4982-BA0A-5340674EAB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00" y="2438"/>
                <a:ext cx="14" cy="15"/>
              </a:xfrm>
              <a:custGeom>
                <a:avLst/>
                <a:gdLst>
                  <a:gd name="T0" fmla="*/ 4 w 7"/>
                  <a:gd name="T1" fmla="*/ 7 h 7"/>
                  <a:gd name="T2" fmla="*/ 6 w 7"/>
                  <a:gd name="T3" fmla="*/ 0 h 7"/>
                  <a:gd name="T4" fmla="*/ 4 w 7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7"/>
                    </a:moveTo>
                    <a:cubicBezTo>
                      <a:pt x="5" y="6"/>
                      <a:pt x="7" y="4"/>
                      <a:pt x="6" y="0"/>
                    </a:cubicBezTo>
                    <a:cubicBezTo>
                      <a:pt x="7" y="2"/>
                      <a:pt x="0" y="6"/>
                      <a:pt x="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4" name="任意多边形: 形状 10383">
                <a:extLst>
                  <a:ext uri="{FF2B5EF4-FFF2-40B4-BE49-F238E27FC236}">
                    <a16:creationId xmlns:a16="http://schemas.microsoft.com/office/drawing/2014/main" id="{167725CF-6A76-4F54-8FE5-B0D24102E9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47" y="2724"/>
                <a:ext cx="13" cy="13"/>
              </a:xfrm>
              <a:custGeom>
                <a:avLst/>
                <a:gdLst>
                  <a:gd name="T0" fmla="*/ 5 w 6"/>
                  <a:gd name="T1" fmla="*/ 3 h 6"/>
                  <a:gd name="T2" fmla="*/ 0 w 6"/>
                  <a:gd name="T3" fmla="*/ 4 h 6"/>
                  <a:gd name="T4" fmla="*/ 3 w 6"/>
                  <a:gd name="T5" fmla="*/ 6 h 6"/>
                  <a:gd name="T6" fmla="*/ 3 w 6"/>
                  <a:gd name="T7" fmla="*/ 3 h 6"/>
                  <a:gd name="T8" fmla="*/ 5 w 6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3"/>
                    </a:moveTo>
                    <a:cubicBezTo>
                      <a:pt x="4" y="2"/>
                      <a:pt x="0" y="0"/>
                      <a:pt x="0" y="4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2" y="4"/>
                      <a:pt x="3" y="3"/>
                      <a:pt x="3" y="3"/>
                    </a:cubicBezTo>
                    <a:cubicBezTo>
                      <a:pt x="4" y="5"/>
                      <a:pt x="6" y="5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5" name="任意多边形: 形状 10384">
                <a:extLst>
                  <a:ext uri="{FF2B5EF4-FFF2-40B4-BE49-F238E27FC236}">
                    <a16:creationId xmlns:a16="http://schemas.microsoft.com/office/drawing/2014/main" id="{58004296-7425-4AD0-98FB-62AF313FAC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80" y="2673"/>
                <a:ext cx="12" cy="20"/>
              </a:xfrm>
              <a:custGeom>
                <a:avLst/>
                <a:gdLst>
                  <a:gd name="T0" fmla="*/ 1 w 6"/>
                  <a:gd name="T1" fmla="*/ 10 h 10"/>
                  <a:gd name="T2" fmla="*/ 6 w 6"/>
                  <a:gd name="T3" fmla="*/ 4 h 10"/>
                  <a:gd name="T4" fmla="*/ 0 w 6"/>
                  <a:gd name="T5" fmla="*/ 3 h 10"/>
                  <a:gd name="T6" fmla="*/ 1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cubicBezTo>
                      <a:pt x="3" y="7"/>
                      <a:pt x="4" y="6"/>
                      <a:pt x="6" y="4"/>
                    </a:cubicBezTo>
                    <a:cubicBezTo>
                      <a:pt x="4" y="0"/>
                      <a:pt x="2" y="3"/>
                      <a:pt x="0" y="3"/>
                    </a:cubicBezTo>
                    <a:cubicBezTo>
                      <a:pt x="3" y="7"/>
                      <a:pt x="0" y="7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6" name="任意多边形: 形状 10385">
                <a:extLst>
                  <a:ext uri="{FF2B5EF4-FFF2-40B4-BE49-F238E27FC236}">
                    <a16:creationId xmlns:a16="http://schemas.microsoft.com/office/drawing/2014/main" id="{6C277AA7-7BFB-4057-815F-9AAB578623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86" y="2590"/>
                <a:ext cx="20" cy="22"/>
              </a:xfrm>
              <a:custGeom>
                <a:avLst/>
                <a:gdLst>
                  <a:gd name="T0" fmla="*/ 3 w 10"/>
                  <a:gd name="T1" fmla="*/ 6 h 11"/>
                  <a:gd name="T2" fmla="*/ 0 w 10"/>
                  <a:gd name="T3" fmla="*/ 5 h 11"/>
                  <a:gd name="T4" fmla="*/ 4 w 10"/>
                  <a:gd name="T5" fmla="*/ 10 h 11"/>
                  <a:gd name="T6" fmla="*/ 8 w 10"/>
                  <a:gd name="T7" fmla="*/ 3 h 11"/>
                  <a:gd name="T8" fmla="*/ 2 w 10"/>
                  <a:gd name="T9" fmla="*/ 4 h 11"/>
                  <a:gd name="T10" fmla="*/ 4 w 10"/>
                  <a:gd name="T11" fmla="*/ 0 h 11"/>
                  <a:gd name="T12" fmla="*/ 3 w 10"/>
                  <a:gd name="T1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3" y="6"/>
                    </a:moveTo>
                    <a:cubicBezTo>
                      <a:pt x="2" y="7"/>
                      <a:pt x="1" y="5"/>
                      <a:pt x="0" y="5"/>
                    </a:cubicBezTo>
                    <a:cubicBezTo>
                      <a:pt x="1" y="6"/>
                      <a:pt x="2" y="11"/>
                      <a:pt x="4" y="10"/>
                    </a:cubicBezTo>
                    <a:cubicBezTo>
                      <a:pt x="3" y="5"/>
                      <a:pt x="10" y="8"/>
                      <a:pt x="8" y="3"/>
                    </a:cubicBezTo>
                    <a:cubicBezTo>
                      <a:pt x="6" y="4"/>
                      <a:pt x="4" y="7"/>
                      <a:pt x="2" y="4"/>
                    </a:cubicBezTo>
                    <a:cubicBezTo>
                      <a:pt x="3" y="3"/>
                      <a:pt x="4" y="1"/>
                      <a:pt x="4" y="0"/>
                    </a:cubicBezTo>
                    <a:cubicBezTo>
                      <a:pt x="1" y="1"/>
                      <a:pt x="1" y="5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7" name="任意多边形: 形状 10386">
                <a:extLst>
                  <a:ext uri="{FF2B5EF4-FFF2-40B4-BE49-F238E27FC236}">
                    <a16:creationId xmlns:a16="http://schemas.microsoft.com/office/drawing/2014/main" id="{0246B307-D8F8-4D2A-A0EE-B24203591B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2" y="2162"/>
                <a:ext cx="10" cy="17"/>
              </a:xfrm>
              <a:custGeom>
                <a:avLst/>
                <a:gdLst>
                  <a:gd name="T0" fmla="*/ 3 w 5"/>
                  <a:gd name="T1" fmla="*/ 6 h 8"/>
                  <a:gd name="T2" fmla="*/ 3 w 5"/>
                  <a:gd name="T3" fmla="*/ 4 h 8"/>
                  <a:gd name="T4" fmla="*/ 5 w 5"/>
                  <a:gd name="T5" fmla="*/ 4 h 8"/>
                  <a:gd name="T6" fmla="*/ 0 w 5"/>
                  <a:gd name="T7" fmla="*/ 5 h 8"/>
                  <a:gd name="T8" fmla="*/ 3 w 5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3" y="6"/>
                    </a:moveTo>
                    <a:cubicBezTo>
                      <a:pt x="3" y="5"/>
                      <a:pt x="2" y="4"/>
                      <a:pt x="3" y="4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2" y="0"/>
                      <a:pt x="0" y="4"/>
                      <a:pt x="0" y="5"/>
                    </a:cubicBezTo>
                    <a:cubicBezTo>
                      <a:pt x="1" y="5"/>
                      <a:pt x="2" y="8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8" name="任意多边形: 形状 10387">
                <a:extLst>
                  <a:ext uri="{FF2B5EF4-FFF2-40B4-BE49-F238E27FC236}">
                    <a16:creationId xmlns:a16="http://schemas.microsoft.com/office/drawing/2014/main" id="{7710242F-E5E9-4614-95C0-58994C2F3D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92" y="2455"/>
                <a:ext cx="14" cy="25"/>
              </a:xfrm>
              <a:custGeom>
                <a:avLst/>
                <a:gdLst>
                  <a:gd name="T0" fmla="*/ 0 w 7"/>
                  <a:gd name="T1" fmla="*/ 2 h 12"/>
                  <a:gd name="T2" fmla="*/ 7 w 7"/>
                  <a:gd name="T3" fmla="*/ 8 h 12"/>
                  <a:gd name="T4" fmla="*/ 0 w 7"/>
                  <a:gd name="T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cubicBezTo>
                      <a:pt x="2" y="6"/>
                      <a:pt x="7" y="12"/>
                      <a:pt x="7" y="8"/>
                    </a:cubicBezTo>
                    <a:cubicBezTo>
                      <a:pt x="3" y="10"/>
                      <a:pt x="4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9" name="任意多边形: 形状 10388">
                <a:extLst>
                  <a:ext uri="{FF2B5EF4-FFF2-40B4-BE49-F238E27FC236}">
                    <a16:creationId xmlns:a16="http://schemas.microsoft.com/office/drawing/2014/main" id="{DDBE2350-B583-47C9-BB41-A5CB94A3D0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38" y="2297"/>
                <a:ext cx="29" cy="17"/>
              </a:xfrm>
              <a:custGeom>
                <a:avLst/>
                <a:gdLst>
                  <a:gd name="T0" fmla="*/ 1 w 14"/>
                  <a:gd name="T1" fmla="*/ 2 h 8"/>
                  <a:gd name="T2" fmla="*/ 2 w 14"/>
                  <a:gd name="T3" fmla="*/ 8 h 8"/>
                  <a:gd name="T4" fmla="*/ 10 w 14"/>
                  <a:gd name="T5" fmla="*/ 0 h 8"/>
                  <a:gd name="T6" fmla="*/ 1 w 14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1" y="2"/>
                    </a:moveTo>
                    <a:cubicBezTo>
                      <a:pt x="2" y="5"/>
                      <a:pt x="0" y="5"/>
                      <a:pt x="2" y="8"/>
                    </a:cubicBezTo>
                    <a:cubicBezTo>
                      <a:pt x="2" y="4"/>
                      <a:pt x="14" y="6"/>
                      <a:pt x="10" y="0"/>
                    </a:cubicBezTo>
                    <a:cubicBezTo>
                      <a:pt x="5" y="1"/>
                      <a:pt x="5" y="4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0" name="任意多边形: 形状 10389">
                <a:extLst>
                  <a:ext uri="{FF2B5EF4-FFF2-40B4-BE49-F238E27FC236}">
                    <a16:creationId xmlns:a16="http://schemas.microsoft.com/office/drawing/2014/main" id="{18321DA6-0CDA-4788-B0E2-44A92B1A33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2" y="2440"/>
                <a:ext cx="69" cy="52"/>
              </a:xfrm>
              <a:custGeom>
                <a:avLst/>
                <a:gdLst>
                  <a:gd name="T0" fmla="*/ 27 w 33"/>
                  <a:gd name="T1" fmla="*/ 18 h 25"/>
                  <a:gd name="T2" fmla="*/ 23 w 33"/>
                  <a:gd name="T3" fmla="*/ 15 h 25"/>
                  <a:gd name="T4" fmla="*/ 23 w 33"/>
                  <a:gd name="T5" fmla="*/ 14 h 25"/>
                  <a:gd name="T6" fmla="*/ 30 w 33"/>
                  <a:gd name="T7" fmla="*/ 17 h 25"/>
                  <a:gd name="T8" fmla="*/ 32 w 33"/>
                  <a:gd name="T9" fmla="*/ 12 h 25"/>
                  <a:gd name="T10" fmla="*/ 24 w 33"/>
                  <a:gd name="T11" fmla="*/ 12 h 25"/>
                  <a:gd name="T12" fmla="*/ 29 w 33"/>
                  <a:gd name="T13" fmla="*/ 7 h 25"/>
                  <a:gd name="T14" fmla="*/ 24 w 33"/>
                  <a:gd name="T15" fmla="*/ 7 h 25"/>
                  <a:gd name="T16" fmla="*/ 29 w 33"/>
                  <a:gd name="T17" fmla="*/ 4 h 25"/>
                  <a:gd name="T18" fmla="*/ 0 w 33"/>
                  <a:gd name="T19" fmla="*/ 2 h 25"/>
                  <a:gd name="T20" fmla="*/ 6 w 33"/>
                  <a:gd name="T21" fmla="*/ 4 h 25"/>
                  <a:gd name="T22" fmla="*/ 6 w 33"/>
                  <a:gd name="T23" fmla="*/ 9 h 25"/>
                  <a:gd name="T24" fmla="*/ 1 w 33"/>
                  <a:gd name="T25" fmla="*/ 7 h 25"/>
                  <a:gd name="T26" fmla="*/ 1 w 33"/>
                  <a:gd name="T27" fmla="*/ 15 h 25"/>
                  <a:gd name="T28" fmla="*/ 5 w 33"/>
                  <a:gd name="T29" fmla="*/ 22 h 25"/>
                  <a:gd name="T30" fmla="*/ 11 w 33"/>
                  <a:gd name="T31" fmla="*/ 24 h 25"/>
                  <a:gd name="T32" fmla="*/ 12 w 33"/>
                  <a:gd name="T33" fmla="*/ 25 h 25"/>
                  <a:gd name="T34" fmla="*/ 12 w 33"/>
                  <a:gd name="T35" fmla="*/ 19 h 25"/>
                  <a:gd name="T36" fmla="*/ 27 w 33"/>
                  <a:gd name="T37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3" h="25">
                    <a:moveTo>
                      <a:pt x="27" y="18"/>
                    </a:moveTo>
                    <a:cubicBezTo>
                      <a:pt x="26" y="14"/>
                      <a:pt x="24" y="17"/>
                      <a:pt x="23" y="15"/>
                    </a:cubicBezTo>
                    <a:cubicBezTo>
                      <a:pt x="23" y="15"/>
                      <a:pt x="24" y="14"/>
                      <a:pt x="23" y="14"/>
                    </a:cubicBezTo>
                    <a:cubicBezTo>
                      <a:pt x="25" y="13"/>
                      <a:pt x="27" y="18"/>
                      <a:pt x="30" y="17"/>
                    </a:cubicBezTo>
                    <a:cubicBezTo>
                      <a:pt x="27" y="12"/>
                      <a:pt x="33" y="17"/>
                      <a:pt x="32" y="12"/>
                    </a:cubicBezTo>
                    <a:cubicBezTo>
                      <a:pt x="29" y="12"/>
                      <a:pt x="26" y="15"/>
                      <a:pt x="24" y="12"/>
                    </a:cubicBezTo>
                    <a:cubicBezTo>
                      <a:pt x="25" y="11"/>
                      <a:pt x="29" y="11"/>
                      <a:pt x="29" y="7"/>
                    </a:cubicBezTo>
                    <a:cubicBezTo>
                      <a:pt x="27" y="8"/>
                      <a:pt x="26" y="8"/>
                      <a:pt x="24" y="7"/>
                    </a:cubicBezTo>
                    <a:cubicBezTo>
                      <a:pt x="25" y="4"/>
                      <a:pt x="30" y="7"/>
                      <a:pt x="29" y="4"/>
                    </a:cubicBezTo>
                    <a:cubicBezTo>
                      <a:pt x="22" y="4"/>
                      <a:pt x="4" y="0"/>
                      <a:pt x="0" y="2"/>
                    </a:cubicBezTo>
                    <a:cubicBezTo>
                      <a:pt x="2" y="3"/>
                      <a:pt x="4" y="0"/>
                      <a:pt x="6" y="4"/>
                    </a:cubicBezTo>
                    <a:cubicBezTo>
                      <a:pt x="2" y="5"/>
                      <a:pt x="4" y="5"/>
                      <a:pt x="6" y="9"/>
                    </a:cubicBezTo>
                    <a:cubicBezTo>
                      <a:pt x="4" y="9"/>
                      <a:pt x="3" y="5"/>
                      <a:pt x="1" y="7"/>
                    </a:cubicBezTo>
                    <a:cubicBezTo>
                      <a:pt x="4" y="12"/>
                      <a:pt x="5" y="17"/>
                      <a:pt x="1" y="15"/>
                    </a:cubicBezTo>
                    <a:cubicBezTo>
                      <a:pt x="4" y="18"/>
                      <a:pt x="5" y="17"/>
                      <a:pt x="5" y="22"/>
                    </a:cubicBezTo>
                    <a:cubicBezTo>
                      <a:pt x="7" y="22"/>
                      <a:pt x="9" y="21"/>
                      <a:pt x="11" y="24"/>
                    </a:cubicBezTo>
                    <a:cubicBezTo>
                      <a:pt x="11" y="24"/>
                      <a:pt x="11" y="25"/>
                      <a:pt x="12" y="25"/>
                    </a:cubicBezTo>
                    <a:cubicBezTo>
                      <a:pt x="12" y="23"/>
                      <a:pt x="11" y="20"/>
                      <a:pt x="12" y="19"/>
                    </a:cubicBezTo>
                    <a:cubicBezTo>
                      <a:pt x="17" y="19"/>
                      <a:pt x="22" y="16"/>
                      <a:pt x="2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1" name="任意多边形: 形状 10390">
                <a:extLst>
                  <a:ext uri="{FF2B5EF4-FFF2-40B4-BE49-F238E27FC236}">
                    <a16:creationId xmlns:a16="http://schemas.microsoft.com/office/drawing/2014/main" id="{40CAC3B0-048D-43DA-990D-01B3CA746B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0" y="2490"/>
                <a:ext cx="43" cy="33"/>
              </a:xfrm>
              <a:custGeom>
                <a:avLst/>
                <a:gdLst>
                  <a:gd name="T0" fmla="*/ 19 w 21"/>
                  <a:gd name="T1" fmla="*/ 5 h 16"/>
                  <a:gd name="T2" fmla="*/ 1 w 21"/>
                  <a:gd name="T3" fmla="*/ 9 h 16"/>
                  <a:gd name="T4" fmla="*/ 4 w 21"/>
                  <a:gd name="T5" fmla="*/ 16 h 16"/>
                  <a:gd name="T6" fmla="*/ 17 w 21"/>
                  <a:gd name="T7" fmla="*/ 8 h 16"/>
                  <a:gd name="T8" fmla="*/ 19 w 21"/>
                  <a:gd name="T9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6">
                    <a:moveTo>
                      <a:pt x="19" y="5"/>
                    </a:moveTo>
                    <a:cubicBezTo>
                      <a:pt x="9" y="0"/>
                      <a:pt x="4" y="10"/>
                      <a:pt x="1" y="9"/>
                    </a:cubicBezTo>
                    <a:cubicBezTo>
                      <a:pt x="2" y="11"/>
                      <a:pt x="0" y="15"/>
                      <a:pt x="4" y="16"/>
                    </a:cubicBezTo>
                    <a:cubicBezTo>
                      <a:pt x="2" y="8"/>
                      <a:pt x="13" y="6"/>
                      <a:pt x="17" y="8"/>
                    </a:cubicBezTo>
                    <a:cubicBezTo>
                      <a:pt x="15" y="4"/>
                      <a:pt x="21" y="9"/>
                      <a:pt x="1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2" name="任意多边形: 形状 10391">
                <a:extLst>
                  <a:ext uri="{FF2B5EF4-FFF2-40B4-BE49-F238E27FC236}">
                    <a16:creationId xmlns:a16="http://schemas.microsoft.com/office/drawing/2014/main" id="{EE9F3A6E-D786-44D6-B8E9-E6106C5620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41" y="2492"/>
                <a:ext cx="13" cy="23"/>
              </a:xfrm>
              <a:custGeom>
                <a:avLst/>
                <a:gdLst>
                  <a:gd name="T0" fmla="*/ 6 w 6"/>
                  <a:gd name="T1" fmla="*/ 7 h 11"/>
                  <a:gd name="T2" fmla="*/ 3 w 6"/>
                  <a:gd name="T3" fmla="*/ 11 h 11"/>
                  <a:gd name="T4" fmla="*/ 6 w 6"/>
                  <a:gd name="T5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6" y="7"/>
                    </a:moveTo>
                    <a:cubicBezTo>
                      <a:pt x="2" y="0"/>
                      <a:pt x="0" y="10"/>
                      <a:pt x="3" y="11"/>
                    </a:cubicBezTo>
                    <a:cubicBezTo>
                      <a:pt x="2" y="8"/>
                      <a:pt x="5" y="9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3" name="任意多边形: 形状 10392">
                <a:extLst>
                  <a:ext uri="{FF2B5EF4-FFF2-40B4-BE49-F238E27FC236}">
                    <a16:creationId xmlns:a16="http://schemas.microsoft.com/office/drawing/2014/main" id="{FF3FB712-1216-462B-84F0-C9D0F28248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70" y="1776"/>
                <a:ext cx="5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4" name="任意多边形: 形状 10393">
                <a:extLst>
                  <a:ext uri="{FF2B5EF4-FFF2-40B4-BE49-F238E27FC236}">
                    <a16:creationId xmlns:a16="http://schemas.microsoft.com/office/drawing/2014/main" id="{D545599E-25F6-4951-9D4E-502E43DA9C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6" y="19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5" name="任意多边形: 形状 10394">
                <a:extLst>
                  <a:ext uri="{FF2B5EF4-FFF2-40B4-BE49-F238E27FC236}">
                    <a16:creationId xmlns:a16="http://schemas.microsoft.com/office/drawing/2014/main" id="{263520A6-F6A0-4559-8677-39E5AFDF5A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1905"/>
                <a:ext cx="49" cy="39"/>
              </a:xfrm>
              <a:custGeom>
                <a:avLst/>
                <a:gdLst>
                  <a:gd name="T0" fmla="*/ 20 w 24"/>
                  <a:gd name="T1" fmla="*/ 0 h 19"/>
                  <a:gd name="T2" fmla="*/ 13 w 24"/>
                  <a:gd name="T3" fmla="*/ 11 h 19"/>
                  <a:gd name="T4" fmla="*/ 9 w 24"/>
                  <a:gd name="T5" fmla="*/ 6 h 19"/>
                  <a:gd name="T6" fmla="*/ 0 w 24"/>
                  <a:gd name="T7" fmla="*/ 19 h 19"/>
                  <a:gd name="T8" fmla="*/ 19 w 24"/>
                  <a:gd name="T9" fmla="*/ 6 h 19"/>
                  <a:gd name="T10" fmla="*/ 24 w 24"/>
                  <a:gd name="T11" fmla="*/ 6 h 19"/>
                  <a:gd name="T12" fmla="*/ 20 w 2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9">
                    <a:moveTo>
                      <a:pt x="20" y="0"/>
                    </a:moveTo>
                    <a:cubicBezTo>
                      <a:pt x="20" y="4"/>
                      <a:pt x="11" y="4"/>
                      <a:pt x="13" y="11"/>
                    </a:cubicBezTo>
                    <a:cubicBezTo>
                      <a:pt x="11" y="10"/>
                      <a:pt x="12" y="7"/>
                      <a:pt x="9" y="6"/>
                    </a:cubicBezTo>
                    <a:cubicBezTo>
                      <a:pt x="10" y="14"/>
                      <a:pt x="2" y="12"/>
                      <a:pt x="0" y="19"/>
                    </a:cubicBezTo>
                    <a:cubicBezTo>
                      <a:pt x="5" y="13"/>
                      <a:pt x="18" y="16"/>
                      <a:pt x="19" y="6"/>
                    </a:cubicBezTo>
                    <a:cubicBezTo>
                      <a:pt x="21" y="6"/>
                      <a:pt x="22" y="6"/>
                      <a:pt x="24" y="6"/>
                    </a:cubicBezTo>
                    <a:cubicBezTo>
                      <a:pt x="22" y="5"/>
                      <a:pt x="23" y="0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6" name="任意多边形: 形状 10395">
                <a:extLst>
                  <a:ext uri="{FF2B5EF4-FFF2-40B4-BE49-F238E27FC236}">
                    <a16:creationId xmlns:a16="http://schemas.microsoft.com/office/drawing/2014/main" id="{904608E2-24B7-4204-BA9C-8B60AE6B7A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8" y="5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7" name="任意多边形: 形状 10396">
                <a:extLst>
                  <a:ext uri="{FF2B5EF4-FFF2-40B4-BE49-F238E27FC236}">
                    <a16:creationId xmlns:a16="http://schemas.microsoft.com/office/drawing/2014/main" id="{ED121A4A-B19C-49C1-A4D2-859D259F66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8" y="500"/>
                <a:ext cx="4" cy="4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8" name="任意多边形: 形状 10397">
                <a:extLst>
                  <a:ext uri="{FF2B5EF4-FFF2-40B4-BE49-F238E27FC236}">
                    <a16:creationId xmlns:a16="http://schemas.microsoft.com/office/drawing/2014/main" id="{272B3430-7C3E-4E8C-8BD9-99A90E63B4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958"/>
                <a:ext cx="2" cy="7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2"/>
                      <a:pt x="1" y="2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9" name="任意多边形: 形状 10398">
                <a:extLst>
                  <a:ext uri="{FF2B5EF4-FFF2-40B4-BE49-F238E27FC236}">
                    <a16:creationId xmlns:a16="http://schemas.microsoft.com/office/drawing/2014/main" id="{ABA45744-4C50-417E-8FED-A4A565FABD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" y="1838"/>
                <a:ext cx="27" cy="27"/>
              </a:xfrm>
              <a:custGeom>
                <a:avLst/>
                <a:gdLst>
                  <a:gd name="T0" fmla="*/ 8 w 13"/>
                  <a:gd name="T1" fmla="*/ 1 h 13"/>
                  <a:gd name="T2" fmla="*/ 5 w 13"/>
                  <a:gd name="T3" fmla="*/ 4 h 13"/>
                  <a:gd name="T4" fmla="*/ 5 w 13"/>
                  <a:gd name="T5" fmla="*/ 9 h 13"/>
                  <a:gd name="T6" fmla="*/ 0 w 13"/>
                  <a:gd name="T7" fmla="*/ 8 h 13"/>
                  <a:gd name="T8" fmla="*/ 8 w 13"/>
                  <a:gd name="T9" fmla="*/ 13 h 13"/>
                  <a:gd name="T10" fmla="*/ 7 w 13"/>
                  <a:gd name="T11" fmla="*/ 6 h 13"/>
                  <a:gd name="T12" fmla="*/ 13 w 13"/>
                  <a:gd name="T13" fmla="*/ 9 h 13"/>
                  <a:gd name="T14" fmla="*/ 12 w 13"/>
                  <a:gd name="T15" fmla="*/ 3 h 13"/>
                  <a:gd name="T16" fmla="*/ 8 w 13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10" y="7"/>
                      <a:pt x="8" y="4"/>
                      <a:pt x="5" y="4"/>
                    </a:cubicBezTo>
                    <a:cubicBezTo>
                      <a:pt x="7" y="7"/>
                      <a:pt x="7" y="8"/>
                      <a:pt x="5" y="9"/>
                    </a:cubicBezTo>
                    <a:cubicBezTo>
                      <a:pt x="2" y="8"/>
                      <a:pt x="3" y="8"/>
                      <a:pt x="0" y="8"/>
                    </a:cubicBezTo>
                    <a:cubicBezTo>
                      <a:pt x="2" y="12"/>
                      <a:pt x="6" y="11"/>
                      <a:pt x="8" y="13"/>
                    </a:cubicBezTo>
                    <a:cubicBezTo>
                      <a:pt x="6" y="10"/>
                      <a:pt x="8" y="8"/>
                      <a:pt x="7" y="6"/>
                    </a:cubicBezTo>
                    <a:cubicBezTo>
                      <a:pt x="9" y="5"/>
                      <a:pt x="11" y="9"/>
                      <a:pt x="13" y="9"/>
                    </a:cubicBezTo>
                    <a:cubicBezTo>
                      <a:pt x="11" y="6"/>
                      <a:pt x="10" y="4"/>
                      <a:pt x="12" y="3"/>
                    </a:cubicBezTo>
                    <a:cubicBezTo>
                      <a:pt x="11" y="2"/>
                      <a:pt x="9" y="0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0" name="任意多边形: 形状 10399">
                <a:extLst>
                  <a:ext uri="{FF2B5EF4-FFF2-40B4-BE49-F238E27FC236}">
                    <a16:creationId xmlns:a16="http://schemas.microsoft.com/office/drawing/2014/main" id="{401B90C1-11DB-40E2-A912-09E8A402AC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89" y="641"/>
                <a:ext cx="13" cy="14"/>
              </a:xfrm>
              <a:custGeom>
                <a:avLst/>
                <a:gdLst>
                  <a:gd name="T0" fmla="*/ 3 w 6"/>
                  <a:gd name="T1" fmla="*/ 5 h 7"/>
                  <a:gd name="T2" fmla="*/ 6 w 6"/>
                  <a:gd name="T3" fmla="*/ 6 h 7"/>
                  <a:gd name="T4" fmla="*/ 0 w 6"/>
                  <a:gd name="T5" fmla="*/ 7 h 7"/>
                  <a:gd name="T6" fmla="*/ 3 w 6"/>
                  <a:gd name="T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5"/>
                    </a:moveTo>
                    <a:cubicBezTo>
                      <a:pt x="4" y="6"/>
                      <a:pt x="5" y="7"/>
                      <a:pt x="6" y="6"/>
                    </a:cubicBezTo>
                    <a:cubicBezTo>
                      <a:pt x="2" y="0"/>
                      <a:pt x="1" y="5"/>
                      <a:pt x="0" y="7"/>
                    </a:cubicBezTo>
                    <a:cubicBezTo>
                      <a:pt x="2" y="7"/>
                      <a:pt x="3" y="7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1" name="任意多边形: 形状 10400">
                <a:extLst>
                  <a:ext uri="{FF2B5EF4-FFF2-40B4-BE49-F238E27FC236}">
                    <a16:creationId xmlns:a16="http://schemas.microsoft.com/office/drawing/2014/main" id="{D5AE0F5E-05AC-490F-9C97-7E301EC172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2" y="1994"/>
                <a:ext cx="20" cy="15"/>
              </a:xfrm>
              <a:custGeom>
                <a:avLst/>
                <a:gdLst>
                  <a:gd name="T0" fmla="*/ 7 w 10"/>
                  <a:gd name="T1" fmla="*/ 7 h 7"/>
                  <a:gd name="T2" fmla="*/ 8 w 10"/>
                  <a:gd name="T3" fmla="*/ 1 h 7"/>
                  <a:gd name="T4" fmla="*/ 3 w 10"/>
                  <a:gd name="T5" fmla="*/ 3 h 7"/>
                  <a:gd name="T6" fmla="*/ 7 w 10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cubicBezTo>
                      <a:pt x="8" y="6"/>
                      <a:pt x="10" y="1"/>
                      <a:pt x="8" y="1"/>
                    </a:cubicBezTo>
                    <a:cubicBezTo>
                      <a:pt x="8" y="6"/>
                      <a:pt x="0" y="0"/>
                      <a:pt x="3" y="3"/>
                    </a:cubicBezTo>
                    <a:cubicBezTo>
                      <a:pt x="4" y="3"/>
                      <a:pt x="5" y="5"/>
                      <a:pt x="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2" name="任意多边形: 形状 10401">
                <a:extLst>
                  <a:ext uri="{FF2B5EF4-FFF2-40B4-BE49-F238E27FC236}">
                    <a16:creationId xmlns:a16="http://schemas.microsoft.com/office/drawing/2014/main" id="{4F1C2533-B99F-45EE-980A-00A1652BC4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32" y="2094"/>
                <a:ext cx="34" cy="41"/>
              </a:xfrm>
              <a:custGeom>
                <a:avLst/>
                <a:gdLst>
                  <a:gd name="T0" fmla="*/ 5 w 16"/>
                  <a:gd name="T1" fmla="*/ 6 h 20"/>
                  <a:gd name="T2" fmla="*/ 9 w 16"/>
                  <a:gd name="T3" fmla="*/ 8 h 20"/>
                  <a:gd name="T4" fmla="*/ 3 w 16"/>
                  <a:gd name="T5" fmla="*/ 12 h 20"/>
                  <a:gd name="T6" fmla="*/ 2 w 16"/>
                  <a:gd name="T7" fmla="*/ 20 h 20"/>
                  <a:gd name="T8" fmla="*/ 9 w 16"/>
                  <a:gd name="T9" fmla="*/ 5 h 20"/>
                  <a:gd name="T10" fmla="*/ 16 w 16"/>
                  <a:gd name="T11" fmla="*/ 4 h 20"/>
                  <a:gd name="T12" fmla="*/ 14 w 16"/>
                  <a:gd name="T13" fmla="*/ 1 h 20"/>
                  <a:gd name="T14" fmla="*/ 10 w 16"/>
                  <a:gd name="T15" fmla="*/ 0 h 20"/>
                  <a:gd name="T16" fmla="*/ 11 w 16"/>
                  <a:gd name="T17" fmla="*/ 4 h 20"/>
                  <a:gd name="T18" fmla="*/ 5 w 16"/>
                  <a:gd name="T19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20">
                    <a:moveTo>
                      <a:pt x="5" y="6"/>
                    </a:moveTo>
                    <a:cubicBezTo>
                      <a:pt x="6" y="4"/>
                      <a:pt x="8" y="5"/>
                      <a:pt x="9" y="8"/>
                    </a:cubicBezTo>
                    <a:cubicBezTo>
                      <a:pt x="6" y="11"/>
                      <a:pt x="7" y="11"/>
                      <a:pt x="3" y="12"/>
                    </a:cubicBezTo>
                    <a:cubicBezTo>
                      <a:pt x="6" y="16"/>
                      <a:pt x="0" y="16"/>
                      <a:pt x="2" y="20"/>
                    </a:cubicBezTo>
                    <a:cubicBezTo>
                      <a:pt x="3" y="14"/>
                      <a:pt x="12" y="15"/>
                      <a:pt x="9" y="5"/>
                    </a:cubicBezTo>
                    <a:cubicBezTo>
                      <a:pt x="11" y="2"/>
                      <a:pt x="16" y="8"/>
                      <a:pt x="16" y="4"/>
                    </a:cubicBezTo>
                    <a:cubicBezTo>
                      <a:pt x="15" y="4"/>
                      <a:pt x="14" y="3"/>
                      <a:pt x="14" y="1"/>
                    </a:cubicBezTo>
                    <a:cubicBezTo>
                      <a:pt x="11" y="4"/>
                      <a:pt x="12" y="0"/>
                      <a:pt x="10" y="0"/>
                    </a:cubicBezTo>
                    <a:cubicBezTo>
                      <a:pt x="11" y="2"/>
                      <a:pt x="11" y="3"/>
                      <a:pt x="11" y="4"/>
                    </a:cubicBezTo>
                    <a:cubicBezTo>
                      <a:pt x="10" y="1"/>
                      <a:pt x="5" y="4"/>
                      <a:pt x="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3" name="任意多边形: 形状 10402">
                <a:extLst>
                  <a:ext uri="{FF2B5EF4-FFF2-40B4-BE49-F238E27FC236}">
                    <a16:creationId xmlns:a16="http://schemas.microsoft.com/office/drawing/2014/main" id="{83A28797-5D81-4D93-A111-2E0E104C7E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1" y="202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4" name="任意多边形: 形状 10403">
                <a:extLst>
                  <a:ext uri="{FF2B5EF4-FFF2-40B4-BE49-F238E27FC236}">
                    <a16:creationId xmlns:a16="http://schemas.microsoft.com/office/drawing/2014/main" id="{5A8AED50-C7AA-4B78-AB5E-9D0F049F73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7" y="2013"/>
                <a:ext cx="25" cy="25"/>
              </a:xfrm>
              <a:custGeom>
                <a:avLst/>
                <a:gdLst>
                  <a:gd name="T0" fmla="*/ 11 w 12"/>
                  <a:gd name="T1" fmla="*/ 8 h 12"/>
                  <a:gd name="T2" fmla="*/ 10 w 12"/>
                  <a:gd name="T3" fmla="*/ 0 h 12"/>
                  <a:gd name="T4" fmla="*/ 3 w 12"/>
                  <a:gd name="T5" fmla="*/ 6 h 12"/>
                  <a:gd name="T6" fmla="*/ 0 w 12"/>
                  <a:gd name="T7" fmla="*/ 5 h 12"/>
                  <a:gd name="T8" fmla="*/ 6 w 12"/>
                  <a:gd name="T9" fmla="*/ 12 h 12"/>
                  <a:gd name="T10" fmla="*/ 11 w 12"/>
                  <a:gd name="T1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1" y="8"/>
                    </a:moveTo>
                    <a:cubicBezTo>
                      <a:pt x="7" y="8"/>
                      <a:pt x="12" y="4"/>
                      <a:pt x="10" y="0"/>
                    </a:cubicBezTo>
                    <a:cubicBezTo>
                      <a:pt x="6" y="2"/>
                      <a:pt x="4" y="2"/>
                      <a:pt x="3" y="6"/>
                    </a:cubicBezTo>
                    <a:cubicBezTo>
                      <a:pt x="2" y="6"/>
                      <a:pt x="1" y="5"/>
                      <a:pt x="0" y="5"/>
                    </a:cubicBezTo>
                    <a:cubicBezTo>
                      <a:pt x="2" y="6"/>
                      <a:pt x="5" y="8"/>
                      <a:pt x="6" y="12"/>
                    </a:cubicBezTo>
                    <a:cubicBezTo>
                      <a:pt x="6" y="6"/>
                      <a:pt x="10" y="12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5" name="任意多边形: 形状 10404">
                <a:extLst>
                  <a:ext uri="{FF2B5EF4-FFF2-40B4-BE49-F238E27FC236}">
                    <a16:creationId xmlns:a16="http://schemas.microsoft.com/office/drawing/2014/main" id="{605808E1-9C59-4AE7-AFE5-049648D27D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2023"/>
                <a:ext cx="185" cy="102"/>
              </a:xfrm>
              <a:custGeom>
                <a:avLst/>
                <a:gdLst>
                  <a:gd name="T0" fmla="*/ 82 w 89"/>
                  <a:gd name="T1" fmla="*/ 8 h 49"/>
                  <a:gd name="T2" fmla="*/ 81 w 89"/>
                  <a:gd name="T3" fmla="*/ 5 h 49"/>
                  <a:gd name="T4" fmla="*/ 88 w 89"/>
                  <a:gd name="T5" fmla="*/ 0 h 49"/>
                  <a:gd name="T6" fmla="*/ 64 w 89"/>
                  <a:gd name="T7" fmla="*/ 10 h 49"/>
                  <a:gd name="T8" fmla="*/ 61 w 89"/>
                  <a:gd name="T9" fmla="*/ 5 h 49"/>
                  <a:gd name="T10" fmla="*/ 52 w 89"/>
                  <a:gd name="T11" fmla="*/ 12 h 49"/>
                  <a:gd name="T12" fmla="*/ 50 w 89"/>
                  <a:gd name="T13" fmla="*/ 17 h 49"/>
                  <a:gd name="T14" fmla="*/ 49 w 89"/>
                  <a:gd name="T15" fmla="*/ 13 h 49"/>
                  <a:gd name="T16" fmla="*/ 48 w 89"/>
                  <a:gd name="T17" fmla="*/ 16 h 49"/>
                  <a:gd name="T18" fmla="*/ 47 w 89"/>
                  <a:gd name="T19" fmla="*/ 13 h 49"/>
                  <a:gd name="T20" fmla="*/ 43 w 89"/>
                  <a:gd name="T21" fmla="*/ 16 h 49"/>
                  <a:gd name="T22" fmla="*/ 46 w 89"/>
                  <a:gd name="T23" fmla="*/ 17 h 49"/>
                  <a:gd name="T24" fmla="*/ 44 w 89"/>
                  <a:gd name="T25" fmla="*/ 20 h 49"/>
                  <a:gd name="T26" fmla="*/ 39 w 89"/>
                  <a:gd name="T27" fmla="*/ 15 h 49"/>
                  <a:gd name="T28" fmla="*/ 33 w 89"/>
                  <a:gd name="T29" fmla="*/ 20 h 49"/>
                  <a:gd name="T30" fmla="*/ 34 w 89"/>
                  <a:gd name="T31" fmla="*/ 26 h 49"/>
                  <a:gd name="T32" fmla="*/ 26 w 89"/>
                  <a:gd name="T33" fmla="*/ 28 h 49"/>
                  <a:gd name="T34" fmla="*/ 25 w 89"/>
                  <a:gd name="T35" fmla="*/ 24 h 49"/>
                  <a:gd name="T36" fmla="*/ 10 w 89"/>
                  <a:gd name="T37" fmla="*/ 28 h 49"/>
                  <a:gd name="T38" fmla="*/ 4 w 89"/>
                  <a:gd name="T39" fmla="*/ 35 h 49"/>
                  <a:gd name="T40" fmla="*/ 4 w 89"/>
                  <a:gd name="T41" fmla="*/ 30 h 49"/>
                  <a:gd name="T42" fmla="*/ 7 w 89"/>
                  <a:gd name="T43" fmla="*/ 30 h 49"/>
                  <a:gd name="T44" fmla="*/ 1 w 89"/>
                  <a:gd name="T45" fmla="*/ 26 h 49"/>
                  <a:gd name="T46" fmla="*/ 6 w 89"/>
                  <a:gd name="T47" fmla="*/ 39 h 49"/>
                  <a:gd name="T48" fmla="*/ 14 w 89"/>
                  <a:gd name="T49" fmla="*/ 36 h 49"/>
                  <a:gd name="T50" fmla="*/ 13 w 89"/>
                  <a:gd name="T51" fmla="*/ 39 h 49"/>
                  <a:gd name="T52" fmla="*/ 6 w 89"/>
                  <a:gd name="T53" fmla="*/ 41 h 49"/>
                  <a:gd name="T54" fmla="*/ 7 w 89"/>
                  <a:gd name="T55" fmla="*/ 46 h 49"/>
                  <a:gd name="T56" fmla="*/ 11 w 89"/>
                  <a:gd name="T57" fmla="*/ 48 h 49"/>
                  <a:gd name="T58" fmla="*/ 19 w 89"/>
                  <a:gd name="T59" fmla="*/ 38 h 49"/>
                  <a:gd name="T60" fmla="*/ 32 w 89"/>
                  <a:gd name="T61" fmla="*/ 28 h 49"/>
                  <a:gd name="T62" fmla="*/ 26 w 89"/>
                  <a:gd name="T63" fmla="*/ 33 h 49"/>
                  <a:gd name="T64" fmla="*/ 30 w 89"/>
                  <a:gd name="T65" fmla="*/ 36 h 49"/>
                  <a:gd name="T66" fmla="*/ 32 w 89"/>
                  <a:gd name="T67" fmla="*/ 30 h 49"/>
                  <a:gd name="T68" fmla="*/ 38 w 89"/>
                  <a:gd name="T69" fmla="*/ 29 h 49"/>
                  <a:gd name="T70" fmla="*/ 39 w 89"/>
                  <a:gd name="T71" fmla="*/ 24 h 49"/>
                  <a:gd name="T72" fmla="*/ 39 w 89"/>
                  <a:gd name="T73" fmla="*/ 26 h 49"/>
                  <a:gd name="T74" fmla="*/ 66 w 89"/>
                  <a:gd name="T75" fmla="*/ 18 h 49"/>
                  <a:gd name="T76" fmla="*/ 63 w 89"/>
                  <a:gd name="T77" fmla="*/ 12 h 49"/>
                  <a:gd name="T78" fmla="*/ 82 w 89"/>
                  <a:gd name="T79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9" h="49">
                    <a:moveTo>
                      <a:pt x="82" y="8"/>
                    </a:moveTo>
                    <a:cubicBezTo>
                      <a:pt x="81" y="7"/>
                      <a:pt x="80" y="5"/>
                      <a:pt x="81" y="5"/>
                    </a:cubicBezTo>
                    <a:cubicBezTo>
                      <a:pt x="83" y="7"/>
                      <a:pt x="89" y="2"/>
                      <a:pt x="88" y="0"/>
                    </a:cubicBezTo>
                    <a:cubicBezTo>
                      <a:pt x="79" y="1"/>
                      <a:pt x="72" y="9"/>
                      <a:pt x="64" y="10"/>
                    </a:cubicBezTo>
                    <a:cubicBezTo>
                      <a:pt x="62" y="7"/>
                      <a:pt x="61" y="8"/>
                      <a:pt x="61" y="5"/>
                    </a:cubicBezTo>
                    <a:cubicBezTo>
                      <a:pt x="60" y="9"/>
                      <a:pt x="56" y="13"/>
                      <a:pt x="52" y="12"/>
                    </a:cubicBezTo>
                    <a:cubicBezTo>
                      <a:pt x="54" y="15"/>
                      <a:pt x="52" y="16"/>
                      <a:pt x="50" y="17"/>
                    </a:cubicBezTo>
                    <a:cubicBezTo>
                      <a:pt x="50" y="16"/>
                      <a:pt x="50" y="15"/>
                      <a:pt x="49" y="13"/>
                    </a:cubicBezTo>
                    <a:cubicBezTo>
                      <a:pt x="48" y="14"/>
                      <a:pt x="48" y="15"/>
                      <a:pt x="48" y="16"/>
                    </a:cubicBezTo>
                    <a:cubicBezTo>
                      <a:pt x="47" y="15"/>
                      <a:pt x="47" y="14"/>
                      <a:pt x="47" y="13"/>
                    </a:cubicBezTo>
                    <a:cubicBezTo>
                      <a:pt x="46" y="16"/>
                      <a:pt x="42" y="12"/>
                      <a:pt x="43" y="16"/>
                    </a:cubicBezTo>
                    <a:cubicBezTo>
                      <a:pt x="44" y="16"/>
                      <a:pt x="45" y="16"/>
                      <a:pt x="46" y="17"/>
                    </a:cubicBezTo>
                    <a:cubicBezTo>
                      <a:pt x="45" y="17"/>
                      <a:pt x="45" y="19"/>
                      <a:pt x="44" y="20"/>
                    </a:cubicBezTo>
                    <a:cubicBezTo>
                      <a:pt x="42" y="15"/>
                      <a:pt x="41" y="19"/>
                      <a:pt x="39" y="15"/>
                    </a:cubicBezTo>
                    <a:cubicBezTo>
                      <a:pt x="38" y="20"/>
                      <a:pt x="37" y="21"/>
                      <a:pt x="33" y="20"/>
                    </a:cubicBezTo>
                    <a:cubicBezTo>
                      <a:pt x="34" y="23"/>
                      <a:pt x="35" y="25"/>
                      <a:pt x="34" y="26"/>
                    </a:cubicBezTo>
                    <a:cubicBezTo>
                      <a:pt x="33" y="19"/>
                      <a:pt x="26" y="24"/>
                      <a:pt x="26" y="28"/>
                    </a:cubicBezTo>
                    <a:cubicBezTo>
                      <a:pt x="25" y="26"/>
                      <a:pt x="25" y="25"/>
                      <a:pt x="25" y="24"/>
                    </a:cubicBezTo>
                    <a:cubicBezTo>
                      <a:pt x="20" y="28"/>
                      <a:pt x="15" y="30"/>
                      <a:pt x="10" y="28"/>
                    </a:cubicBezTo>
                    <a:cubicBezTo>
                      <a:pt x="13" y="33"/>
                      <a:pt x="7" y="35"/>
                      <a:pt x="4" y="35"/>
                    </a:cubicBezTo>
                    <a:cubicBezTo>
                      <a:pt x="4" y="33"/>
                      <a:pt x="4" y="32"/>
                      <a:pt x="4" y="30"/>
                    </a:cubicBezTo>
                    <a:cubicBezTo>
                      <a:pt x="4" y="34"/>
                      <a:pt x="9" y="32"/>
                      <a:pt x="7" y="30"/>
                    </a:cubicBezTo>
                    <a:cubicBezTo>
                      <a:pt x="4" y="33"/>
                      <a:pt x="3" y="28"/>
                      <a:pt x="1" y="26"/>
                    </a:cubicBezTo>
                    <a:cubicBezTo>
                      <a:pt x="2" y="34"/>
                      <a:pt x="0" y="32"/>
                      <a:pt x="6" y="39"/>
                    </a:cubicBezTo>
                    <a:cubicBezTo>
                      <a:pt x="7" y="37"/>
                      <a:pt x="13" y="31"/>
                      <a:pt x="14" y="36"/>
                    </a:cubicBezTo>
                    <a:cubicBezTo>
                      <a:pt x="12" y="33"/>
                      <a:pt x="14" y="39"/>
                      <a:pt x="13" y="39"/>
                    </a:cubicBezTo>
                    <a:cubicBezTo>
                      <a:pt x="9" y="40"/>
                      <a:pt x="10" y="41"/>
                      <a:pt x="6" y="41"/>
                    </a:cubicBezTo>
                    <a:cubicBezTo>
                      <a:pt x="8" y="43"/>
                      <a:pt x="6" y="44"/>
                      <a:pt x="7" y="46"/>
                    </a:cubicBezTo>
                    <a:cubicBezTo>
                      <a:pt x="8" y="45"/>
                      <a:pt x="9" y="49"/>
                      <a:pt x="11" y="48"/>
                    </a:cubicBezTo>
                    <a:cubicBezTo>
                      <a:pt x="7" y="41"/>
                      <a:pt x="18" y="45"/>
                      <a:pt x="19" y="38"/>
                    </a:cubicBezTo>
                    <a:cubicBezTo>
                      <a:pt x="16" y="32"/>
                      <a:pt x="27" y="26"/>
                      <a:pt x="32" y="28"/>
                    </a:cubicBezTo>
                    <a:cubicBezTo>
                      <a:pt x="29" y="31"/>
                      <a:pt x="27" y="31"/>
                      <a:pt x="26" y="33"/>
                    </a:cubicBezTo>
                    <a:cubicBezTo>
                      <a:pt x="27" y="33"/>
                      <a:pt x="28" y="36"/>
                      <a:pt x="30" y="36"/>
                    </a:cubicBezTo>
                    <a:cubicBezTo>
                      <a:pt x="30" y="35"/>
                      <a:pt x="34" y="32"/>
                      <a:pt x="32" y="30"/>
                    </a:cubicBezTo>
                    <a:cubicBezTo>
                      <a:pt x="35" y="32"/>
                      <a:pt x="36" y="29"/>
                      <a:pt x="38" y="29"/>
                    </a:cubicBezTo>
                    <a:cubicBezTo>
                      <a:pt x="36" y="26"/>
                      <a:pt x="38" y="22"/>
                      <a:pt x="39" y="24"/>
                    </a:cubicBezTo>
                    <a:cubicBezTo>
                      <a:pt x="39" y="24"/>
                      <a:pt x="38" y="25"/>
                      <a:pt x="39" y="26"/>
                    </a:cubicBezTo>
                    <a:cubicBezTo>
                      <a:pt x="50" y="29"/>
                      <a:pt x="54" y="13"/>
                      <a:pt x="66" y="18"/>
                    </a:cubicBezTo>
                    <a:cubicBezTo>
                      <a:pt x="67" y="16"/>
                      <a:pt x="62" y="13"/>
                      <a:pt x="63" y="12"/>
                    </a:cubicBezTo>
                    <a:cubicBezTo>
                      <a:pt x="70" y="17"/>
                      <a:pt x="73" y="4"/>
                      <a:pt x="8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6" name="任意多边形: 形状 10405">
                <a:extLst>
                  <a:ext uri="{FF2B5EF4-FFF2-40B4-BE49-F238E27FC236}">
                    <a16:creationId xmlns:a16="http://schemas.microsoft.com/office/drawing/2014/main" id="{415DFBEC-9C25-4AEC-A2AF-D11774EF78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0" y="2245"/>
                <a:ext cx="29" cy="25"/>
              </a:xfrm>
              <a:custGeom>
                <a:avLst/>
                <a:gdLst>
                  <a:gd name="T0" fmla="*/ 14 w 14"/>
                  <a:gd name="T1" fmla="*/ 0 h 12"/>
                  <a:gd name="T2" fmla="*/ 0 w 14"/>
                  <a:gd name="T3" fmla="*/ 7 h 12"/>
                  <a:gd name="T4" fmla="*/ 2 w 14"/>
                  <a:gd name="T5" fmla="*/ 12 h 12"/>
                  <a:gd name="T6" fmla="*/ 13 w 14"/>
                  <a:gd name="T7" fmla="*/ 9 h 12"/>
                  <a:gd name="T8" fmla="*/ 9 w 14"/>
                  <a:gd name="T9" fmla="*/ 4 h 12"/>
                  <a:gd name="T10" fmla="*/ 14 w 14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2">
                    <a:moveTo>
                      <a:pt x="14" y="0"/>
                    </a:moveTo>
                    <a:cubicBezTo>
                      <a:pt x="9" y="3"/>
                      <a:pt x="6" y="6"/>
                      <a:pt x="0" y="7"/>
                    </a:cubicBezTo>
                    <a:cubicBezTo>
                      <a:pt x="1" y="8"/>
                      <a:pt x="0" y="12"/>
                      <a:pt x="2" y="12"/>
                    </a:cubicBezTo>
                    <a:cubicBezTo>
                      <a:pt x="2" y="6"/>
                      <a:pt x="8" y="8"/>
                      <a:pt x="13" y="9"/>
                    </a:cubicBezTo>
                    <a:cubicBezTo>
                      <a:pt x="12" y="6"/>
                      <a:pt x="10" y="7"/>
                      <a:pt x="9" y="4"/>
                    </a:cubicBezTo>
                    <a:cubicBezTo>
                      <a:pt x="12" y="6"/>
                      <a:pt x="14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7" name="任意多边形: 形状 10406">
                <a:extLst>
                  <a:ext uri="{FF2B5EF4-FFF2-40B4-BE49-F238E27FC236}">
                    <a16:creationId xmlns:a16="http://schemas.microsoft.com/office/drawing/2014/main" id="{092A67D7-C233-482B-BC93-7C69CACD38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95" y="2004"/>
                <a:ext cx="27" cy="17"/>
              </a:xfrm>
              <a:custGeom>
                <a:avLst/>
                <a:gdLst>
                  <a:gd name="T0" fmla="*/ 0 w 13"/>
                  <a:gd name="T1" fmla="*/ 8 h 8"/>
                  <a:gd name="T2" fmla="*/ 10 w 13"/>
                  <a:gd name="T3" fmla="*/ 7 h 8"/>
                  <a:gd name="T4" fmla="*/ 11 w 13"/>
                  <a:gd name="T5" fmla="*/ 1 h 8"/>
                  <a:gd name="T6" fmla="*/ 8 w 13"/>
                  <a:gd name="T7" fmla="*/ 0 h 8"/>
                  <a:gd name="T8" fmla="*/ 0 w 13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0" y="8"/>
                    </a:moveTo>
                    <a:cubicBezTo>
                      <a:pt x="3" y="6"/>
                      <a:pt x="6" y="5"/>
                      <a:pt x="10" y="7"/>
                    </a:cubicBezTo>
                    <a:cubicBezTo>
                      <a:pt x="6" y="0"/>
                      <a:pt x="13" y="7"/>
                      <a:pt x="11" y="1"/>
                    </a:cubicBezTo>
                    <a:cubicBezTo>
                      <a:pt x="10" y="2"/>
                      <a:pt x="9" y="0"/>
                      <a:pt x="8" y="0"/>
                    </a:cubicBezTo>
                    <a:cubicBezTo>
                      <a:pt x="10" y="7"/>
                      <a:pt x="0" y="3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8" name="任意多边形: 形状 10407">
                <a:extLst>
                  <a:ext uri="{FF2B5EF4-FFF2-40B4-BE49-F238E27FC236}">
                    <a16:creationId xmlns:a16="http://schemas.microsoft.com/office/drawing/2014/main" id="{432EAF7E-82BD-473B-A98B-E9BA1D6FC1C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01" y="2015"/>
                <a:ext cx="17" cy="21"/>
              </a:xfrm>
              <a:custGeom>
                <a:avLst/>
                <a:gdLst>
                  <a:gd name="T0" fmla="*/ 4 w 8"/>
                  <a:gd name="T1" fmla="*/ 2 h 10"/>
                  <a:gd name="T2" fmla="*/ 0 w 8"/>
                  <a:gd name="T3" fmla="*/ 6 h 10"/>
                  <a:gd name="T4" fmla="*/ 3 w 8"/>
                  <a:gd name="T5" fmla="*/ 10 h 10"/>
                  <a:gd name="T6" fmla="*/ 6 w 8"/>
                  <a:gd name="T7" fmla="*/ 5 h 10"/>
                  <a:gd name="T8" fmla="*/ 4 w 8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0">
                    <a:moveTo>
                      <a:pt x="4" y="2"/>
                    </a:moveTo>
                    <a:cubicBezTo>
                      <a:pt x="4" y="3"/>
                      <a:pt x="2" y="3"/>
                      <a:pt x="0" y="6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5" y="9"/>
                      <a:pt x="8" y="8"/>
                      <a:pt x="6" y="5"/>
                    </a:cubicBezTo>
                    <a:cubicBezTo>
                      <a:pt x="4" y="6"/>
                      <a:pt x="6" y="0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9" name="任意多边形: 形状 10408">
                <a:extLst>
                  <a:ext uri="{FF2B5EF4-FFF2-40B4-BE49-F238E27FC236}">
                    <a16:creationId xmlns:a16="http://schemas.microsoft.com/office/drawing/2014/main" id="{933D676D-47AD-4622-9A72-82198DC776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6" y="1982"/>
                <a:ext cx="25" cy="18"/>
              </a:xfrm>
              <a:custGeom>
                <a:avLst/>
                <a:gdLst>
                  <a:gd name="T0" fmla="*/ 6 w 12"/>
                  <a:gd name="T1" fmla="*/ 6 h 9"/>
                  <a:gd name="T2" fmla="*/ 10 w 12"/>
                  <a:gd name="T3" fmla="*/ 1 h 9"/>
                  <a:gd name="T4" fmla="*/ 0 w 12"/>
                  <a:gd name="T5" fmla="*/ 9 h 9"/>
                  <a:gd name="T6" fmla="*/ 6 w 12"/>
                  <a:gd name="T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6" y="6"/>
                    </a:moveTo>
                    <a:cubicBezTo>
                      <a:pt x="3" y="2"/>
                      <a:pt x="12" y="6"/>
                      <a:pt x="10" y="1"/>
                    </a:cubicBezTo>
                    <a:cubicBezTo>
                      <a:pt x="5" y="0"/>
                      <a:pt x="1" y="5"/>
                      <a:pt x="0" y="9"/>
                    </a:cubicBezTo>
                    <a:cubicBezTo>
                      <a:pt x="2" y="6"/>
                      <a:pt x="4" y="8"/>
                      <a:pt x="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0" name="任意多边形: 形状 10409">
                <a:extLst>
                  <a:ext uri="{FF2B5EF4-FFF2-40B4-BE49-F238E27FC236}">
                    <a16:creationId xmlns:a16="http://schemas.microsoft.com/office/drawing/2014/main" id="{2C4880ED-65DB-4122-A2AD-6DD15F32CC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5" y="1878"/>
                <a:ext cx="43" cy="27"/>
              </a:xfrm>
              <a:custGeom>
                <a:avLst/>
                <a:gdLst>
                  <a:gd name="T0" fmla="*/ 10 w 21"/>
                  <a:gd name="T1" fmla="*/ 6 h 13"/>
                  <a:gd name="T2" fmla="*/ 12 w 21"/>
                  <a:gd name="T3" fmla="*/ 12 h 13"/>
                  <a:gd name="T4" fmla="*/ 13 w 21"/>
                  <a:gd name="T5" fmla="*/ 9 h 13"/>
                  <a:gd name="T6" fmla="*/ 18 w 21"/>
                  <a:gd name="T7" fmla="*/ 5 h 13"/>
                  <a:gd name="T8" fmla="*/ 12 w 21"/>
                  <a:gd name="T9" fmla="*/ 3 h 13"/>
                  <a:gd name="T10" fmla="*/ 4 w 21"/>
                  <a:gd name="T11" fmla="*/ 3 h 13"/>
                  <a:gd name="T12" fmla="*/ 0 w 21"/>
                  <a:gd name="T13" fmla="*/ 10 h 13"/>
                  <a:gd name="T14" fmla="*/ 10 w 21"/>
                  <a:gd name="T15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3">
                    <a:moveTo>
                      <a:pt x="10" y="6"/>
                    </a:moveTo>
                    <a:cubicBezTo>
                      <a:pt x="14" y="9"/>
                      <a:pt x="9" y="9"/>
                      <a:pt x="12" y="12"/>
                    </a:cubicBezTo>
                    <a:cubicBezTo>
                      <a:pt x="14" y="13"/>
                      <a:pt x="17" y="9"/>
                      <a:pt x="13" y="9"/>
                    </a:cubicBezTo>
                    <a:cubicBezTo>
                      <a:pt x="14" y="7"/>
                      <a:pt x="21" y="11"/>
                      <a:pt x="18" y="5"/>
                    </a:cubicBezTo>
                    <a:cubicBezTo>
                      <a:pt x="15" y="9"/>
                      <a:pt x="11" y="7"/>
                      <a:pt x="12" y="3"/>
                    </a:cubicBezTo>
                    <a:cubicBezTo>
                      <a:pt x="10" y="0"/>
                      <a:pt x="6" y="9"/>
                      <a:pt x="4" y="3"/>
                    </a:cubicBezTo>
                    <a:cubicBezTo>
                      <a:pt x="4" y="8"/>
                      <a:pt x="2" y="8"/>
                      <a:pt x="0" y="10"/>
                    </a:cubicBezTo>
                    <a:cubicBezTo>
                      <a:pt x="4" y="13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1" name="任意多边形: 形状 10410">
                <a:extLst>
                  <a:ext uri="{FF2B5EF4-FFF2-40B4-BE49-F238E27FC236}">
                    <a16:creationId xmlns:a16="http://schemas.microsoft.com/office/drawing/2014/main" id="{AD29A0BC-D390-4B4F-B2E6-D3413E8E0B7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2116"/>
                <a:ext cx="20" cy="23"/>
              </a:xfrm>
              <a:custGeom>
                <a:avLst/>
                <a:gdLst>
                  <a:gd name="T0" fmla="*/ 4 w 10"/>
                  <a:gd name="T1" fmla="*/ 11 h 11"/>
                  <a:gd name="T2" fmla="*/ 10 w 10"/>
                  <a:gd name="T3" fmla="*/ 7 h 11"/>
                  <a:gd name="T4" fmla="*/ 5 w 10"/>
                  <a:gd name="T5" fmla="*/ 2 h 11"/>
                  <a:gd name="T6" fmla="*/ 4 w 10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4" y="11"/>
                    </a:moveTo>
                    <a:cubicBezTo>
                      <a:pt x="4" y="9"/>
                      <a:pt x="7" y="8"/>
                      <a:pt x="10" y="7"/>
                    </a:cubicBezTo>
                    <a:cubicBezTo>
                      <a:pt x="7" y="6"/>
                      <a:pt x="5" y="0"/>
                      <a:pt x="5" y="2"/>
                    </a:cubicBezTo>
                    <a:cubicBezTo>
                      <a:pt x="9" y="8"/>
                      <a:pt x="0" y="8"/>
                      <a:pt x="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2" name="任意多边形: 形状 10411">
                <a:extLst>
                  <a:ext uri="{FF2B5EF4-FFF2-40B4-BE49-F238E27FC236}">
                    <a16:creationId xmlns:a16="http://schemas.microsoft.com/office/drawing/2014/main" id="{056C2B35-3E72-4738-B4B1-1CB039A8D5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89" y="1510"/>
                <a:ext cx="35" cy="19"/>
              </a:xfrm>
              <a:custGeom>
                <a:avLst/>
                <a:gdLst>
                  <a:gd name="T0" fmla="*/ 17 w 17"/>
                  <a:gd name="T1" fmla="*/ 3 h 9"/>
                  <a:gd name="T2" fmla="*/ 0 w 17"/>
                  <a:gd name="T3" fmla="*/ 8 h 9"/>
                  <a:gd name="T4" fmla="*/ 17 w 17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9">
                    <a:moveTo>
                      <a:pt x="17" y="3"/>
                    </a:moveTo>
                    <a:cubicBezTo>
                      <a:pt x="10" y="0"/>
                      <a:pt x="2" y="3"/>
                      <a:pt x="0" y="8"/>
                    </a:cubicBezTo>
                    <a:cubicBezTo>
                      <a:pt x="6" y="2"/>
                      <a:pt x="14" y="9"/>
                      <a:pt x="1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3" name="任意多边形: 形状 10412">
                <a:extLst>
                  <a:ext uri="{FF2B5EF4-FFF2-40B4-BE49-F238E27FC236}">
                    <a16:creationId xmlns:a16="http://schemas.microsoft.com/office/drawing/2014/main" id="{E243BB02-2EF9-4110-B639-E2591875C4B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4" y="1836"/>
                <a:ext cx="21" cy="29"/>
              </a:xfrm>
              <a:custGeom>
                <a:avLst/>
                <a:gdLst>
                  <a:gd name="T0" fmla="*/ 1 w 10"/>
                  <a:gd name="T1" fmla="*/ 14 h 14"/>
                  <a:gd name="T2" fmla="*/ 10 w 10"/>
                  <a:gd name="T3" fmla="*/ 14 h 14"/>
                  <a:gd name="T4" fmla="*/ 1 w 10"/>
                  <a:gd name="T5" fmla="*/ 0 h 14"/>
                  <a:gd name="T6" fmla="*/ 1 w 1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4">
                    <a:moveTo>
                      <a:pt x="1" y="14"/>
                    </a:moveTo>
                    <a:cubicBezTo>
                      <a:pt x="3" y="9"/>
                      <a:pt x="6" y="12"/>
                      <a:pt x="10" y="14"/>
                    </a:cubicBezTo>
                    <a:cubicBezTo>
                      <a:pt x="6" y="10"/>
                      <a:pt x="4" y="2"/>
                      <a:pt x="1" y="0"/>
                    </a:cubicBezTo>
                    <a:cubicBezTo>
                      <a:pt x="4" y="6"/>
                      <a:pt x="0" y="8"/>
                      <a:pt x="1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4" name="任意多边形: 形状 10413">
                <a:extLst>
                  <a:ext uri="{FF2B5EF4-FFF2-40B4-BE49-F238E27FC236}">
                    <a16:creationId xmlns:a16="http://schemas.microsoft.com/office/drawing/2014/main" id="{B3318F1E-C2B8-4CA1-B23A-F2BB70F59A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4" y="1824"/>
                <a:ext cx="12" cy="19"/>
              </a:xfrm>
              <a:custGeom>
                <a:avLst/>
                <a:gdLst>
                  <a:gd name="T0" fmla="*/ 1 w 6"/>
                  <a:gd name="T1" fmla="*/ 7 h 9"/>
                  <a:gd name="T2" fmla="*/ 5 w 6"/>
                  <a:gd name="T3" fmla="*/ 2 h 9"/>
                  <a:gd name="T4" fmla="*/ 1 w 6"/>
                  <a:gd name="T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9">
                    <a:moveTo>
                      <a:pt x="1" y="7"/>
                    </a:moveTo>
                    <a:cubicBezTo>
                      <a:pt x="3" y="4"/>
                      <a:pt x="6" y="6"/>
                      <a:pt x="5" y="2"/>
                    </a:cubicBezTo>
                    <a:cubicBezTo>
                      <a:pt x="1" y="0"/>
                      <a:pt x="0" y="9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5" name="任意多边形: 形状 10414">
                <a:extLst>
                  <a:ext uri="{FF2B5EF4-FFF2-40B4-BE49-F238E27FC236}">
                    <a16:creationId xmlns:a16="http://schemas.microsoft.com/office/drawing/2014/main" id="{0507B990-D0F3-4B31-9864-5CE09B784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7" y="2075"/>
                <a:ext cx="17" cy="19"/>
              </a:xfrm>
              <a:custGeom>
                <a:avLst/>
                <a:gdLst>
                  <a:gd name="T0" fmla="*/ 3 w 8"/>
                  <a:gd name="T1" fmla="*/ 6 h 9"/>
                  <a:gd name="T2" fmla="*/ 4 w 8"/>
                  <a:gd name="T3" fmla="*/ 0 h 9"/>
                  <a:gd name="T4" fmla="*/ 3 w 8"/>
                  <a:gd name="T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3" y="6"/>
                    </a:moveTo>
                    <a:cubicBezTo>
                      <a:pt x="0" y="2"/>
                      <a:pt x="8" y="4"/>
                      <a:pt x="4" y="0"/>
                    </a:cubicBezTo>
                    <a:cubicBezTo>
                      <a:pt x="1" y="1"/>
                      <a:pt x="1" y="9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6" name="任意多边形: 形状 10415">
                <a:extLst>
                  <a:ext uri="{FF2B5EF4-FFF2-40B4-BE49-F238E27FC236}">
                    <a16:creationId xmlns:a16="http://schemas.microsoft.com/office/drawing/2014/main" id="{B6AD3595-4D50-4E08-9856-F9A39A12D1E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2062"/>
                <a:ext cx="18" cy="13"/>
              </a:xfrm>
              <a:custGeom>
                <a:avLst/>
                <a:gdLst>
                  <a:gd name="T0" fmla="*/ 0 w 9"/>
                  <a:gd name="T1" fmla="*/ 1 h 6"/>
                  <a:gd name="T2" fmla="*/ 5 w 9"/>
                  <a:gd name="T3" fmla="*/ 6 h 6"/>
                  <a:gd name="T4" fmla="*/ 8 w 9"/>
                  <a:gd name="T5" fmla="*/ 2 h 6"/>
                  <a:gd name="T6" fmla="*/ 0 w 9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6">
                    <a:moveTo>
                      <a:pt x="0" y="1"/>
                    </a:moveTo>
                    <a:cubicBezTo>
                      <a:pt x="1" y="5"/>
                      <a:pt x="3" y="2"/>
                      <a:pt x="5" y="6"/>
                    </a:cubicBezTo>
                    <a:cubicBezTo>
                      <a:pt x="5" y="4"/>
                      <a:pt x="9" y="5"/>
                      <a:pt x="8" y="2"/>
                    </a:cubicBezTo>
                    <a:cubicBezTo>
                      <a:pt x="5" y="6"/>
                      <a:pt x="3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7" name="任意多边形: 形状 10416">
                <a:extLst>
                  <a:ext uri="{FF2B5EF4-FFF2-40B4-BE49-F238E27FC236}">
                    <a16:creationId xmlns:a16="http://schemas.microsoft.com/office/drawing/2014/main" id="{47A29C99-9FDE-4712-A1E9-9B2C874C36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1913"/>
                <a:ext cx="21" cy="25"/>
              </a:xfrm>
              <a:custGeom>
                <a:avLst/>
                <a:gdLst>
                  <a:gd name="T0" fmla="*/ 6 w 10"/>
                  <a:gd name="T1" fmla="*/ 0 h 12"/>
                  <a:gd name="T2" fmla="*/ 9 w 10"/>
                  <a:gd name="T3" fmla="*/ 5 h 12"/>
                  <a:gd name="T4" fmla="*/ 6 w 10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6" y="0"/>
                    </a:moveTo>
                    <a:cubicBezTo>
                      <a:pt x="0" y="0"/>
                      <a:pt x="10" y="12"/>
                      <a:pt x="9" y="5"/>
                    </a:cubicBezTo>
                    <a:cubicBezTo>
                      <a:pt x="5" y="7"/>
                      <a:pt x="7" y="2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8" name="任意多边形: 形状 10417">
                <a:extLst>
                  <a:ext uri="{FF2B5EF4-FFF2-40B4-BE49-F238E27FC236}">
                    <a16:creationId xmlns:a16="http://schemas.microsoft.com/office/drawing/2014/main" id="{1F8D585B-D2A2-4C69-B67B-CA63B87C22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1872"/>
                <a:ext cx="16" cy="14"/>
              </a:xfrm>
              <a:custGeom>
                <a:avLst/>
                <a:gdLst>
                  <a:gd name="T0" fmla="*/ 3 w 8"/>
                  <a:gd name="T1" fmla="*/ 1 h 7"/>
                  <a:gd name="T2" fmla="*/ 7 w 8"/>
                  <a:gd name="T3" fmla="*/ 5 h 7"/>
                  <a:gd name="T4" fmla="*/ 5 w 8"/>
                  <a:gd name="T5" fmla="*/ 3 h 7"/>
                  <a:gd name="T6" fmla="*/ 8 w 8"/>
                  <a:gd name="T7" fmla="*/ 0 h 7"/>
                  <a:gd name="T8" fmla="*/ 3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3" y="1"/>
                    </a:moveTo>
                    <a:cubicBezTo>
                      <a:pt x="6" y="0"/>
                      <a:pt x="4" y="7"/>
                      <a:pt x="7" y="5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2"/>
                      <a:pt x="8" y="2"/>
                      <a:pt x="8" y="0"/>
                    </a:cubicBezTo>
                    <a:cubicBezTo>
                      <a:pt x="7" y="0"/>
                      <a:pt x="0" y="0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9" name="任意多边形: 形状 10418">
                <a:extLst>
                  <a:ext uri="{FF2B5EF4-FFF2-40B4-BE49-F238E27FC236}">
                    <a16:creationId xmlns:a16="http://schemas.microsoft.com/office/drawing/2014/main" id="{B7A5A4D4-0993-4589-8237-647C3B33A8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28" y="1567"/>
                <a:ext cx="25" cy="8"/>
              </a:xfrm>
              <a:custGeom>
                <a:avLst/>
                <a:gdLst>
                  <a:gd name="T0" fmla="*/ 3 w 12"/>
                  <a:gd name="T1" fmla="*/ 3 h 4"/>
                  <a:gd name="T2" fmla="*/ 6 w 12"/>
                  <a:gd name="T3" fmla="*/ 4 h 4"/>
                  <a:gd name="T4" fmla="*/ 11 w 12"/>
                  <a:gd name="T5" fmla="*/ 1 h 4"/>
                  <a:gd name="T6" fmla="*/ 3 w 12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4">
                    <a:moveTo>
                      <a:pt x="3" y="3"/>
                    </a:moveTo>
                    <a:cubicBezTo>
                      <a:pt x="4" y="3"/>
                      <a:pt x="5" y="3"/>
                      <a:pt x="6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0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0" name="任意多边形: 形状 10419">
                <a:extLst>
                  <a:ext uri="{FF2B5EF4-FFF2-40B4-BE49-F238E27FC236}">
                    <a16:creationId xmlns:a16="http://schemas.microsoft.com/office/drawing/2014/main" id="{797DD8C8-D531-4339-8458-6322874D6C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8" y="1876"/>
                <a:ext cx="23" cy="18"/>
              </a:xfrm>
              <a:custGeom>
                <a:avLst/>
                <a:gdLst>
                  <a:gd name="T0" fmla="*/ 0 w 11"/>
                  <a:gd name="T1" fmla="*/ 3 h 9"/>
                  <a:gd name="T2" fmla="*/ 10 w 11"/>
                  <a:gd name="T3" fmla="*/ 9 h 9"/>
                  <a:gd name="T4" fmla="*/ 9 w 11"/>
                  <a:gd name="T5" fmla="*/ 4 h 9"/>
                  <a:gd name="T6" fmla="*/ 5 w 11"/>
                  <a:gd name="T7" fmla="*/ 2 h 9"/>
                  <a:gd name="T8" fmla="*/ 5 w 11"/>
                  <a:gd name="T9" fmla="*/ 0 h 9"/>
                  <a:gd name="T10" fmla="*/ 0 w 11"/>
                  <a:gd name="T1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">
                    <a:moveTo>
                      <a:pt x="0" y="3"/>
                    </a:moveTo>
                    <a:cubicBezTo>
                      <a:pt x="4" y="6"/>
                      <a:pt x="7" y="4"/>
                      <a:pt x="10" y="9"/>
                    </a:cubicBezTo>
                    <a:cubicBezTo>
                      <a:pt x="9" y="7"/>
                      <a:pt x="11" y="7"/>
                      <a:pt x="9" y="4"/>
                    </a:cubicBezTo>
                    <a:cubicBezTo>
                      <a:pt x="8" y="5"/>
                      <a:pt x="7" y="4"/>
                      <a:pt x="5" y="2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7" y="5"/>
                      <a:pt x="2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1" name="任意多边形: 形状 10420">
                <a:extLst>
                  <a:ext uri="{FF2B5EF4-FFF2-40B4-BE49-F238E27FC236}">
                    <a16:creationId xmlns:a16="http://schemas.microsoft.com/office/drawing/2014/main" id="{58634C87-8D1C-4FF0-92C8-73DDAD86AF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4" y="1888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2" name="任意多边形: 形状 10421">
                <a:extLst>
                  <a:ext uri="{FF2B5EF4-FFF2-40B4-BE49-F238E27FC236}">
                    <a16:creationId xmlns:a16="http://schemas.microsoft.com/office/drawing/2014/main" id="{0A006BB7-83AE-4974-8335-6568D2BE14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5" y="1865"/>
                <a:ext cx="23" cy="36"/>
              </a:xfrm>
              <a:custGeom>
                <a:avLst/>
                <a:gdLst>
                  <a:gd name="T0" fmla="*/ 1 w 11"/>
                  <a:gd name="T1" fmla="*/ 4 h 17"/>
                  <a:gd name="T2" fmla="*/ 0 w 11"/>
                  <a:gd name="T3" fmla="*/ 17 h 17"/>
                  <a:gd name="T4" fmla="*/ 9 w 11"/>
                  <a:gd name="T5" fmla="*/ 11 h 17"/>
                  <a:gd name="T6" fmla="*/ 9 w 11"/>
                  <a:gd name="T7" fmla="*/ 6 h 17"/>
                  <a:gd name="T8" fmla="*/ 3 w 11"/>
                  <a:gd name="T9" fmla="*/ 8 h 17"/>
                  <a:gd name="T10" fmla="*/ 9 w 11"/>
                  <a:gd name="T11" fmla="*/ 1 h 17"/>
                  <a:gd name="T12" fmla="*/ 1 w 11"/>
                  <a:gd name="T13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7">
                    <a:moveTo>
                      <a:pt x="1" y="4"/>
                    </a:moveTo>
                    <a:cubicBezTo>
                      <a:pt x="3" y="11"/>
                      <a:pt x="0" y="10"/>
                      <a:pt x="0" y="17"/>
                    </a:cubicBezTo>
                    <a:cubicBezTo>
                      <a:pt x="3" y="12"/>
                      <a:pt x="5" y="12"/>
                      <a:pt x="9" y="11"/>
                    </a:cubicBezTo>
                    <a:cubicBezTo>
                      <a:pt x="8" y="9"/>
                      <a:pt x="10" y="8"/>
                      <a:pt x="9" y="6"/>
                    </a:cubicBezTo>
                    <a:cubicBezTo>
                      <a:pt x="5" y="6"/>
                      <a:pt x="6" y="12"/>
                      <a:pt x="3" y="8"/>
                    </a:cubicBezTo>
                    <a:cubicBezTo>
                      <a:pt x="3" y="3"/>
                      <a:pt x="11" y="6"/>
                      <a:pt x="9" y="1"/>
                    </a:cubicBezTo>
                    <a:cubicBezTo>
                      <a:pt x="4" y="0"/>
                      <a:pt x="6" y="1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3" name="任意多边形: 形状 10422">
                <a:extLst>
                  <a:ext uri="{FF2B5EF4-FFF2-40B4-BE49-F238E27FC236}">
                    <a16:creationId xmlns:a16="http://schemas.microsoft.com/office/drawing/2014/main" id="{AE885A7C-5EEE-496A-8996-3265427C5F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2" y="1882"/>
                <a:ext cx="8" cy="6"/>
              </a:xfrm>
              <a:custGeom>
                <a:avLst/>
                <a:gdLst>
                  <a:gd name="T0" fmla="*/ 3 w 4"/>
                  <a:gd name="T1" fmla="*/ 0 h 3"/>
                  <a:gd name="T2" fmla="*/ 2 w 4"/>
                  <a:gd name="T3" fmla="*/ 3 h 3"/>
                  <a:gd name="T4" fmla="*/ 4 w 4"/>
                  <a:gd name="T5" fmla="*/ 3 h 3"/>
                  <a:gd name="T6" fmla="*/ 3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0" y="0"/>
                      <a:pt x="3" y="3"/>
                      <a:pt x="2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3" y="2"/>
                      <a:pt x="3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4" name="任意多边形: 形状 10423">
                <a:extLst>
                  <a:ext uri="{FF2B5EF4-FFF2-40B4-BE49-F238E27FC236}">
                    <a16:creationId xmlns:a16="http://schemas.microsoft.com/office/drawing/2014/main" id="{37A1130C-6B6F-4F96-9C2F-BB4D4A2434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3" y="1813"/>
                <a:ext cx="16" cy="27"/>
              </a:xfrm>
              <a:custGeom>
                <a:avLst/>
                <a:gdLst>
                  <a:gd name="T0" fmla="*/ 1 w 8"/>
                  <a:gd name="T1" fmla="*/ 13 h 13"/>
                  <a:gd name="T2" fmla="*/ 6 w 8"/>
                  <a:gd name="T3" fmla="*/ 0 h 13"/>
                  <a:gd name="T4" fmla="*/ 1 w 8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cubicBezTo>
                      <a:pt x="1" y="7"/>
                      <a:pt x="8" y="6"/>
                      <a:pt x="6" y="0"/>
                    </a:cubicBezTo>
                    <a:cubicBezTo>
                      <a:pt x="4" y="4"/>
                      <a:pt x="0" y="8"/>
                      <a:pt x="1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5" name="任意多边形: 形状 10424">
                <a:extLst>
                  <a:ext uri="{FF2B5EF4-FFF2-40B4-BE49-F238E27FC236}">
                    <a16:creationId xmlns:a16="http://schemas.microsoft.com/office/drawing/2014/main" id="{250413E4-05FB-4F10-91D8-59CDCFB046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1836"/>
                <a:ext cx="48" cy="46"/>
              </a:xfrm>
              <a:custGeom>
                <a:avLst/>
                <a:gdLst>
                  <a:gd name="T0" fmla="*/ 21 w 23"/>
                  <a:gd name="T1" fmla="*/ 3 h 22"/>
                  <a:gd name="T2" fmla="*/ 16 w 23"/>
                  <a:gd name="T3" fmla="*/ 1 h 22"/>
                  <a:gd name="T4" fmla="*/ 15 w 23"/>
                  <a:gd name="T5" fmla="*/ 7 h 22"/>
                  <a:gd name="T6" fmla="*/ 13 w 23"/>
                  <a:gd name="T7" fmla="*/ 5 h 22"/>
                  <a:gd name="T8" fmla="*/ 14 w 23"/>
                  <a:gd name="T9" fmla="*/ 2 h 22"/>
                  <a:gd name="T10" fmla="*/ 12 w 23"/>
                  <a:gd name="T11" fmla="*/ 7 h 22"/>
                  <a:gd name="T12" fmla="*/ 0 w 23"/>
                  <a:gd name="T13" fmla="*/ 15 h 22"/>
                  <a:gd name="T14" fmla="*/ 0 w 23"/>
                  <a:gd name="T15" fmla="*/ 22 h 22"/>
                  <a:gd name="T16" fmla="*/ 9 w 23"/>
                  <a:gd name="T17" fmla="*/ 16 h 22"/>
                  <a:gd name="T18" fmla="*/ 10 w 23"/>
                  <a:gd name="T19" fmla="*/ 22 h 22"/>
                  <a:gd name="T20" fmla="*/ 11 w 23"/>
                  <a:gd name="T21" fmla="*/ 16 h 22"/>
                  <a:gd name="T22" fmla="*/ 19 w 23"/>
                  <a:gd name="T23" fmla="*/ 15 h 22"/>
                  <a:gd name="T24" fmla="*/ 17 w 23"/>
                  <a:gd name="T25" fmla="*/ 10 h 22"/>
                  <a:gd name="T26" fmla="*/ 22 w 23"/>
                  <a:gd name="T27" fmla="*/ 12 h 22"/>
                  <a:gd name="T28" fmla="*/ 21 w 23"/>
                  <a:gd name="T29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22">
                    <a:moveTo>
                      <a:pt x="21" y="3"/>
                    </a:moveTo>
                    <a:cubicBezTo>
                      <a:pt x="20" y="7"/>
                      <a:pt x="18" y="1"/>
                      <a:pt x="16" y="1"/>
                    </a:cubicBezTo>
                    <a:cubicBezTo>
                      <a:pt x="18" y="6"/>
                      <a:pt x="13" y="3"/>
                      <a:pt x="15" y="7"/>
                    </a:cubicBezTo>
                    <a:cubicBezTo>
                      <a:pt x="14" y="6"/>
                      <a:pt x="13" y="6"/>
                      <a:pt x="13" y="5"/>
                    </a:cubicBezTo>
                    <a:cubicBezTo>
                      <a:pt x="13" y="4"/>
                      <a:pt x="14" y="3"/>
                      <a:pt x="14" y="2"/>
                    </a:cubicBezTo>
                    <a:cubicBezTo>
                      <a:pt x="10" y="0"/>
                      <a:pt x="12" y="5"/>
                      <a:pt x="12" y="7"/>
                    </a:cubicBezTo>
                    <a:cubicBezTo>
                      <a:pt x="5" y="11"/>
                      <a:pt x="2" y="9"/>
                      <a:pt x="0" y="15"/>
                    </a:cubicBezTo>
                    <a:cubicBezTo>
                      <a:pt x="1" y="15"/>
                      <a:pt x="0" y="20"/>
                      <a:pt x="0" y="22"/>
                    </a:cubicBezTo>
                    <a:cubicBezTo>
                      <a:pt x="5" y="21"/>
                      <a:pt x="3" y="12"/>
                      <a:pt x="9" y="16"/>
                    </a:cubicBezTo>
                    <a:cubicBezTo>
                      <a:pt x="8" y="19"/>
                      <a:pt x="9" y="21"/>
                      <a:pt x="10" y="22"/>
                    </a:cubicBezTo>
                    <a:cubicBezTo>
                      <a:pt x="11" y="20"/>
                      <a:pt x="11" y="18"/>
                      <a:pt x="11" y="16"/>
                    </a:cubicBezTo>
                    <a:cubicBezTo>
                      <a:pt x="14" y="13"/>
                      <a:pt x="16" y="15"/>
                      <a:pt x="19" y="15"/>
                    </a:cubicBezTo>
                    <a:cubicBezTo>
                      <a:pt x="18" y="14"/>
                      <a:pt x="16" y="11"/>
                      <a:pt x="17" y="10"/>
                    </a:cubicBezTo>
                    <a:cubicBezTo>
                      <a:pt x="18" y="10"/>
                      <a:pt x="22" y="17"/>
                      <a:pt x="22" y="12"/>
                    </a:cubicBezTo>
                    <a:cubicBezTo>
                      <a:pt x="19" y="11"/>
                      <a:pt x="23" y="6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6" name="任意多边形: 形状 10425">
                <a:extLst>
                  <a:ext uri="{FF2B5EF4-FFF2-40B4-BE49-F238E27FC236}">
                    <a16:creationId xmlns:a16="http://schemas.microsoft.com/office/drawing/2014/main" id="{90FBCA48-FB90-4EE2-8429-1BFE941D1E1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8" y="2036"/>
                <a:ext cx="21" cy="12"/>
              </a:xfrm>
              <a:custGeom>
                <a:avLst/>
                <a:gdLst>
                  <a:gd name="T0" fmla="*/ 1 w 10"/>
                  <a:gd name="T1" fmla="*/ 6 h 6"/>
                  <a:gd name="T2" fmla="*/ 10 w 10"/>
                  <a:gd name="T3" fmla="*/ 4 h 6"/>
                  <a:gd name="T4" fmla="*/ 2 w 10"/>
                  <a:gd name="T5" fmla="*/ 1 h 6"/>
                  <a:gd name="T6" fmla="*/ 1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1" y="6"/>
                    </a:moveTo>
                    <a:cubicBezTo>
                      <a:pt x="4" y="5"/>
                      <a:pt x="5" y="1"/>
                      <a:pt x="10" y="4"/>
                    </a:cubicBezTo>
                    <a:cubicBezTo>
                      <a:pt x="8" y="0"/>
                      <a:pt x="5" y="3"/>
                      <a:pt x="2" y="1"/>
                    </a:cubicBezTo>
                    <a:cubicBezTo>
                      <a:pt x="4" y="3"/>
                      <a:pt x="0" y="4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7" name="任意多边形: 形状 10426">
                <a:extLst>
                  <a:ext uri="{FF2B5EF4-FFF2-40B4-BE49-F238E27FC236}">
                    <a16:creationId xmlns:a16="http://schemas.microsoft.com/office/drawing/2014/main" id="{8285F9E8-CA20-420E-9CBE-8BC6B06445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1" y="1803"/>
                <a:ext cx="11" cy="15"/>
              </a:xfrm>
              <a:custGeom>
                <a:avLst/>
                <a:gdLst>
                  <a:gd name="T0" fmla="*/ 0 w 5"/>
                  <a:gd name="T1" fmla="*/ 3 h 7"/>
                  <a:gd name="T2" fmla="*/ 1 w 5"/>
                  <a:gd name="T3" fmla="*/ 7 h 7"/>
                  <a:gd name="T4" fmla="*/ 4 w 5"/>
                  <a:gd name="T5" fmla="*/ 0 h 7"/>
                  <a:gd name="T6" fmla="*/ 0 w 5"/>
                  <a:gd name="T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cubicBezTo>
                      <a:pt x="1" y="5"/>
                      <a:pt x="1" y="6"/>
                      <a:pt x="1" y="7"/>
                    </a:cubicBezTo>
                    <a:cubicBezTo>
                      <a:pt x="4" y="6"/>
                      <a:pt x="5" y="4"/>
                      <a:pt x="4" y="0"/>
                    </a:cubicBezTo>
                    <a:cubicBezTo>
                      <a:pt x="3" y="3"/>
                      <a:pt x="3" y="5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8" name="任意多边形: 形状 10427">
                <a:extLst>
                  <a:ext uri="{FF2B5EF4-FFF2-40B4-BE49-F238E27FC236}">
                    <a16:creationId xmlns:a16="http://schemas.microsoft.com/office/drawing/2014/main" id="{1633D709-2BD0-4BF6-ACD3-6CA2D96A61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7" y="1782"/>
                <a:ext cx="18" cy="17"/>
              </a:xfrm>
              <a:custGeom>
                <a:avLst/>
                <a:gdLst>
                  <a:gd name="T0" fmla="*/ 1 w 9"/>
                  <a:gd name="T1" fmla="*/ 4 h 8"/>
                  <a:gd name="T2" fmla="*/ 4 w 9"/>
                  <a:gd name="T3" fmla="*/ 7 h 8"/>
                  <a:gd name="T4" fmla="*/ 9 w 9"/>
                  <a:gd name="T5" fmla="*/ 7 h 8"/>
                  <a:gd name="T6" fmla="*/ 9 w 9"/>
                  <a:gd name="T7" fmla="*/ 3 h 8"/>
                  <a:gd name="T8" fmla="*/ 6 w 9"/>
                  <a:gd name="T9" fmla="*/ 6 h 8"/>
                  <a:gd name="T10" fmla="*/ 1 w 9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1" y="4"/>
                    </a:moveTo>
                    <a:cubicBezTo>
                      <a:pt x="2" y="4"/>
                      <a:pt x="3" y="5"/>
                      <a:pt x="4" y="7"/>
                    </a:cubicBezTo>
                    <a:cubicBezTo>
                      <a:pt x="6" y="8"/>
                      <a:pt x="7" y="6"/>
                      <a:pt x="9" y="7"/>
                    </a:cubicBezTo>
                    <a:cubicBezTo>
                      <a:pt x="8" y="5"/>
                      <a:pt x="9" y="4"/>
                      <a:pt x="9" y="3"/>
                    </a:cubicBezTo>
                    <a:cubicBezTo>
                      <a:pt x="6" y="1"/>
                      <a:pt x="7" y="5"/>
                      <a:pt x="6" y="6"/>
                    </a:cubicBezTo>
                    <a:cubicBezTo>
                      <a:pt x="4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9" name="任意多边形: 形状 10428">
                <a:extLst>
                  <a:ext uri="{FF2B5EF4-FFF2-40B4-BE49-F238E27FC236}">
                    <a16:creationId xmlns:a16="http://schemas.microsoft.com/office/drawing/2014/main" id="{3F362777-2B1D-447F-A908-B1FCF0D1D3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46" y="2067"/>
                <a:ext cx="21" cy="25"/>
              </a:xfrm>
              <a:custGeom>
                <a:avLst/>
                <a:gdLst>
                  <a:gd name="T0" fmla="*/ 0 w 10"/>
                  <a:gd name="T1" fmla="*/ 5 h 12"/>
                  <a:gd name="T2" fmla="*/ 1 w 10"/>
                  <a:gd name="T3" fmla="*/ 12 h 12"/>
                  <a:gd name="T4" fmla="*/ 10 w 10"/>
                  <a:gd name="T5" fmla="*/ 8 h 12"/>
                  <a:gd name="T6" fmla="*/ 0 w 10"/>
                  <a:gd name="T7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5"/>
                    </a:moveTo>
                    <a:cubicBezTo>
                      <a:pt x="4" y="6"/>
                      <a:pt x="0" y="10"/>
                      <a:pt x="1" y="12"/>
                    </a:cubicBezTo>
                    <a:cubicBezTo>
                      <a:pt x="5" y="11"/>
                      <a:pt x="7" y="7"/>
                      <a:pt x="10" y="8"/>
                    </a:cubicBezTo>
                    <a:cubicBezTo>
                      <a:pt x="7" y="7"/>
                      <a:pt x="1" y="0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0" name="任意多边形: 形状 10429">
                <a:extLst>
                  <a:ext uri="{FF2B5EF4-FFF2-40B4-BE49-F238E27FC236}">
                    <a16:creationId xmlns:a16="http://schemas.microsoft.com/office/drawing/2014/main" id="{F400356B-4979-44F0-BD66-91876C1E20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9" y="1957"/>
                <a:ext cx="11" cy="10"/>
              </a:xfrm>
              <a:custGeom>
                <a:avLst/>
                <a:gdLst>
                  <a:gd name="T0" fmla="*/ 5 w 5"/>
                  <a:gd name="T1" fmla="*/ 3 h 5"/>
                  <a:gd name="T2" fmla="*/ 3 w 5"/>
                  <a:gd name="T3" fmla="*/ 0 h 5"/>
                  <a:gd name="T4" fmla="*/ 0 w 5"/>
                  <a:gd name="T5" fmla="*/ 5 h 5"/>
                  <a:gd name="T6" fmla="*/ 3 w 5"/>
                  <a:gd name="T7" fmla="*/ 4 h 5"/>
                  <a:gd name="T8" fmla="*/ 3 w 5"/>
                  <a:gd name="T9" fmla="*/ 1 h 5"/>
                  <a:gd name="T10" fmla="*/ 5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2"/>
                      <a:pt x="0" y="5"/>
                    </a:cubicBezTo>
                    <a:cubicBezTo>
                      <a:pt x="1" y="4"/>
                      <a:pt x="2" y="5"/>
                      <a:pt x="3" y="4"/>
                    </a:cubicBezTo>
                    <a:cubicBezTo>
                      <a:pt x="3" y="3"/>
                      <a:pt x="2" y="2"/>
                      <a:pt x="3" y="1"/>
                    </a:cubicBezTo>
                    <a:cubicBezTo>
                      <a:pt x="4" y="2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1" name="任意多边形: 形状 10430">
                <a:extLst>
                  <a:ext uri="{FF2B5EF4-FFF2-40B4-BE49-F238E27FC236}">
                    <a16:creationId xmlns:a16="http://schemas.microsoft.com/office/drawing/2014/main" id="{1B111E71-4BC3-4021-BDE2-FB2EE78BC2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6" y="1801"/>
                <a:ext cx="19" cy="10"/>
              </a:xfrm>
              <a:custGeom>
                <a:avLst/>
                <a:gdLst>
                  <a:gd name="T0" fmla="*/ 4 w 9"/>
                  <a:gd name="T1" fmla="*/ 0 h 5"/>
                  <a:gd name="T2" fmla="*/ 3 w 9"/>
                  <a:gd name="T3" fmla="*/ 5 h 5"/>
                  <a:gd name="T4" fmla="*/ 5 w 9"/>
                  <a:gd name="T5" fmla="*/ 1 h 5"/>
                  <a:gd name="T6" fmla="*/ 6 w 9"/>
                  <a:gd name="T7" fmla="*/ 5 h 5"/>
                  <a:gd name="T8" fmla="*/ 4 w 9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5">
                    <a:moveTo>
                      <a:pt x="4" y="0"/>
                    </a:moveTo>
                    <a:cubicBezTo>
                      <a:pt x="2" y="0"/>
                      <a:pt x="0" y="5"/>
                      <a:pt x="3" y="5"/>
                    </a:cubicBezTo>
                    <a:cubicBezTo>
                      <a:pt x="2" y="3"/>
                      <a:pt x="3" y="2"/>
                      <a:pt x="5" y="1"/>
                    </a:cubicBezTo>
                    <a:cubicBezTo>
                      <a:pt x="6" y="3"/>
                      <a:pt x="6" y="4"/>
                      <a:pt x="6" y="5"/>
                    </a:cubicBezTo>
                    <a:cubicBezTo>
                      <a:pt x="9" y="3"/>
                      <a:pt x="6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2" name="任意多边形: 形状 10431">
                <a:extLst>
                  <a:ext uri="{FF2B5EF4-FFF2-40B4-BE49-F238E27FC236}">
                    <a16:creationId xmlns:a16="http://schemas.microsoft.com/office/drawing/2014/main" id="{15394519-1146-4BEA-A9A2-D1DCC2C826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8" y="1677"/>
                <a:ext cx="23" cy="18"/>
              </a:xfrm>
              <a:custGeom>
                <a:avLst/>
                <a:gdLst>
                  <a:gd name="T0" fmla="*/ 2 w 11"/>
                  <a:gd name="T1" fmla="*/ 9 h 9"/>
                  <a:gd name="T2" fmla="*/ 11 w 11"/>
                  <a:gd name="T3" fmla="*/ 0 h 9"/>
                  <a:gd name="T4" fmla="*/ 2 w 11"/>
                  <a:gd name="T5" fmla="*/ 4 h 9"/>
                  <a:gd name="T6" fmla="*/ 2 w 11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9">
                    <a:moveTo>
                      <a:pt x="2" y="9"/>
                    </a:moveTo>
                    <a:cubicBezTo>
                      <a:pt x="4" y="6"/>
                      <a:pt x="11" y="5"/>
                      <a:pt x="11" y="0"/>
                    </a:cubicBezTo>
                    <a:cubicBezTo>
                      <a:pt x="8" y="3"/>
                      <a:pt x="6" y="4"/>
                      <a:pt x="2" y="4"/>
                    </a:cubicBezTo>
                    <a:cubicBezTo>
                      <a:pt x="5" y="7"/>
                      <a:pt x="0" y="6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3" name="任意多边形: 形状 10432">
                <a:extLst>
                  <a:ext uri="{FF2B5EF4-FFF2-40B4-BE49-F238E27FC236}">
                    <a16:creationId xmlns:a16="http://schemas.microsoft.com/office/drawing/2014/main" id="{7994B77E-25D0-4941-85D2-73C73823B4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1774"/>
                <a:ext cx="39" cy="54"/>
              </a:xfrm>
              <a:custGeom>
                <a:avLst/>
                <a:gdLst>
                  <a:gd name="T0" fmla="*/ 14 w 19"/>
                  <a:gd name="T1" fmla="*/ 7 h 26"/>
                  <a:gd name="T2" fmla="*/ 10 w 19"/>
                  <a:gd name="T3" fmla="*/ 6 h 26"/>
                  <a:gd name="T4" fmla="*/ 13 w 19"/>
                  <a:gd name="T5" fmla="*/ 0 h 26"/>
                  <a:gd name="T6" fmla="*/ 0 w 19"/>
                  <a:gd name="T7" fmla="*/ 11 h 26"/>
                  <a:gd name="T8" fmla="*/ 2 w 19"/>
                  <a:gd name="T9" fmla="*/ 17 h 26"/>
                  <a:gd name="T10" fmla="*/ 11 w 19"/>
                  <a:gd name="T11" fmla="*/ 13 h 26"/>
                  <a:gd name="T12" fmla="*/ 16 w 19"/>
                  <a:gd name="T13" fmla="*/ 24 h 26"/>
                  <a:gd name="T14" fmla="*/ 14 w 19"/>
                  <a:gd name="T15" fmla="*/ 22 h 26"/>
                  <a:gd name="T16" fmla="*/ 17 w 19"/>
                  <a:gd name="T17" fmla="*/ 26 h 26"/>
                  <a:gd name="T18" fmla="*/ 19 w 19"/>
                  <a:gd name="T19" fmla="*/ 22 h 26"/>
                  <a:gd name="T20" fmla="*/ 14 w 19"/>
                  <a:gd name="T21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26">
                    <a:moveTo>
                      <a:pt x="14" y="7"/>
                    </a:moveTo>
                    <a:cubicBezTo>
                      <a:pt x="13" y="6"/>
                      <a:pt x="11" y="8"/>
                      <a:pt x="10" y="6"/>
                    </a:cubicBezTo>
                    <a:cubicBezTo>
                      <a:pt x="10" y="4"/>
                      <a:pt x="16" y="5"/>
                      <a:pt x="13" y="0"/>
                    </a:cubicBezTo>
                    <a:cubicBezTo>
                      <a:pt x="8" y="7"/>
                      <a:pt x="1" y="6"/>
                      <a:pt x="0" y="11"/>
                    </a:cubicBezTo>
                    <a:cubicBezTo>
                      <a:pt x="1" y="10"/>
                      <a:pt x="2" y="16"/>
                      <a:pt x="2" y="17"/>
                    </a:cubicBezTo>
                    <a:cubicBezTo>
                      <a:pt x="6" y="15"/>
                      <a:pt x="11" y="19"/>
                      <a:pt x="11" y="13"/>
                    </a:cubicBezTo>
                    <a:cubicBezTo>
                      <a:pt x="14" y="17"/>
                      <a:pt x="19" y="20"/>
                      <a:pt x="16" y="24"/>
                    </a:cubicBezTo>
                    <a:cubicBezTo>
                      <a:pt x="15" y="23"/>
                      <a:pt x="15" y="22"/>
                      <a:pt x="14" y="22"/>
                    </a:cubicBezTo>
                    <a:cubicBezTo>
                      <a:pt x="15" y="24"/>
                      <a:pt x="16" y="26"/>
                      <a:pt x="17" y="26"/>
                    </a:cubicBezTo>
                    <a:cubicBezTo>
                      <a:pt x="16" y="24"/>
                      <a:pt x="17" y="23"/>
                      <a:pt x="19" y="22"/>
                    </a:cubicBezTo>
                    <a:cubicBezTo>
                      <a:pt x="16" y="14"/>
                      <a:pt x="17" y="14"/>
                      <a:pt x="1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4" name="任意多边形: 形状 10433">
                <a:extLst>
                  <a:ext uri="{FF2B5EF4-FFF2-40B4-BE49-F238E27FC236}">
                    <a16:creationId xmlns:a16="http://schemas.microsoft.com/office/drawing/2014/main" id="{8265311D-2370-42B9-A1BC-64AC6BE4D1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805"/>
                <a:ext cx="52" cy="56"/>
              </a:xfrm>
              <a:custGeom>
                <a:avLst/>
                <a:gdLst>
                  <a:gd name="T0" fmla="*/ 25 w 25"/>
                  <a:gd name="T1" fmla="*/ 7 h 27"/>
                  <a:gd name="T2" fmla="*/ 22 w 25"/>
                  <a:gd name="T3" fmla="*/ 6 h 27"/>
                  <a:gd name="T4" fmla="*/ 17 w 25"/>
                  <a:gd name="T5" fmla="*/ 6 h 27"/>
                  <a:gd name="T6" fmla="*/ 14 w 25"/>
                  <a:gd name="T7" fmla="*/ 0 h 27"/>
                  <a:gd name="T8" fmla="*/ 11 w 25"/>
                  <a:gd name="T9" fmla="*/ 3 h 27"/>
                  <a:gd name="T10" fmla="*/ 13 w 25"/>
                  <a:gd name="T11" fmla="*/ 8 h 27"/>
                  <a:gd name="T12" fmla="*/ 17 w 25"/>
                  <a:gd name="T13" fmla="*/ 9 h 27"/>
                  <a:gd name="T14" fmla="*/ 5 w 25"/>
                  <a:gd name="T15" fmla="*/ 8 h 27"/>
                  <a:gd name="T16" fmla="*/ 0 w 25"/>
                  <a:gd name="T17" fmla="*/ 14 h 27"/>
                  <a:gd name="T18" fmla="*/ 2 w 25"/>
                  <a:gd name="T19" fmla="*/ 19 h 27"/>
                  <a:gd name="T20" fmla="*/ 14 w 25"/>
                  <a:gd name="T21" fmla="*/ 27 h 27"/>
                  <a:gd name="T22" fmla="*/ 8 w 25"/>
                  <a:gd name="T23" fmla="*/ 19 h 27"/>
                  <a:gd name="T24" fmla="*/ 17 w 25"/>
                  <a:gd name="T25" fmla="*/ 12 h 27"/>
                  <a:gd name="T26" fmla="*/ 25 w 25"/>
                  <a:gd name="T27" fmla="*/ 11 h 27"/>
                  <a:gd name="T28" fmla="*/ 25 w 25"/>
                  <a:gd name="T29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27">
                    <a:moveTo>
                      <a:pt x="25" y="7"/>
                    </a:moveTo>
                    <a:cubicBezTo>
                      <a:pt x="24" y="8"/>
                      <a:pt x="23" y="8"/>
                      <a:pt x="22" y="6"/>
                    </a:cubicBezTo>
                    <a:cubicBezTo>
                      <a:pt x="20" y="8"/>
                      <a:pt x="19" y="10"/>
                      <a:pt x="17" y="6"/>
                    </a:cubicBezTo>
                    <a:cubicBezTo>
                      <a:pt x="21" y="6"/>
                      <a:pt x="15" y="5"/>
                      <a:pt x="14" y="0"/>
                    </a:cubicBezTo>
                    <a:cubicBezTo>
                      <a:pt x="13" y="1"/>
                      <a:pt x="11" y="1"/>
                      <a:pt x="11" y="3"/>
                    </a:cubicBezTo>
                    <a:cubicBezTo>
                      <a:pt x="16" y="1"/>
                      <a:pt x="9" y="8"/>
                      <a:pt x="13" y="8"/>
                    </a:cubicBezTo>
                    <a:cubicBezTo>
                      <a:pt x="12" y="5"/>
                      <a:pt x="16" y="6"/>
                      <a:pt x="17" y="9"/>
                    </a:cubicBezTo>
                    <a:cubicBezTo>
                      <a:pt x="13" y="11"/>
                      <a:pt x="9" y="7"/>
                      <a:pt x="5" y="8"/>
                    </a:cubicBezTo>
                    <a:cubicBezTo>
                      <a:pt x="9" y="14"/>
                      <a:pt x="3" y="16"/>
                      <a:pt x="0" y="14"/>
                    </a:cubicBezTo>
                    <a:cubicBezTo>
                      <a:pt x="0" y="18"/>
                      <a:pt x="2" y="16"/>
                      <a:pt x="2" y="19"/>
                    </a:cubicBezTo>
                    <a:cubicBezTo>
                      <a:pt x="6" y="18"/>
                      <a:pt x="10" y="26"/>
                      <a:pt x="14" y="27"/>
                    </a:cubicBezTo>
                    <a:cubicBezTo>
                      <a:pt x="13" y="24"/>
                      <a:pt x="7" y="21"/>
                      <a:pt x="8" y="19"/>
                    </a:cubicBezTo>
                    <a:cubicBezTo>
                      <a:pt x="15" y="24"/>
                      <a:pt x="13" y="16"/>
                      <a:pt x="17" y="12"/>
                    </a:cubicBezTo>
                    <a:cubicBezTo>
                      <a:pt x="22" y="15"/>
                      <a:pt x="21" y="10"/>
                      <a:pt x="25" y="11"/>
                    </a:cubicBezTo>
                    <a:cubicBezTo>
                      <a:pt x="24" y="9"/>
                      <a:pt x="25" y="9"/>
                      <a:pt x="2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5" name="任意多边形: 形状 10434">
                <a:extLst>
                  <a:ext uri="{FF2B5EF4-FFF2-40B4-BE49-F238E27FC236}">
                    <a16:creationId xmlns:a16="http://schemas.microsoft.com/office/drawing/2014/main" id="{C5DAB16E-B172-4EA2-8165-B161D75AB8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2" y="2017"/>
                <a:ext cx="4" cy="2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6" name="任意多边形: 形状 10435">
                <a:extLst>
                  <a:ext uri="{FF2B5EF4-FFF2-40B4-BE49-F238E27FC236}">
                    <a16:creationId xmlns:a16="http://schemas.microsoft.com/office/drawing/2014/main" id="{88445C60-4D44-4266-98DA-B669D53547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6" y="2004"/>
                <a:ext cx="31" cy="21"/>
              </a:xfrm>
              <a:custGeom>
                <a:avLst/>
                <a:gdLst>
                  <a:gd name="T0" fmla="*/ 15 w 15"/>
                  <a:gd name="T1" fmla="*/ 3 h 10"/>
                  <a:gd name="T2" fmla="*/ 14 w 15"/>
                  <a:gd name="T3" fmla="*/ 0 h 10"/>
                  <a:gd name="T4" fmla="*/ 0 w 15"/>
                  <a:gd name="T5" fmla="*/ 6 h 10"/>
                  <a:gd name="T6" fmla="*/ 8 w 15"/>
                  <a:gd name="T7" fmla="*/ 9 h 10"/>
                  <a:gd name="T8" fmla="*/ 7 w 15"/>
                  <a:gd name="T9" fmla="*/ 5 h 10"/>
                  <a:gd name="T10" fmla="*/ 15 w 15"/>
                  <a:gd name="T11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15" y="3"/>
                    </a:moveTo>
                    <a:cubicBezTo>
                      <a:pt x="14" y="3"/>
                      <a:pt x="14" y="2"/>
                      <a:pt x="14" y="0"/>
                    </a:cubicBezTo>
                    <a:cubicBezTo>
                      <a:pt x="10" y="4"/>
                      <a:pt x="3" y="4"/>
                      <a:pt x="0" y="6"/>
                    </a:cubicBezTo>
                    <a:cubicBezTo>
                      <a:pt x="3" y="5"/>
                      <a:pt x="5" y="10"/>
                      <a:pt x="8" y="9"/>
                    </a:cubicBezTo>
                    <a:cubicBezTo>
                      <a:pt x="9" y="6"/>
                      <a:pt x="5" y="7"/>
                      <a:pt x="7" y="5"/>
                    </a:cubicBezTo>
                    <a:cubicBezTo>
                      <a:pt x="10" y="2"/>
                      <a:pt x="14" y="6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7" name="任意多边形: 形状 10436">
                <a:extLst>
                  <a:ext uri="{FF2B5EF4-FFF2-40B4-BE49-F238E27FC236}">
                    <a16:creationId xmlns:a16="http://schemas.microsoft.com/office/drawing/2014/main" id="{2A5E9423-E26D-44BD-A82F-4E417983C1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687"/>
                <a:ext cx="17" cy="14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1 h 7"/>
                  <a:gd name="T4" fmla="*/ 1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4" y="4"/>
                      <a:pt x="7" y="5"/>
                      <a:pt x="8" y="1"/>
                    </a:cubicBezTo>
                    <a:cubicBezTo>
                      <a:pt x="5" y="4"/>
                      <a:pt x="0" y="0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8" name="任意多边形: 形状 10437">
                <a:extLst>
                  <a:ext uri="{FF2B5EF4-FFF2-40B4-BE49-F238E27FC236}">
                    <a16:creationId xmlns:a16="http://schemas.microsoft.com/office/drawing/2014/main" id="{F7E8D121-8CDC-4AAC-AC19-74DA60B64D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1" y="1674"/>
                <a:ext cx="15" cy="21"/>
              </a:xfrm>
              <a:custGeom>
                <a:avLst/>
                <a:gdLst>
                  <a:gd name="T0" fmla="*/ 1 w 7"/>
                  <a:gd name="T1" fmla="*/ 0 h 10"/>
                  <a:gd name="T2" fmla="*/ 0 w 7"/>
                  <a:gd name="T3" fmla="*/ 7 h 10"/>
                  <a:gd name="T4" fmla="*/ 6 w 7"/>
                  <a:gd name="T5" fmla="*/ 5 h 10"/>
                  <a:gd name="T6" fmla="*/ 3 w 7"/>
                  <a:gd name="T7" fmla="*/ 4 h 10"/>
                  <a:gd name="T8" fmla="*/ 1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1" y="0"/>
                    </a:moveTo>
                    <a:cubicBezTo>
                      <a:pt x="2" y="3"/>
                      <a:pt x="0" y="4"/>
                      <a:pt x="0" y="7"/>
                    </a:cubicBezTo>
                    <a:cubicBezTo>
                      <a:pt x="2" y="3"/>
                      <a:pt x="7" y="10"/>
                      <a:pt x="6" y="5"/>
                    </a:cubicBezTo>
                    <a:cubicBezTo>
                      <a:pt x="5" y="5"/>
                      <a:pt x="4" y="5"/>
                      <a:pt x="3" y="4"/>
                    </a:cubicBezTo>
                    <a:cubicBezTo>
                      <a:pt x="2" y="2"/>
                      <a:pt x="3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9" name="任意多边形: 形状 10438">
                <a:extLst>
                  <a:ext uri="{FF2B5EF4-FFF2-40B4-BE49-F238E27FC236}">
                    <a16:creationId xmlns:a16="http://schemas.microsoft.com/office/drawing/2014/main" id="{90FC8BEA-5DAF-4309-9175-DBBEA572F8E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6" y="1795"/>
                <a:ext cx="11" cy="23"/>
              </a:xfrm>
              <a:custGeom>
                <a:avLst/>
                <a:gdLst>
                  <a:gd name="T0" fmla="*/ 3 w 5"/>
                  <a:gd name="T1" fmla="*/ 0 h 11"/>
                  <a:gd name="T2" fmla="*/ 2 w 5"/>
                  <a:gd name="T3" fmla="*/ 11 h 11"/>
                  <a:gd name="T4" fmla="*/ 4 w 5"/>
                  <a:gd name="T5" fmla="*/ 8 h 11"/>
                  <a:gd name="T6" fmla="*/ 3 w 5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1">
                    <a:moveTo>
                      <a:pt x="3" y="0"/>
                    </a:moveTo>
                    <a:cubicBezTo>
                      <a:pt x="0" y="2"/>
                      <a:pt x="1" y="10"/>
                      <a:pt x="2" y="11"/>
                    </a:cubicBezTo>
                    <a:cubicBezTo>
                      <a:pt x="1" y="9"/>
                      <a:pt x="2" y="9"/>
                      <a:pt x="4" y="8"/>
                    </a:cubicBezTo>
                    <a:cubicBezTo>
                      <a:pt x="0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0" name="任意多边形: 形状 10439">
                <a:extLst>
                  <a:ext uri="{FF2B5EF4-FFF2-40B4-BE49-F238E27FC236}">
                    <a16:creationId xmlns:a16="http://schemas.microsoft.com/office/drawing/2014/main" id="{352EE4ED-CF72-46D9-BEFF-A6CE727398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5" y="1718"/>
                <a:ext cx="10" cy="19"/>
              </a:xfrm>
              <a:custGeom>
                <a:avLst/>
                <a:gdLst>
                  <a:gd name="T0" fmla="*/ 3 w 5"/>
                  <a:gd name="T1" fmla="*/ 0 h 9"/>
                  <a:gd name="T2" fmla="*/ 1 w 5"/>
                  <a:gd name="T3" fmla="*/ 9 h 9"/>
                  <a:gd name="T4" fmla="*/ 3 w 5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3" y="0"/>
                    </a:moveTo>
                    <a:cubicBezTo>
                      <a:pt x="0" y="2"/>
                      <a:pt x="3" y="6"/>
                      <a:pt x="1" y="9"/>
                    </a:cubicBezTo>
                    <a:cubicBezTo>
                      <a:pt x="5" y="7"/>
                      <a:pt x="3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1" name="任意多边形: 形状 10440">
                <a:extLst>
                  <a:ext uri="{FF2B5EF4-FFF2-40B4-BE49-F238E27FC236}">
                    <a16:creationId xmlns:a16="http://schemas.microsoft.com/office/drawing/2014/main" id="{7ADD8A8D-8457-4913-8C09-CE1EAEEBAA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8" y="1681"/>
                <a:ext cx="46" cy="25"/>
              </a:xfrm>
              <a:custGeom>
                <a:avLst/>
                <a:gdLst>
                  <a:gd name="T0" fmla="*/ 4 w 22"/>
                  <a:gd name="T1" fmla="*/ 6 h 12"/>
                  <a:gd name="T2" fmla="*/ 1 w 22"/>
                  <a:gd name="T3" fmla="*/ 12 h 12"/>
                  <a:gd name="T4" fmla="*/ 22 w 22"/>
                  <a:gd name="T5" fmla="*/ 4 h 12"/>
                  <a:gd name="T6" fmla="*/ 22 w 22"/>
                  <a:gd name="T7" fmla="*/ 1 h 12"/>
                  <a:gd name="T8" fmla="*/ 11 w 22"/>
                  <a:gd name="T9" fmla="*/ 4 h 12"/>
                  <a:gd name="T10" fmla="*/ 13 w 22"/>
                  <a:gd name="T11" fmla="*/ 6 h 12"/>
                  <a:gd name="T12" fmla="*/ 4 w 22"/>
                  <a:gd name="T1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4" y="6"/>
                    </a:moveTo>
                    <a:cubicBezTo>
                      <a:pt x="3" y="8"/>
                      <a:pt x="0" y="9"/>
                      <a:pt x="1" y="12"/>
                    </a:cubicBezTo>
                    <a:cubicBezTo>
                      <a:pt x="10" y="8"/>
                      <a:pt x="15" y="9"/>
                      <a:pt x="22" y="4"/>
                    </a:cubicBezTo>
                    <a:cubicBezTo>
                      <a:pt x="21" y="2"/>
                      <a:pt x="21" y="1"/>
                      <a:pt x="22" y="1"/>
                    </a:cubicBezTo>
                    <a:cubicBezTo>
                      <a:pt x="20" y="0"/>
                      <a:pt x="14" y="3"/>
                      <a:pt x="11" y="4"/>
                    </a:cubicBezTo>
                    <a:cubicBezTo>
                      <a:pt x="12" y="4"/>
                      <a:pt x="14" y="5"/>
                      <a:pt x="13" y="6"/>
                    </a:cubicBezTo>
                    <a:cubicBezTo>
                      <a:pt x="10" y="7"/>
                      <a:pt x="7" y="5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2" name="任意多边形: 形状 10441">
                <a:extLst>
                  <a:ext uri="{FF2B5EF4-FFF2-40B4-BE49-F238E27FC236}">
                    <a16:creationId xmlns:a16="http://schemas.microsoft.com/office/drawing/2014/main" id="{F19BCF8F-517A-444B-99F3-C2D52EEFA3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1585"/>
                <a:ext cx="19" cy="13"/>
              </a:xfrm>
              <a:custGeom>
                <a:avLst/>
                <a:gdLst>
                  <a:gd name="T0" fmla="*/ 9 w 9"/>
                  <a:gd name="T1" fmla="*/ 0 h 6"/>
                  <a:gd name="T2" fmla="*/ 9 w 9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6">
                    <a:moveTo>
                      <a:pt x="9" y="0"/>
                    </a:moveTo>
                    <a:cubicBezTo>
                      <a:pt x="0" y="2"/>
                      <a:pt x="5" y="6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3" name="任意多边形: 形状 10442">
                <a:extLst>
                  <a:ext uri="{FF2B5EF4-FFF2-40B4-BE49-F238E27FC236}">
                    <a16:creationId xmlns:a16="http://schemas.microsoft.com/office/drawing/2014/main" id="{E6E5F9E3-5C1E-456F-A9B6-9468498EA1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6" y="1747"/>
                <a:ext cx="12" cy="15"/>
              </a:xfrm>
              <a:custGeom>
                <a:avLst/>
                <a:gdLst>
                  <a:gd name="T0" fmla="*/ 0 w 6"/>
                  <a:gd name="T1" fmla="*/ 6 h 7"/>
                  <a:gd name="T2" fmla="*/ 5 w 6"/>
                  <a:gd name="T3" fmla="*/ 1 h 7"/>
                  <a:gd name="T4" fmla="*/ 0 w 6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0" y="6"/>
                    </a:moveTo>
                    <a:cubicBezTo>
                      <a:pt x="2" y="1"/>
                      <a:pt x="6" y="7"/>
                      <a:pt x="5" y="1"/>
                    </a:cubicBezTo>
                    <a:cubicBezTo>
                      <a:pt x="2" y="0"/>
                      <a:pt x="0" y="4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4" name="任意多边形: 形状 10443">
                <a:extLst>
                  <a:ext uri="{FF2B5EF4-FFF2-40B4-BE49-F238E27FC236}">
                    <a16:creationId xmlns:a16="http://schemas.microsoft.com/office/drawing/2014/main" id="{88FB7DE8-19AB-4FC9-92FC-A02E4EEE08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8" y="1755"/>
                <a:ext cx="42" cy="36"/>
              </a:xfrm>
              <a:custGeom>
                <a:avLst/>
                <a:gdLst>
                  <a:gd name="T0" fmla="*/ 4 w 20"/>
                  <a:gd name="T1" fmla="*/ 5 h 17"/>
                  <a:gd name="T2" fmla="*/ 2 w 20"/>
                  <a:gd name="T3" fmla="*/ 0 h 17"/>
                  <a:gd name="T4" fmla="*/ 0 w 20"/>
                  <a:gd name="T5" fmla="*/ 1 h 17"/>
                  <a:gd name="T6" fmla="*/ 0 w 20"/>
                  <a:gd name="T7" fmla="*/ 3 h 17"/>
                  <a:gd name="T8" fmla="*/ 4 w 20"/>
                  <a:gd name="T9" fmla="*/ 6 h 17"/>
                  <a:gd name="T10" fmla="*/ 1 w 20"/>
                  <a:gd name="T11" fmla="*/ 12 h 17"/>
                  <a:gd name="T12" fmla="*/ 5 w 20"/>
                  <a:gd name="T13" fmla="*/ 12 h 17"/>
                  <a:gd name="T14" fmla="*/ 8 w 20"/>
                  <a:gd name="T15" fmla="*/ 9 h 17"/>
                  <a:gd name="T16" fmla="*/ 12 w 20"/>
                  <a:gd name="T17" fmla="*/ 17 h 17"/>
                  <a:gd name="T18" fmla="*/ 18 w 20"/>
                  <a:gd name="T19" fmla="*/ 12 h 17"/>
                  <a:gd name="T20" fmla="*/ 11 w 20"/>
                  <a:gd name="T21" fmla="*/ 9 h 17"/>
                  <a:gd name="T22" fmla="*/ 15 w 20"/>
                  <a:gd name="T23" fmla="*/ 8 h 17"/>
                  <a:gd name="T24" fmla="*/ 4 w 20"/>
                  <a:gd name="T2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7">
                    <a:moveTo>
                      <a:pt x="4" y="5"/>
                    </a:moveTo>
                    <a:cubicBezTo>
                      <a:pt x="3" y="2"/>
                      <a:pt x="4" y="2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3"/>
                      <a:pt x="0" y="3"/>
                    </a:cubicBezTo>
                    <a:cubicBezTo>
                      <a:pt x="2" y="7"/>
                      <a:pt x="3" y="2"/>
                      <a:pt x="4" y="6"/>
                    </a:cubicBezTo>
                    <a:cubicBezTo>
                      <a:pt x="4" y="9"/>
                      <a:pt x="0" y="9"/>
                      <a:pt x="1" y="12"/>
                    </a:cubicBezTo>
                    <a:cubicBezTo>
                      <a:pt x="2" y="9"/>
                      <a:pt x="3" y="12"/>
                      <a:pt x="5" y="12"/>
                    </a:cubicBezTo>
                    <a:cubicBezTo>
                      <a:pt x="3" y="10"/>
                      <a:pt x="7" y="10"/>
                      <a:pt x="8" y="9"/>
                    </a:cubicBezTo>
                    <a:cubicBezTo>
                      <a:pt x="9" y="12"/>
                      <a:pt x="10" y="14"/>
                      <a:pt x="12" y="17"/>
                    </a:cubicBezTo>
                    <a:cubicBezTo>
                      <a:pt x="13" y="13"/>
                      <a:pt x="20" y="13"/>
                      <a:pt x="18" y="12"/>
                    </a:cubicBezTo>
                    <a:cubicBezTo>
                      <a:pt x="16" y="10"/>
                      <a:pt x="13" y="14"/>
                      <a:pt x="11" y="9"/>
                    </a:cubicBezTo>
                    <a:cubicBezTo>
                      <a:pt x="12" y="9"/>
                      <a:pt x="13" y="9"/>
                      <a:pt x="15" y="8"/>
                    </a:cubicBezTo>
                    <a:cubicBezTo>
                      <a:pt x="12" y="4"/>
                      <a:pt x="6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5" name="任意多边形: 形状 10444">
                <a:extLst>
                  <a:ext uri="{FF2B5EF4-FFF2-40B4-BE49-F238E27FC236}">
                    <a16:creationId xmlns:a16="http://schemas.microsoft.com/office/drawing/2014/main" id="{B25BB1B1-44D2-47D6-82F8-307C58BC02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7" y="1784"/>
                <a:ext cx="11" cy="19"/>
              </a:xfrm>
              <a:custGeom>
                <a:avLst/>
                <a:gdLst>
                  <a:gd name="T0" fmla="*/ 0 w 5"/>
                  <a:gd name="T1" fmla="*/ 8 h 9"/>
                  <a:gd name="T2" fmla="*/ 5 w 5"/>
                  <a:gd name="T3" fmla="*/ 1 h 9"/>
                  <a:gd name="T4" fmla="*/ 0 w 5"/>
                  <a:gd name="T5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0" y="8"/>
                    </a:moveTo>
                    <a:cubicBezTo>
                      <a:pt x="3" y="9"/>
                      <a:pt x="3" y="3"/>
                      <a:pt x="5" y="1"/>
                    </a:cubicBezTo>
                    <a:cubicBezTo>
                      <a:pt x="2" y="0"/>
                      <a:pt x="1" y="5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6" name="任意多边形: 形状 10445">
                <a:extLst>
                  <a:ext uri="{FF2B5EF4-FFF2-40B4-BE49-F238E27FC236}">
                    <a16:creationId xmlns:a16="http://schemas.microsoft.com/office/drawing/2014/main" id="{709F0D89-05F4-469A-87EB-8AD25586D21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7" y="2040"/>
                <a:ext cx="21" cy="18"/>
              </a:xfrm>
              <a:custGeom>
                <a:avLst/>
                <a:gdLst>
                  <a:gd name="T0" fmla="*/ 10 w 10"/>
                  <a:gd name="T1" fmla="*/ 6 h 9"/>
                  <a:gd name="T2" fmla="*/ 0 w 10"/>
                  <a:gd name="T3" fmla="*/ 0 h 9"/>
                  <a:gd name="T4" fmla="*/ 1 w 10"/>
                  <a:gd name="T5" fmla="*/ 7 h 9"/>
                  <a:gd name="T6" fmla="*/ 2 w 10"/>
                  <a:gd name="T7" fmla="*/ 3 h 9"/>
                  <a:gd name="T8" fmla="*/ 10 w 10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4"/>
                      <a:pt x="3" y="3"/>
                      <a:pt x="0" y="0"/>
                    </a:cubicBezTo>
                    <a:cubicBezTo>
                      <a:pt x="0" y="2"/>
                      <a:pt x="1" y="5"/>
                      <a:pt x="1" y="7"/>
                    </a:cubicBezTo>
                    <a:cubicBezTo>
                      <a:pt x="3" y="6"/>
                      <a:pt x="2" y="4"/>
                      <a:pt x="2" y="3"/>
                    </a:cubicBezTo>
                    <a:cubicBezTo>
                      <a:pt x="4" y="7"/>
                      <a:pt x="9" y="9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7" name="任意多边形: 形状 10446">
                <a:extLst>
                  <a:ext uri="{FF2B5EF4-FFF2-40B4-BE49-F238E27FC236}">
                    <a16:creationId xmlns:a16="http://schemas.microsoft.com/office/drawing/2014/main" id="{6A684209-C26D-4E1B-B866-93BB4AD44B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7" y="1747"/>
                <a:ext cx="11" cy="25"/>
              </a:xfrm>
              <a:custGeom>
                <a:avLst/>
                <a:gdLst>
                  <a:gd name="T0" fmla="*/ 0 w 5"/>
                  <a:gd name="T1" fmla="*/ 8 h 12"/>
                  <a:gd name="T2" fmla="*/ 5 w 5"/>
                  <a:gd name="T3" fmla="*/ 6 h 12"/>
                  <a:gd name="T4" fmla="*/ 1 w 5"/>
                  <a:gd name="T5" fmla="*/ 1 h 12"/>
                  <a:gd name="T6" fmla="*/ 0 w 5"/>
                  <a:gd name="T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2">
                    <a:moveTo>
                      <a:pt x="0" y="8"/>
                    </a:moveTo>
                    <a:cubicBezTo>
                      <a:pt x="3" y="12"/>
                      <a:pt x="4" y="9"/>
                      <a:pt x="5" y="6"/>
                    </a:cubicBezTo>
                    <a:cubicBezTo>
                      <a:pt x="2" y="4"/>
                      <a:pt x="4" y="0"/>
                      <a:pt x="1" y="1"/>
                    </a:cubicBezTo>
                    <a:cubicBezTo>
                      <a:pt x="3" y="5"/>
                      <a:pt x="3" y="8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8" name="任意多边形: 形状 10447">
                <a:extLst>
                  <a:ext uri="{FF2B5EF4-FFF2-40B4-BE49-F238E27FC236}">
                    <a16:creationId xmlns:a16="http://schemas.microsoft.com/office/drawing/2014/main" id="{25741CFB-B257-46FB-9ECC-A938B74FC3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4" y="1677"/>
                <a:ext cx="19" cy="18"/>
              </a:xfrm>
              <a:custGeom>
                <a:avLst/>
                <a:gdLst>
                  <a:gd name="T0" fmla="*/ 3 w 9"/>
                  <a:gd name="T1" fmla="*/ 9 h 9"/>
                  <a:gd name="T2" fmla="*/ 7 w 9"/>
                  <a:gd name="T3" fmla="*/ 6 h 9"/>
                  <a:gd name="T4" fmla="*/ 1 w 9"/>
                  <a:gd name="T5" fmla="*/ 1 h 9"/>
                  <a:gd name="T6" fmla="*/ 3 w 9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3" y="9"/>
                    </a:moveTo>
                    <a:cubicBezTo>
                      <a:pt x="4" y="9"/>
                      <a:pt x="9" y="9"/>
                      <a:pt x="7" y="6"/>
                    </a:cubicBezTo>
                    <a:cubicBezTo>
                      <a:pt x="5" y="4"/>
                      <a:pt x="0" y="0"/>
                      <a:pt x="1" y="1"/>
                    </a:cubicBezTo>
                    <a:cubicBezTo>
                      <a:pt x="7" y="5"/>
                      <a:pt x="2" y="9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9" name="任意多边形: 形状 10448">
                <a:extLst>
                  <a:ext uri="{FF2B5EF4-FFF2-40B4-BE49-F238E27FC236}">
                    <a16:creationId xmlns:a16="http://schemas.microsoft.com/office/drawing/2014/main" id="{954D5AFE-4B36-4921-8156-3DF478AD7C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16" y="1857"/>
                <a:ext cx="17" cy="19"/>
              </a:xfrm>
              <a:custGeom>
                <a:avLst/>
                <a:gdLst>
                  <a:gd name="T0" fmla="*/ 7 w 8"/>
                  <a:gd name="T1" fmla="*/ 8 h 9"/>
                  <a:gd name="T2" fmla="*/ 6 w 8"/>
                  <a:gd name="T3" fmla="*/ 0 h 9"/>
                  <a:gd name="T4" fmla="*/ 3 w 8"/>
                  <a:gd name="T5" fmla="*/ 6 h 9"/>
                  <a:gd name="T6" fmla="*/ 7 w 8"/>
                  <a:gd name="T7" fmla="*/ 5 h 9"/>
                  <a:gd name="T8" fmla="*/ 7 w 8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7" y="8"/>
                    </a:moveTo>
                    <a:cubicBezTo>
                      <a:pt x="8" y="4"/>
                      <a:pt x="6" y="4"/>
                      <a:pt x="6" y="0"/>
                    </a:cubicBezTo>
                    <a:cubicBezTo>
                      <a:pt x="4" y="0"/>
                      <a:pt x="0" y="5"/>
                      <a:pt x="3" y="6"/>
                    </a:cubicBezTo>
                    <a:cubicBezTo>
                      <a:pt x="2" y="4"/>
                      <a:pt x="6" y="4"/>
                      <a:pt x="7" y="5"/>
                    </a:cubicBezTo>
                    <a:cubicBezTo>
                      <a:pt x="5" y="5"/>
                      <a:pt x="4" y="9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0" name="任意多边形: 形状 10449">
                <a:extLst>
                  <a:ext uri="{FF2B5EF4-FFF2-40B4-BE49-F238E27FC236}">
                    <a16:creationId xmlns:a16="http://schemas.microsoft.com/office/drawing/2014/main" id="{75F8B8A2-AC09-4D5E-A59A-9108876DC7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1" y="1699"/>
                <a:ext cx="23" cy="27"/>
              </a:xfrm>
              <a:custGeom>
                <a:avLst/>
                <a:gdLst>
                  <a:gd name="T0" fmla="*/ 0 w 11"/>
                  <a:gd name="T1" fmla="*/ 6 h 13"/>
                  <a:gd name="T2" fmla="*/ 10 w 11"/>
                  <a:gd name="T3" fmla="*/ 9 h 13"/>
                  <a:gd name="T4" fmla="*/ 8 w 11"/>
                  <a:gd name="T5" fmla="*/ 0 h 13"/>
                  <a:gd name="T6" fmla="*/ 8 w 11"/>
                  <a:gd name="T7" fmla="*/ 7 h 13"/>
                  <a:gd name="T8" fmla="*/ 0 w 11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cubicBezTo>
                      <a:pt x="4" y="13"/>
                      <a:pt x="7" y="9"/>
                      <a:pt x="10" y="9"/>
                    </a:cubicBezTo>
                    <a:cubicBezTo>
                      <a:pt x="9" y="6"/>
                      <a:pt x="11" y="4"/>
                      <a:pt x="8" y="0"/>
                    </a:cubicBezTo>
                    <a:cubicBezTo>
                      <a:pt x="10" y="7"/>
                      <a:pt x="2" y="3"/>
                      <a:pt x="8" y="7"/>
                    </a:cubicBezTo>
                    <a:cubicBezTo>
                      <a:pt x="5" y="9"/>
                      <a:pt x="2" y="7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1" name="任意多边形: 形状 10450">
                <a:extLst>
                  <a:ext uri="{FF2B5EF4-FFF2-40B4-BE49-F238E27FC236}">
                    <a16:creationId xmlns:a16="http://schemas.microsoft.com/office/drawing/2014/main" id="{9902CDEF-29A7-42E0-8A92-D03D0B42557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5" y="1581"/>
                <a:ext cx="21" cy="19"/>
              </a:xfrm>
              <a:custGeom>
                <a:avLst/>
                <a:gdLst>
                  <a:gd name="T0" fmla="*/ 6 w 10"/>
                  <a:gd name="T1" fmla="*/ 9 h 9"/>
                  <a:gd name="T2" fmla="*/ 10 w 10"/>
                  <a:gd name="T3" fmla="*/ 5 h 9"/>
                  <a:gd name="T4" fmla="*/ 0 w 10"/>
                  <a:gd name="T5" fmla="*/ 6 h 9"/>
                  <a:gd name="T6" fmla="*/ 6 w 10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6" y="9"/>
                    </a:moveTo>
                    <a:cubicBezTo>
                      <a:pt x="7" y="5"/>
                      <a:pt x="10" y="8"/>
                      <a:pt x="10" y="5"/>
                    </a:cubicBezTo>
                    <a:cubicBezTo>
                      <a:pt x="7" y="6"/>
                      <a:pt x="1" y="0"/>
                      <a:pt x="0" y="6"/>
                    </a:cubicBezTo>
                    <a:cubicBezTo>
                      <a:pt x="3" y="4"/>
                      <a:pt x="6" y="5"/>
                      <a:pt x="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2" name="任意多边形: 形状 10451">
                <a:extLst>
                  <a:ext uri="{FF2B5EF4-FFF2-40B4-BE49-F238E27FC236}">
                    <a16:creationId xmlns:a16="http://schemas.microsoft.com/office/drawing/2014/main" id="{0020469B-4EE6-4920-8016-D2A3143AA9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6" y="1510"/>
                <a:ext cx="18" cy="38"/>
              </a:xfrm>
              <a:custGeom>
                <a:avLst/>
                <a:gdLst>
                  <a:gd name="T0" fmla="*/ 9 w 9"/>
                  <a:gd name="T1" fmla="*/ 16 h 18"/>
                  <a:gd name="T2" fmla="*/ 5 w 9"/>
                  <a:gd name="T3" fmla="*/ 0 h 18"/>
                  <a:gd name="T4" fmla="*/ 9 w 9"/>
                  <a:gd name="T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8">
                    <a:moveTo>
                      <a:pt x="9" y="16"/>
                    </a:moveTo>
                    <a:cubicBezTo>
                      <a:pt x="7" y="11"/>
                      <a:pt x="4" y="5"/>
                      <a:pt x="5" y="0"/>
                    </a:cubicBezTo>
                    <a:cubicBezTo>
                      <a:pt x="0" y="2"/>
                      <a:pt x="9" y="18"/>
                      <a:pt x="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3" name="任意多边形: 形状 10452">
                <a:extLst>
                  <a:ext uri="{FF2B5EF4-FFF2-40B4-BE49-F238E27FC236}">
                    <a16:creationId xmlns:a16="http://schemas.microsoft.com/office/drawing/2014/main" id="{C3E5D5CB-B2D8-4F33-9C76-5A60A14816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3" y="1517"/>
                <a:ext cx="13" cy="20"/>
              </a:xfrm>
              <a:custGeom>
                <a:avLst/>
                <a:gdLst>
                  <a:gd name="T0" fmla="*/ 1 w 6"/>
                  <a:gd name="T1" fmla="*/ 10 h 10"/>
                  <a:gd name="T2" fmla="*/ 3 w 6"/>
                  <a:gd name="T3" fmla="*/ 0 h 10"/>
                  <a:gd name="T4" fmla="*/ 1 w 6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cubicBezTo>
                      <a:pt x="3" y="7"/>
                      <a:pt x="6" y="2"/>
                      <a:pt x="3" y="0"/>
                    </a:cubicBezTo>
                    <a:cubicBezTo>
                      <a:pt x="5" y="4"/>
                      <a:pt x="0" y="5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4" name="任意多边形: 形状 10453">
                <a:extLst>
                  <a:ext uri="{FF2B5EF4-FFF2-40B4-BE49-F238E27FC236}">
                    <a16:creationId xmlns:a16="http://schemas.microsoft.com/office/drawing/2014/main" id="{9048B6DC-E385-4C7F-BE76-85B8BB8655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" y="2023"/>
                <a:ext cx="23" cy="21"/>
              </a:xfrm>
              <a:custGeom>
                <a:avLst/>
                <a:gdLst>
                  <a:gd name="T0" fmla="*/ 2 w 11"/>
                  <a:gd name="T1" fmla="*/ 8 h 10"/>
                  <a:gd name="T2" fmla="*/ 11 w 11"/>
                  <a:gd name="T3" fmla="*/ 0 h 10"/>
                  <a:gd name="T4" fmla="*/ 5 w 11"/>
                  <a:gd name="T5" fmla="*/ 2 h 10"/>
                  <a:gd name="T6" fmla="*/ 2 w 11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2" y="8"/>
                    </a:moveTo>
                    <a:cubicBezTo>
                      <a:pt x="8" y="6"/>
                      <a:pt x="9" y="5"/>
                      <a:pt x="11" y="0"/>
                    </a:cubicBezTo>
                    <a:cubicBezTo>
                      <a:pt x="8" y="2"/>
                      <a:pt x="8" y="3"/>
                      <a:pt x="5" y="2"/>
                    </a:cubicBezTo>
                    <a:cubicBezTo>
                      <a:pt x="9" y="10"/>
                      <a:pt x="0" y="3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5" name="任意多边形: 形状 10454">
                <a:extLst>
                  <a:ext uri="{FF2B5EF4-FFF2-40B4-BE49-F238E27FC236}">
                    <a16:creationId xmlns:a16="http://schemas.microsoft.com/office/drawing/2014/main" id="{CC7F1F37-5C40-4FF4-BBA7-8D41DE4A38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1" y="1948"/>
                <a:ext cx="27" cy="21"/>
              </a:xfrm>
              <a:custGeom>
                <a:avLst/>
                <a:gdLst>
                  <a:gd name="T0" fmla="*/ 0 w 13"/>
                  <a:gd name="T1" fmla="*/ 10 h 10"/>
                  <a:gd name="T2" fmla="*/ 12 w 13"/>
                  <a:gd name="T3" fmla="*/ 0 h 10"/>
                  <a:gd name="T4" fmla="*/ 0 w 13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0" y="10"/>
                    </a:moveTo>
                    <a:cubicBezTo>
                      <a:pt x="3" y="7"/>
                      <a:pt x="13" y="8"/>
                      <a:pt x="12" y="0"/>
                    </a:cubicBezTo>
                    <a:cubicBezTo>
                      <a:pt x="11" y="6"/>
                      <a:pt x="2" y="4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6" name="任意多边形: 形状 10455">
                <a:extLst>
                  <a:ext uri="{FF2B5EF4-FFF2-40B4-BE49-F238E27FC236}">
                    <a16:creationId xmlns:a16="http://schemas.microsoft.com/office/drawing/2014/main" id="{C61AFF8D-2498-4A9E-BD04-020FC6E5D5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6" y="1832"/>
                <a:ext cx="15" cy="21"/>
              </a:xfrm>
              <a:custGeom>
                <a:avLst/>
                <a:gdLst>
                  <a:gd name="T0" fmla="*/ 6 w 7"/>
                  <a:gd name="T1" fmla="*/ 10 h 10"/>
                  <a:gd name="T2" fmla="*/ 7 w 7"/>
                  <a:gd name="T3" fmla="*/ 10 h 10"/>
                  <a:gd name="T4" fmla="*/ 7 w 7"/>
                  <a:gd name="T5" fmla="*/ 7 h 10"/>
                  <a:gd name="T6" fmla="*/ 1 w 7"/>
                  <a:gd name="T7" fmla="*/ 6 h 10"/>
                  <a:gd name="T8" fmla="*/ 2 w 7"/>
                  <a:gd name="T9" fmla="*/ 8 h 10"/>
                  <a:gd name="T10" fmla="*/ 6 w 7"/>
                  <a:gd name="T11" fmla="*/ 9 h 10"/>
                  <a:gd name="T12" fmla="*/ 6 w 7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0">
                    <a:moveTo>
                      <a:pt x="6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8"/>
                      <a:pt x="7" y="8"/>
                      <a:pt x="7" y="7"/>
                    </a:cubicBezTo>
                    <a:cubicBezTo>
                      <a:pt x="5" y="10"/>
                      <a:pt x="0" y="0"/>
                      <a:pt x="1" y="6"/>
                    </a:cubicBezTo>
                    <a:cubicBezTo>
                      <a:pt x="2" y="5"/>
                      <a:pt x="2" y="7"/>
                      <a:pt x="2" y="8"/>
                    </a:cubicBezTo>
                    <a:cubicBezTo>
                      <a:pt x="4" y="7"/>
                      <a:pt x="5" y="8"/>
                      <a:pt x="6" y="9"/>
                    </a:cubicBezTo>
                    <a:cubicBezTo>
                      <a:pt x="5" y="9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7" name="任意多边形: 形状 10456">
                <a:extLst>
                  <a:ext uri="{FF2B5EF4-FFF2-40B4-BE49-F238E27FC236}">
                    <a16:creationId xmlns:a16="http://schemas.microsoft.com/office/drawing/2014/main" id="{BDCBBFAB-428D-4057-8DD3-5244E0E4E2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01" y="1950"/>
                <a:ext cx="58" cy="63"/>
              </a:xfrm>
              <a:custGeom>
                <a:avLst/>
                <a:gdLst>
                  <a:gd name="T0" fmla="*/ 10 w 28"/>
                  <a:gd name="T1" fmla="*/ 13 h 30"/>
                  <a:gd name="T2" fmla="*/ 6 w 28"/>
                  <a:gd name="T3" fmla="*/ 10 h 30"/>
                  <a:gd name="T4" fmla="*/ 0 w 28"/>
                  <a:gd name="T5" fmla="*/ 16 h 30"/>
                  <a:gd name="T6" fmla="*/ 2 w 28"/>
                  <a:gd name="T7" fmla="*/ 16 h 30"/>
                  <a:gd name="T8" fmla="*/ 3 w 28"/>
                  <a:gd name="T9" fmla="*/ 17 h 30"/>
                  <a:gd name="T10" fmla="*/ 5 w 28"/>
                  <a:gd name="T11" fmla="*/ 14 h 30"/>
                  <a:gd name="T12" fmla="*/ 9 w 28"/>
                  <a:gd name="T13" fmla="*/ 18 h 30"/>
                  <a:gd name="T14" fmla="*/ 9 w 28"/>
                  <a:gd name="T15" fmla="*/ 25 h 30"/>
                  <a:gd name="T16" fmla="*/ 22 w 28"/>
                  <a:gd name="T17" fmla="*/ 30 h 30"/>
                  <a:gd name="T18" fmla="*/ 11 w 28"/>
                  <a:gd name="T19" fmla="*/ 23 h 30"/>
                  <a:gd name="T20" fmla="*/ 11 w 28"/>
                  <a:gd name="T21" fmla="*/ 15 h 30"/>
                  <a:gd name="T22" fmla="*/ 17 w 28"/>
                  <a:gd name="T23" fmla="*/ 18 h 30"/>
                  <a:gd name="T24" fmla="*/ 15 w 28"/>
                  <a:gd name="T25" fmla="*/ 14 h 30"/>
                  <a:gd name="T26" fmla="*/ 18 w 28"/>
                  <a:gd name="T27" fmla="*/ 11 h 30"/>
                  <a:gd name="T28" fmla="*/ 21 w 28"/>
                  <a:gd name="T29" fmla="*/ 15 h 30"/>
                  <a:gd name="T30" fmla="*/ 17 w 28"/>
                  <a:gd name="T31" fmla="*/ 14 h 30"/>
                  <a:gd name="T32" fmla="*/ 19 w 28"/>
                  <a:gd name="T33" fmla="*/ 19 h 30"/>
                  <a:gd name="T34" fmla="*/ 27 w 28"/>
                  <a:gd name="T35" fmla="*/ 8 h 30"/>
                  <a:gd name="T36" fmla="*/ 24 w 28"/>
                  <a:gd name="T37" fmla="*/ 12 h 30"/>
                  <a:gd name="T38" fmla="*/ 24 w 28"/>
                  <a:gd name="T39" fmla="*/ 7 h 30"/>
                  <a:gd name="T40" fmla="*/ 18 w 28"/>
                  <a:gd name="T41" fmla="*/ 9 h 30"/>
                  <a:gd name="T42" fmla="*/ 15 w 28"/>
                  <a:gd name="T43" fmla="*/ 7 h 30"/>
                  <a:gd name="T44" fmla="*/ 16 w 28"/>
                  <a:gd name="T45" fmla="*/ 10 h 30"/>
                  <a:gd name="T46" fmla="*/ 13 w 28"/>
                  <a:gd name="T47" fmla="*/ 10 h 30"/>
                  <a:gd name="T48" fmla="*/ 13 w 28"/>
                  <a:gd name="T49" fmla="*/ 2 h 30"/>
                  <a:gd name="T50" fmla="*/ 12 w 28"/>
                  <a:gd name="T51" fmla="*/ 8 h 30"/>
                  <a:gd name="T52" fmla="*/ 10 w 28"/>
                  <a:gd name="T5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30">
                    <a:moveTo>
                      <a:pt x="10" y="13"/>
                    </a:moveTo>
                    <a:cubicBezTo>
                      <a:pt x="7" y="9"/>
                      <a:pt x="7" y="16"/>
                      <a:pt x="6" y="10"/>
                    </a:cubicBezTo>
                    <a:cubicBezTo>
                      <a:pt x="6" y="15"/>
                      <a:pt x="0" y="11"/>
                      <a:pt x="0" y="16"/>
                    </a:cubicBezTo>
                    <a:cubicBezTo>
                      <a:pt x="1" y="15"/>
                      <a:pt x="1" y="15"/>
                      <a:pt x="2" y="16"/>
                    </a:cubicBezTo>
                    <a:cubicBezTo>
                      <a:pt x="2" y="17"/>
                      <a:pt x="3" y="18"/>
                      <a:pt x="3" y="17"/>
                    </a:cubicBezTo>
                    <a:cubicBezTo>
                      <a:pt x="3" y="16"/>
                      <a:pt x="4" y="15"/>
                      <a:pt x="5" y="14"/>
                    </a:cubicBezTo>
                    <a:cubicBezTo>
                      <a:pt x="6" y="19"/>
                      <a:pt x="7" y="19"/>
                      <a:pt x="9" y="18"/>
                    </a:cubicBezTo>
                    <a:cubicBezTo>
                      <a:pt x="10" y="21"/>
                      <a:pt x="13" y="25"/>
                      <a:pt x="9" y="25"/>
                    </a:cubicBezTo>
                    <a:cubicBezTo>
                      <a:pt x="13" y="29"/>
                      <a:pt x="17" y="28"/>
                      <a:pt x="22" y="30"/>
                    </a:cubicBezTo>
                    <a:cubicBezTo>
                      <a:pt x="18" y="25"/>
                      <a:pt x="15" y="28"/>
                      <a:pt x="11" y="23"/>
                    </a:cubicBezTo>
                    <a:cubicBezTo>
                      <a:pt x="15" y="22"/>
                      <a:pt x="8" y="16"/>
                      <a:pt x="11" y="15"/>
                    </a:cubicBezTo>
                    <a:cubicBezTo>
                      <a:pt x="15" y="13"/>
                      <a:pt x="14" y="20"/>
                      <a:pt x="17" y="18"/>
                    </a:cubicBezTo>
                    <a:cubicBezTo>
                      <a:pt x="19" y="16"/>
                      <a:pt x="13" y="15"/>
                      <a:pt x="15" y="14"/>
                    </a:cubicBezTo>
                    <a:cubicBezTo>
                      <a:pt x="19" y="17"/>
                      <a:pt x="16" y="11"/>
                      <a:pt x="18" y="11"/>
                    </a:cubicBezTo>
                    <a:cubicBezTo>
                      <a:pt x="19" y="11"/>
                      <a:pt x="23" y="14"/>
                      <a:pt x="21" y="15"/>
                    </a:cubicBezTo>
                    <a:cubicBezTo>
                      <a:pt x="20" y="16"/>
                      <a:pt x="19" y="15"/>
                      <a:pt x="17" y="14"/>
                    </a:cubicBezTo>
                    <a:cubicBezTo>
                      <a:pt x="19" y="16"/>
                      <a:pt x="19" y="18"/>
                      <a:pt x="19" y="19"/>
                    </a:cubicBezTo>
                    <a:cubicBezTo>
                      <a:pt x="22" y="17"/>
                      <a:pt x="28" y="16"/>
                      <a:pt x="27" y="8"/>
                    </a:cubicBezTo>
                    <a:cubicBezTo>
                      <a:pt x="24" y="7"/>
                      <a:pt x="27" y="11"/>
                      <a:pt x="24" y="12"/>
                    </a:cubicBezTo>
                    <a:cubicBezTo>
                      <a:pt x="19" y="8"/>
                      <a:pt x="19" y="6"/>
                      <a:pt x="24" y="7"/>
                    </a:cubicBezTo>
                    <a:cubicBezTo>
                      <a:pt x="21" y="3"/>
                      <a:pt x="18" y="5"/>
                      <a:pt x="18" y="9"/>
                    </a:cubicBezTo>
                    <a:cubicBezTo>
                      <a:pt x="17" y="7"/>
                      <a:pt x="16" y="7"/>
                      <a:pt x="15" y="7"/>
                    </a:cubicBezTo>
                    <a:cubicBezTo>
                      <a:pt x="16" y="8"/>
                      <a:pt x="17" y="10"/>
                      <a:pt x="16" y="10"/>
                    </a:cubicBezTo>
                    <a:cubicBezTo>
                      <a:pt x="15" y="11"/>
                      <a:pt x="14" y="11"/>
                      <a:pt x="13" y="10"/>
                    </a:cubicBezTo>
                    <a:cubicBezTo>
                      <a:pt x="13" y="7"/>
                      <a:pt x="13" y="4"/>
                      <a:pt x="13" y="2"/>
                    </a:cubicBezTo>
                    <a:cubicBezTo>
                      <a:pt x="11" y="0"/>
                      <a:pt x="10" y="8"/>
                      <a:pt x="12" y="8"/>
                    </a:cubicBezTo>
                    <a:cubicBezTo>
                      <a:pt x="10" y="9"/>
                      <a:pt x="11" y="12"/>
                      <a:pt x="1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8" name="任意多边形: 形状 10457">
                <a:extLst>
                  <a:ext uri="{FF2B5EF4-FFF2-40B4-BE49-F238E27FC236}">
                    <a16:creationId xmlns:a16="http://schemas.microsoft.com/office/drawing/2014/main" id="{CD5F772D-DA88-4D0F-974F-33B94F1EE8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7" y="1950"/>
                <a:ext cx="17" cy="13"/>
              </a:xfrm>
              <a:custGeom>
                <a:avLst/>
                <a:gdLst>
                  <a:gd name="T0" fmla="*/ 0 w 8"/>
                  <a:gd name="T1" fmla="*/ 1 h 6"/>
                  <a:gd name="T2" fmla="*/ 8 w 8"/>
                  <a:gd name="T3" fmla="*/ 6 h 6"/>
                  <a:gd name="T4" fmla="*/ 0 w 8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0" y="1"/>
                    </a:moveTo>
                    <a:cubicBezTo>
                      <a:pt x="2" y="3"/>
                      <a:pt x="5" y="6"/>
                      <a:pt x="8" y="6"/>
                    </a:cubicBezTo>
                    <a:cubicBezTo>
                      <a:pt x="5" y="3"/>
                      <a:pt x="3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9" name="任意多边形: 形状 10458">
                <a:extLst>
                  <a:ext uri="{FF2B5EF4-FFF2-40B4-BE49-F238E27FC236}">
                    <a16:creationId xmlns:a16="http://schemas.microsoft.com/office/drawing/2014/main" id="{8567B1D1-2FC9-4C52-9C0B-F223CA7B35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" y="1803"/>
                <a:ext cx="20" cy="25"/>
              </a:xfrm>
              <a:custGeom>
                <a:avLst/>
                <a:gdLst>
                  <a:gd name="T0" fmla="*/ 0 w 10"/>
                  <a:gd name="T1" fmla="*/ 4 h 12"/>
                  <a:gd name="T2" fmla="*/ 3 w 10"/>
                  <a:gd name="T3" fmla="*/ 12 h 12"/>
                  <a:gd name="T4" fmla="*/ 10 w 10"/>
                  <a:gd name="T5" fmla="*/ 0 h 12"/>
                  <a:gd name="T6" fmla="*/ 0 w 10"/>
                  <a:gd name="T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cubicBezTo>
                      <a:pt x="3" y="7"/>
                      <a:pt x="1" y="12"/>
                      <a:pt x="3" y="12"/>
                    </a:cubicBezTo>
                    <a:cubicBezTo>
                      <a:pt x="4" y="7"/>
                      <a:pt x="9" y="5"/>
                      <a:pt x="10" y="0"/>
                    </a:cubicBezTo>
                    <a:cubicBezTo>
                      <a:pt x="6" y="2"/>
                      <a:pt x="5" y="7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0" name="任意多边形: 形状 10459">
                <a:extLst>
                  <a:ext uri="{FF2B5EF4-FFF2-40B4-BE49-F238E27FC236}">
                    <a16:creationId xmlns:a16="http://schemas.microsoft.com/office/drawing/2014/main" id="{9EFF3B2F-25D0-43B8-B149-E886EC7A0C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37" y="1926"/>
                <a:ext cx="14" cy="20"/>
              </a:xfrm>
              <a:custGeom>
                <a:avLst/>
                <a:gdLst>
                  <a:gd name="T0" fmla="*/ 2 w 7"/>
                  <a:gd name="T1" fmla="*/ 0 h 10"/>
                  <a:gd name="T2" fmla="*/ 0 w 7"/>
                  <a:gd name="T3" fmla="*/ 3 h 10"/>
                  <a:gd name="T4" fmla="*/ 6 w 7"/>
                  <a:gd name="T5" fmla="*/ 7 h 10"/>
                  <a:gd name="T6" fmla="*/ 1 w 7"/>
                  <a:gd name="T7" fmla="*/ 3 h 10"/>
                  <a:gd name="T8" fmla="*/ 2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2" y="0"/>
                    </a:moveTo>
                    <a:cubicBezTo>
                      <a:pt x="0" y="0"/>
                      <a:pt x="1" y="2"/>
                      <a:pt x="0" y="3"/>
                    </a:cubicBezTo>
                    <a:cubicBezTo>
                      <a:pt x="1" y="6"/>
                      <a:pt x="7" y="10"/>
                      <a:pt x="6" y="7"/>
                    </a:cubicBezTo>
                    <a:cubicBezTo>
                      <a:pt x="5" y="6"/>
                      <a:pt x="3" y="6"/>
                      <a:pt x="1" y="3"/>
                    </a:cubicBezTo>
                    <a:cubicBezTo>
                      <a:pt x="2" y="2"/>
                      <a:pt x="4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1" name="任意多边形: 形状 10460">
                <a:extLst>
                  <a:ext uri="{FF2B5EF4-FFF2-40B4-BE49-F238E27FC236}">
                    <a16:creationId xmlns:a16="http://schemas.microsoft.com/office/drawing/2014/main" id="{2BEB8328-9EB8-4F4F-AEE5-746F8AFCC0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0" y="1959"/>
                <a:ext cx="17" cy="16"/>
              </a:xfrm>
              <a:custGeom>
                <a:avLst/>
                <a:gdLst>
                  <a:gd name="T0" fmla="*/ 2 w 8"/>
                  <a:gd name="T1" fmla="*/ 6 h 8"/>
                  <a:gd name="T2" fmla="*/ 1 w 8"/>
                  <a:gd name="T3" fmla="*/ 8 h 8"/>
                  <a:gd name="T4" fmla="*/ 5 w 8"/>
                  <a:gd name="T5" fmla="*/ 0 h 8"/>
                  <a:gd name="T6" fmla="*/ 0 w 8"/>
                  <a:gd name="T7" fmla="*/ 4 h 8"/>
                  <a:gd name="T8" fmla="*/ 2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6"/>
                    </a:moveTo>
                    <a:cubicBezTo>
                      <a:pt x="1" y="6"/>
                      <a:pt x="0" y="7"/>
                      <a:pt x="1" y="8"/>
                    </a:cubicBezTo>
                    <a:cubicBezTo>
                      <a:pt x="4" y="6"/>
                      <a:pt x="8" y="6"/>
                      <a:pt x="5" y="0"/>
                    </a:cubicBezTo>
                    <a:cubicBezTo>
                      <a:pt x="4" y="4"/>
                      <a:pt x="0" y="4"/>
                      <a:pt x="0" y="4"/>
                    </a:cubicBezTo>
                    <a:cubicBezTo>
                      <a:pt x="0" y="5"/>
                      <a:pt x="1" y="5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2" name="任意多边形: 形状 10461">
                <a:extLst>
                  <a:ext uri="{FF2B5EF4-FFF2-40B4-BE49-F238E27FC236}">
                    <a16:creationId xmlns:a16="http://schemas.microsoft.com/office/drawing/2014/main" id="{10CDAC2E-2FFE-499C-B7EE-B5DDC5933F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8" y="1919"/>
                <a:ext cx="14" cy="13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4 h 6"/>
                  <a:gd name="T6" fmla="*/ 0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2" y="2"/>
                      <a:pt x="1" y="4"/>
                      <a:pt x="2" y="4"/>
                    </a:cubicBezTo>
                    <a:cubicBezTo>
                      <a:pt x="1" y="0"/>
                      <a:pt x="6" y="6"/>
                      <a:pt x="7" y="4"/>
                    </a:cubicBezTo>
                    <a:cubicBezTo>
                      <a:pt x="5" y="0"/>
                      <a:pt x="3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3" name="任意多边形: 形状 10462">
                <a:extLst>
                  <a:ext uri="{FF2B5EF4-FFF2-40B4-BE49-F238E27FC236}">
                    <a16:creationId xmlns:a16="http://schemas.microsoft.com/office/drawing/2014/main" id="{9CCAABF0-D282-45CA-B415-E7E8F11AE98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1" y="1417"/>
                <a:ext cx="23" cy="10"/>
              </a:xfrm>
              <a:custGeom>
                <a:avLst/>
                <a:gdLst>
                  <a:gd name="T0" fmla="*/ 10 w 11"/>
                  <a:gd name="T1" fmla="*/ 0 h 5"/>
                  <a:gd name="T2" fmla="*/ 0 w 11"/>
                  <a:gd name="T3" fmla="*/ 0 h 5"/>
                  <a:gd name="T4" fmla="*/ 4 w 11"/>
                  <a:gd name="T5" fmla="*/ 5 h 5"/>
                  <a:gd name="T6" fmla="*/ 2 w 11"/>
                  <a:gd name="T7" fmla="*/ 1 h 5"/>
                  <a:gd name="T8" fmla="*/ 9 w 11"/>
                  <a:gd name="T9" fmla="*/ 5 h 5"/>
                  <a:gd name="T10" fmla="*/ 10 w 11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5">
                    <a:moveTo>
                      <a:pt x="10" y="0"/>
                    </a:moveTo>
                    <a:cubicBezTo>
                      <a:pt x="6" y="2"/>
                      <a:pt x="3" y="0"/>
                      <a:pt x="0" y="0"/>
                    </a:cubicBezTo>
                    <a:cubicBezTo>
                      <a:pt x="0" y="2"/>
                      <a:pt x="2" y="4"/>
                      <a:pt x="4" y="5"/>
                    </a:cubicBezTo>
                    <a:cubicBezTo>
                      <a:pt x="3" y="3"/>
                      <a:pt x="2" y="2"/>
                      <a:pt x="2" y="1"/>
                    </a:cubicBezTo>
                    <a:cubicBezTo>
                      <a:pt x="4" y="3"/>
                      <a:pt x="7" y="4"/>
                      <a:pt x="9" y="5"/>
                    </a:cubicBezTo>
                    <a:cubicBezTo>
                      <a:pt x="6" y="2"/>
                      <a:pt x="11" y="2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4" name="任意多边形: 形状 10463">
                <a:extLst>
                  <a:ext uri="{FF2B5EF4-FFF2-40B4-BE49-F238E27FC236}">
                    <a16:creationId xmlns:a16="http://schemas.microsoft.com/office/drawing/2014/main" id="{ADC780AD-1F00-43E4-8B6A-2C100B7F40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1" y="1446"/>
                <a:ext cx="21" cy="21"/>
              </a:xfrm>
              <a:custGeom>
                <a:avLst/>
                <a:gdLst>
                  <a:gd name="T0" fmla="*/ 1 w 10"/>
                  <a:gd name="T1" fmla="*/ 10 h 10"/>
                  <a:gd name="T2" fmla="*/ 9 w 10"/>
                  <a:gd name="T3" fmla="*/ 3 h 10"/>
                  <a:gd name="T4" fmla="*/ 7 w 10"/>
                  <a:gd name="T5" fmla="*/ 0 h 10"/>
                  <a:gd name="T6" fmla="*/ 5 w 10"/>
                  <a:gd name="T7" fmla="*/ 1 h 10"/>
                  <a:gd name="T8" fmla="*/ 1 w 10"/>
                  <a:gd name="T9" fmla="*/ 7 h 10"/>
                  <a:gd name="T10" fmla="*/ 2 w 10"/>
                  <a:gd name="T11" fmla="*/ 7 h 10"/>
                  <a:gd name="T12" fmla="*/ 1 w 1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1" y="10"/>
                    </a:moveTo>
                    <a:cubicBezTo>
                      <a:pt x="4" y="10"/>
                      <a:pt x="6" y="5"/>
                      <a:pt x="9" y="3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10" y="7"/>
                      <a:pt x="1" y="4"/>
                      <a:pt x="1" y="7"/>
                    </a:cubicBezTo>
                    <a:cubicBezTo>
                      <a:pt x="1" y="6"/>
                      <a:pt x="2" y="6"/>
                      <a:pt x="2" y="7"/>
                    </a:cubicBezTo>
                    <a:cubicBezTo>
                      <a:pt x="1" y="8"/>
                      <a:pt x="0" y="8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5" name="任意多边形: 形状 10464">
                <a:extLst>
                  <a:ext uri="{FF2B5EF4-FFF2-40B4-BE49-F238E27FC236}">
                    <a16:creationId xmlns:a16="http://schemas.microsoft.com/office/drawing/2014/main" id="{915F3BAC-5278-4BF2-A71D-3D60DF2535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2" y="1872"/>
                <a:ext cx="15" cy="16"/>
              </a:xfrm>
              <a:custGeom>
                <a:avLst/>
                <a:gdLst>
                  <a:gd name="T0" fmla="*/ 7 w 7"/>
                  <a:gd name="T1" fmla="*/ 5 h 8"/>
                  <a:gd name="T2" fmla="*/ 5 w 7"/>
                  <a:gd name="T3" fmla="*/ 1 h 8"/>
                  <a:gd name="T4" fmla="*/ 3 w 7"/>
                  <a:gd name="T5" fmla="*/ 8 h 8"/>
                  <a:gd name="T6" fmla="*/ 7 w 7"/>
                  <a:gd name="T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7" y="5"/>
                    </a:moveTo>
                    <a:cubicBezTo>
                      <a:pt x="5" y="4"/>
                      <a:pt x="7" y="0"/>
                      <a:pt x="5" y="1"/>
                    </a:cubicBezTo>
                    <a:cubicBezTo>
                      <a:pt x="6" y="6"/>
                      <a:pt x="0" y="2"/>
                      <a:pt x="3" y="8"/>
                    </a:cubicBezTo>
                    <a:cubicBezTo>
                      <a:pt x="5" y="7"/>
                      <a:pt x="5" y="4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6" name="任意多边形: 形状 10465">
                <a:extLst>
                  <a:ext uri="{FF2B5EF4-FFF2-40B4-BE49-F238E27FC236}">
                    <a16:creationId xmlns:a16="http://schemas.microsoft.com/office/drawing/2014/main" id="{921A9DBE-859C-4016-9C0E-386F722FC7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1" y="1876"/>
                <a:ext cx="19" cy="25"/>
              </a:xfrm>
              <a:custGeom>
                <a:avLst/>
                <a:gdLst>
                  <a:gd name="T0" fmla="*/ 0 w 9"/>
                  <a:gd name="T1" fmla="*/ 3 h 12"/>
                  <a:gd name="T2" fmla="*/ 2 w 9"/>
                  <a:gd name="T3" fmla="*/ 12 h 12"/>
                  <a:gd name="T4" fmla="*/ 4 w 9"/>
                  <a:gd name="T5" fmla="*/ 10 h 12"/>
                  <a:gd name="T6" fmla="*/ 2 w 9"/>
                  <a:gd name="T7" fmla="*/ 4 h 12"/>
                  <a:gd name="T8" fmla="*/ 8 w 9"/>
                  <a:gd name="T9" fmla="*/ 1 h 12"/>
                  <a:gd name="T10" fmla="*/ 0 w 9"/>
                  <a:gd name="T1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2">
                    <a:moveTo>
                      <a:pt x="0" y="3"/>
                    </a:moveTo>
                    <a:cubicBezTo>
                      <a:pt x="1" y="6"/>
                      <a:pt x="0" y="8"/>
                      <a:pt x="2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8"/>
                      <a:pt x="0" y="5"/>
                      <a:pt x="2" y="4"/>
                    </a:cubicBezTo>
                    <a:cubicBezTo>
                      <a:pt x="2" y="5"/>
                      <a:pt x="9" y="4"/>
                      <a:pt x="8" y="1"/>
                    </a:cubicBezTo>
                    <a:cubicBezTo>
                      <a:pt x="4" y="0"/>
                      <a:pt x="3" y="6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7" name="任意多边形: 形状 10466">
                <a:extLst>
                  <a:ext uri="{FF2B5EF4-FFF2-40B4-BE49-F238E27FC236}">
                    <a16:creationId xmlns:a16="http://schemas.microsoft.com/office/drawing/2014/main" id="{CCCD8B87-BC5B-43C3-B899-E8E1B96F8A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28" y="1973"/>
                <a:ext cx="16" cy="15"/>
              </a:xfrm>
              <a:custGeom>
                <a:avLst/>
                <a:gdLst>
                  <a:gd name="T0" fmla="*/ 0 w 8"/>
                  <a:gd name="T1" fmla="*/ 1 h 7"/>
                  <a:gd name="T2" fmla="*/ 1 w 8"/>
                  <a:gd name="T3" fmla="*/ 6 h 7"/>
                  <a:gd name="T4" fmla="*/ 8 w 8"/>
                  <a:gd name="T5" fmla="*/ 5 h 7"/>
                  <a:gd name="T6" fmla="*/ 0 w 8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0" y="1"/>
                    </a:moveTo>
                    <a:cubicBezTo>
                      <a:pt x="0" y="3"/>
                      <a:pt x="0" y="4"/>
                      <a:pt x="1" y="6"/>
                    </a:cubicBezTo>
                    <a:cubicBezTo>
                      <a:pt x="5" y="7"/>
                      <a:pt x="4" y="3"/>
                      <a:pt x="8" y="5"/>
                    </a:cubicBezTo>
                    <a:cubicBezTo>
                      <a:pt x="4" y="3"/>
                      <a:pt x="4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8" name="任意多边形: 形状 10467">
                <a:extLst>
                  <a:ext uri="{FF2B5EF4-FFF2-40B4-BE49-F238E27FC236}">
                    <a16:creationId xmlns:a16="http://schemas.microsoft.com/office/drawing/2014/main" id="{A7589E7C-9FF6-41CB-993E-E0066E3A28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90" y="1876"/>
                <a:ext cx="13" cy="20"/>
              </a:xfrm>
              <a:custGeom>
                <a:avLst/>
                <a:gdLst>
                  <a:gd name="T0" fmla="*/ 6 w 6"/>
                  <a:gd name="T1" fmla="*/ 2 h 10"/>
                  <a:gd name="T2" fmla="*/ 1 w 6"/>
                  <a:gd name="T3" fmla="*/ 2 h 10"/>
                  <a:gd name="T4" fmla="*/ 0 w 6"/>
                  <a:gd name="T5" fmla="*/ 0 h 10"/>
                  <a:gd name="T6" fmla="*/ 2 w 6"/>
                  <a:gd name="T7" fmla="*/ 8 h 10"/>
                  <a:gd name="T8" fmla="*/ 6 w 6"/>
                  <a:gd name="T9" fmla="*/ 7 h 10"/>
                  <a:gd name="T10" fmla="*/ 6 w 6"/>
                  <a:gd name="T11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">
                    <a:moveTo>
                      <a:pt x="6" y="2"/>
                    </a:moveTo>
                    <a:cubicBezTo>
                      <a:pt x="3" y="1"/>
                      <a:pt x="4" y="5"/>
                      <a:pt x="1" y="2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1" y="10"/>
                      <a:pt x="2" y="8"/>
                    </a:cubicBezTo>
                    <a:cubicBezTo>
                      <a:pt x="1" y="4"/>
                      <a:pt x="5" y="6"/>
                      <a:pt x="6" y="7"/>
                    </a:cubicBezTo>
                    <a:cubicBezTo>
                      <a:pt x="5" y="5"/>
                      <a:pt x="6" y="4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9" name="任意多边形: 形状 10468">
                <a:extLst>
                  <a:ext uri="{FF2B5EF4-FFF2-40B4-BE49-F238E27FC236}">
                    <a16:creationId xmlns:a16="http://schemas.microsoft.com/office/drawing/2014/main" id="{B0BECCF1-4BAE-42B8-B07F-7044F4A173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9" y="1965"/>
                <a:ext cx="10" cy="19"/>
              </a:xfrm>
              <a:custGeom>
                <a:avLst/>
                <a:gdLst>
                  <a:gd name="T0" fmla="*/ 0 w 5"/>
                  <a:gd name="T1" fmla="*/ 0 h 9"/>
                  <a:gd name="T2" fmla="*/ 3 w 5"/>
                  <a:gd name="T3" fmla="*/ 9 h 9"/>
                  <a:gd name="T4" fmla="*/ 5 w 5"/>
                  <a:gd name="T5" fmla="*/ 8 h 9"/>
                  <a:gd name="T6" fmla="*/ 0 w 5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0" y="0"/>
                    </a:moveTo>
                    <a:cubicBezTo>
                      <a:pt x="1" y="2"/>
                      <a:pt x="3" y="8"/>
                      <a:pt x="3" y="9"/>
                    </a:cubicBezTo>
                    <a:cubicBezTo>
                      <a:pt x="3" y="7"/>
                      <a:pt x="4" y="7"/>
                      <a:pt x="5" y="8"/>
                    </a:cubicBezTo>
                    <a:cubicBezTo>
                      <a:pt x="5" y="5"/>
                      <a:pt x="2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0" name="任意多边形: 形状 10469">
                <a:extLst>
                  <a:ext uri="{FF2B5EF4-FFF2-40B4-BE49-F238E27FC236}">
                    <a16:creationId xmlns:a16="http://schemas.microsoft.com/office/drawing/2014/main" id="{63BD4172-3F64-4A7E-BCA6-EC0E0392B0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8" y="1913"/>
                <a:ext cx="18" cy="23"/>
              </a:xfrm>
              <a:custGeom>
                <a:avLst/>
                <a:gdLst>
                  <a:gd name="T0" fmla="*/ 0 w 9"/>
                  <a:gd name="T1" fmla="*/ 3 h 11"/>
                  <a:gd name="T2" fmla="*/ 6 w 9"/>
                  <a:gd name="T3" fmla="*/ 11 h 11"/>
                  <a:gd name="T4" fmla="*/ 0 w 9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1">
                    <a:moveTo>
                      <a:pt x="0" y="3"/>
                    </a:moveTo>
                    <a:cubicBezTo>
                      <a:pt x="5" y="4"/>
                      <a:pt x="3" y="8"/>
                      <a:pt x="6" y="11"/>
                    </a:cubicBezTo>
                    <a:cubicBezTo>
                      <a:pt x="9" y="9"/>
                      <a:pt x="3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1" name="任意多边形: 形状 10470">
                <a:extLst>
                  <a:ext uri="{FF2B5EF4-FFF2-40B4-BE49-F238E27FC236}">
                    <a16:creationId xmlns:a16="http://schemas.microsoft.com/office/drawing/2014/main" id="{CDC7334A-FDFF-4465-BFE3-A34BE65382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8" y="1143"/>
                <a:ext cx="50" cy="31"/>
              </a:xfrm>
              <a:custGeom>
                <a:avLst/>
                <a:gdLst>
                  <a:gd name="T0" fmla="*/ 5 w 24"/>
                  <a:gd name="T1" fmla="*/ 10 h 15"/>
                  <a:gd name="T2" fmla="*/ 8 w 24"/>
                  <a:gd name="T3" fmla="*/ 12 h 15"/>
                  <a:gd name="T4" fmla="*/ 12 w 24"/>
                  <a:gd name="T5" fmla="*/ 7 h 15"/>
                  <a:gd name="T6" fmla="*/ 8 w 24"/>
                  <a:gd name="T7" fmla="*/ 9 h 15"/>
                  <a:gd name="T8" fmla="*/ 0 w 24"/>
                  <a:gd name="T9" fmla="*/ 13 h 15"/>
                  <a:gd name="T10" fmla="*/ 5 w 24"/>
                  <a:gd name="T11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15">
                    <a:moveTo>
                      <a:pt x="5" y="10"/>
                    </a:moveTo>
                    <a:cubicBezTo>
                      <a:pt x="6" y="11"/>
                      <a:pt x="7" y="12"/>
                      <a:pt x="8" y="12"/>
                    </a:cubicBezTo>
                    <a:cubicBezTo>
                      <a:pt x="8" y="9"/>
                      <a:pt x="12" y="11"/>
                      <a:pt x="12" y="7"/>
                    </a:cubicBezTo>
                    <a:cubicBezTo>
                      <a:pt x="24" y="0"/>
                      <a:pt x="3" y="7"/>
                      <a:pt x="8" y="9"/>
                    </a:cubicBezTo>
                    <a:cubicBezTo>
                      <a:pt x="4" y="9"/>
                      <a:pt x="1" y="8"/>
                      <a:pt x="0" y="13"/>
                    </a:cubicBezTo>
                    <a:cubicBezTo>
                      <a:pt x="4" y="15"/>
                      <a:pt x="4" y="12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2" name="任意多边形: 形状 10471">
                <a:extLst>
                  <a:ext uri="{FF2B5EF4-FFF2-40B4-BE49-F238E27FC236}">
                    <a16:creationId xmlns:a16="http://schemas.microsoft.com/office/drawing/2014/main" id="{BB31BE9E-F894-40ED-AC61-8EC82214A7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17" y="1919"/>
                <a:ext cx="21" cy="23"/>
              </a:xfrm>
              <a:custGeom>
                <a:avLst/>
                <a:gdLst>
                  <a:gd name="T0" fmla="*/ 0 w 10"/>
                  <a:gd name="T1" fmla="*/ 6 h 11"/>
                  <a:gd name="T2" fmla="*/ 9 w 10"/>
                  <a:gd name="T3" fmla="*/ 3 h 11"/>
                  <a:gd name="T4" fmla="*/ 0 w 10"/>
                  <a:gd name="T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1">
                    <a:moveTo>
                      <a:pt x="0" y="6"/>
                    </a:moveTo>
                    <a:cubicBezTo>
                      <a:pt x="3" y="4"/>
                      <a:pt x="10" y="11"/>
                      <a:pt x="9" y="3"/>
                    </a:cubicBezTo>
                    <a:cubicBezTo>
                      <a:pt x="6" y="9"/>
                      <a:pt x="0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3" name="任意多边形: 形状 10472">
                <a:extLst>
                  <a:ext uri="{FF2B5EF4-FFF2-40B4-BE49-F238E27FC236}">
                    <a16:creationId xmlns:a16="http://schemas.microsoft.com/office/drawing/2014/main" id="{D5FFE904-10F2-43F6-BD32-B9F5F62F11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4" y="979"/>
                <a:ext cx="112" cy="77"/>
              </a:xfrm>
              <a:custGeom>
                <a:avLst/>
                <a:gdLst>
                  <a:gd name="T0" fmla="*/ 9 w 54"/>
                  <a:gd name="T1" fmla="*/ 37 h 37"/>
                  <a:gd name="T2" fmla="*/ 27 w 54"/>
                  <a:gd name="T3" fmla="*/ 22 h 37"/>
                  <a:gd name="T4" fmla="*/ 25 w 54"/>
                  <a:gd name="T5" fmla="*/ 21 h 37"/>
                  <a:gd name="T6" fmla="*/ 40 w 54"/>
                  <a:gd name="T7" fmla="*/ 12 h 37"/>
                  <a:gd name="T8" fmla="*/ 38 w 54"/>
                  <a:gd name="T9" fmla="*/ 10 h 37"/>
                  <a:gd name="T10" fmla="*/ 54 w 54"/>
                  <a:gd name="T11" fmla="*/ 1 h 37"/>
                  <a:gd name="T12" fmla="*/ 41 w 54"/>
                  <a:gd name="T13" fmla="*/ 3 h 37"/>
                  <a:gd name="T14" fmla="*/ 16 w 54"/>
                  <a:gd name="T15" fmla="*/ 14 h 37"/>
                  <a:gd name="T16" fmla="*/ 0 w 54"/>
                  <a:gd name="T17" fmla="*/ 23 h 37"/>
                  <a:gd name="T18" fmla="*/ 9 w 54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37">
                    <a:moveTo>
                      <a:pt x="9" y="37"/>
                    </a:moveTo>
                    <a:cubicBezTo>
                      <a:pt x="14" y="30"/>
                      <a:pt x="22" y="26"/>
                      <a:pt x="27" y="22"/>
                    </a:cubicBezTo>
                    <a:cubicBezTo>
                      <a:pt x="26" y="22"/>
                      <a:pt x="25" y="22"/>
                      <a:pt x="25" y="21"/>
                    </a:cubicBezTo>
                    <a:cubicBezTo>
                      <a:pt x="30" y="17"/>
                      <a:pt x="36" y="14"/>
                      <a:pt x="40" y="12"/>
                    </a:cubicBezTo>
                    <a:cubicBezTo>
                      <a:pt x="39" y="12"/>
                      <a:pt x="38" y="11"/>
                      <a:pt x="38" y="10"/>
                    </a:cubicBezTo>
                    <a:cubicBezTo>
                      <a:pt x="43" y="4"/>
                      <a:pt x="54" y="10"/>
                      <a:pt x="54" y="1"/>
                    </a:cubicBezTo>
                    <a:cubicBezTo>
                      <a:pt x="49" y="0"/>
                      <a:pt x="46" y="9"/>
                      <a:pt x="41" y="3"/>
                    </a:cubicBezTo>
                    <a:cubicBezTo>
                      <a:pt x="33" y="5"/>
                      <a:pt x="27" y="16"/>
                      <a:pt x="16" y="14"/>
                    </a:cubicBezTo>
                    <a:cubicBezTo>
                      <a:pt x="16" y="23"/>
                      <a:pt x="5" y="24"/>
                      <a:pt x="0" y="23"/>
                    </a:cubicBezTo>
                    <a:cubicBezTo>
                      <a:pt x="4" y="24"/>
                      <a:pt x="12" y="29"/>
                      <a:pt x="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4" name="任意多边形: 形状 10473">
                <a:extLst>
                  <a:ext uri="{FF2B5EF4-FFF2-40B4-BE49-F238E27FC236}">
                    <a16:creationId xmlns:a16="http://schemas.microsoft.com/office/drawing/2014/main" id="{AE3AD517-BBED-488D-9A4A-6ECAC5ED79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44" y="963"/>
                <a:ext cx="35" cy="22"/>
              </a:xfrm>
              <a:custGeom>
                <a:avLst/>
                <a:gdLst>
                  <a:gd name="T0" fmla="*/ 10 w 17"/>
                  <a:gd name="T1" fmla="*/ 8 h 11"/>
                  <a:gd name="T2" fmla="*/ 14 w 17"/>
                  <a:gd name="T3" fmla="*/ 1 h 11"/>
                  <a:gd name="T4" fmla="*/ 1 w 17"/>
                  <a:gd name="T5" fmla="*/ 4 h 11"/>
                  <a:gd name="T6" fmla="*/ 0 w 17"/>
                  <a:gd name="T7" fmla="*/ 4 h 11"/>
                  <a:gd name="T8" fmla="*/ 3 w 17"/>
                  <a:gd name="T9" fmla="*/ 9 h 11"/>
                  <a:gd name="T10" fmla="*/ 10 w 17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1">
                    <a:moveTo>
                      <a:pt x="10" y="8"/>
                    </a:moveTo>
                    <a:cubicBezTo>
                      <a:pt x="4" y="0"/>
                      <a:pt x="17" y="8"/>
                      <a:pt x="14" y="1"/>
                    </a:cubicBezTo>
                    <a:cubicBezTo>
                      <a:pt x="9" y="4"/>
                      <a:pt x="4" y="4"/>
                      <a:pt x="1" y="4"/>
                    </a:cubicBezTo>
                    <a:cubicBezTo>
                      <a:pt x="1" y="4"/>
                      <a:pt x="0" y="3"/>
                      <a:pt x="0" y="4"/>
                    </a:cubicBezTo>
                    <a:cubicBezTo>
                      <a:pt x="2" y="6"/>
                      <a:pt x="3" y="6"/>
                      <a:pt x="3" y="9"/>
                    </a:cubicBezTo>
                    <a:cubicBezTo>
                      <a:pt x="5" y="11"/>
                      <a:pt x="8" y="7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5" name="任意多边形: 形状 10474">
                <a:extLst>
                  <a:ext uri="{FF2B5EF4-FFF2-40B4-BE49-F238E27FC236}">
                    <a16:creationId xmlns:a16="http://schemas.microsoft.com/office/drawing/2014/main" id="{FF4C69BE-2214-4E7F-B578-FBA858DB0F6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83" y="822"/>
                <a:ext cx="27" cy="20"/>
              </a:xfrm>
              <a:custGeom>
                <a:avLst/>
                <a:gdLst>
                  <a:gd name="T0" fmla="*/ 10 w 13"/>
                  <a:gd name="T1" fmla="*/ 10 h 10"/>
                  <a:gd name="T2" fmla="*/ 13 w 13"/>
                  <a:gd name="T3" fmla="*/ 3 h 10"/>
                  <a:gd name="T4" fmla="*/ 8 w 13"/>
                  <a:gd name="T5" fmla="*/ 2 h 10"/>
                  <a:gd name="T6" fmla="*/ 10 w 13"/>
                  <a:gd name="T7" fmla="*/ 6 h 10"/>
                  <a:gd name="T8" fmla="*/ 4 w 13"/>
                  <a:gd name="T9" fmla="*/ 9 h 10"/>
                  <a:gd name="T10" fmla="*/ 10 w 13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0">
                    <a:moveTo>
                      <a:pt x="10" y="10"/>
                    </a:moveTo>
                    <a:cubicBezTo>
                      <a:pt x="13" y="8"/>
                      <a:pt x="12" y="5"/>
                      <a:pt x="13" y="3"/>
                    </a:cubicBezTo>
                    <a:cubicBezTo>
                      <a:pt x="12" y="0"/>
                      <a:pt x="7" y="0"/>
                      <a:pt x="8" y="2"/>
                    </a:cubicBezTo>
                    <a:cubicBezTo>
                      <a:pt x="10" y="2"/>
                      <a:pt x="12" y="4"/>
                      <a:pt x="10" y="6"/>
                    </a:cubicBezTo>
                    <a:cubicBezTo>
                      <a:pt x="8" y="6"/>
                      <a:pt x="0" y="2"/>
                      <a:pt x="4" y="9"/>
                    </a:cubicBezTo>
                    <a:cubicBezTo>
                      <a:pt x="6" y="7"/>
                      <a:pt x="8" y="5"/>
                      <a:pt x="1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6" name="任意多边形: 形状 10475">
                <a:extLst>
                  <a:ext uri="{FF2B5EF4-FFF2-40B4-BE49-F238E27FC236}">
                    <a16:creationId xmlns:a16="http://schemas.microsoft.com/office/drawing/2014/main" id="{18D6B19F-B5D1-4646-845F-5053859EDE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12" y="788"/>
                <a:ext cx="42" cy="52"/>
              </a:xfrm>
              <a:custGeom>
                <a:avLst/>
                <a:gdLst>
                  <a:gd name="T0" fmla="*/ 4 w 20"/>
                  <a:gd name="T1" fmla="*/ 25 h 25"/>
                  <a:gd name="T2" fmla="*/ 13 w 20"/>
                  <a:gd name="T3" fmla="*/ 7 h 25"/>
                  <a:gd name="T4" fmla="*/ 18 w 20"/>
                  <a:gd name="T5" fmla="*/ 8 h 25"/>
                  <a:gd name="T6" fmla="*/ 16 w 20"/>
                  <a:gd name="T7" fmla="*/ 11 h 25"/>
                  <a:gd name="T8" fmla="*/ 20 w 20"/>
                  <a:gd name="T9" fmla="*/ 10 h 25"/>
                  <a:gd name="T10" fmla="*/ 11 w 20"/>
                  <a:gd name="T11" fmla="*/ 0 h 25"/>
                  <a:gd name="T12" fmla="*/ 0 w 20"/>
                  <a:gd name="T13" fmla="*/ 16 h 25"/>
                  <a:gd name="T14" fmla="*/ 4 w 20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5">
                    <a:moveTo>
                      <a:pt x="4" y="25"/>
                    </a:moveTo>
                    <a:cubicBezTo>
                      <a:pt x="8" y="19"/>
                      <a:pt x="15" y="17"/>
                      <a:pt x="13" y="7"/>
                    </a:cubicBezTo>
                    <a:cubicBezTo>
                      <a:pt x="15" y="9"/>
                      <a:pt x="16" y="6"/>
                      <a:pt x="18" y="8"/>
                    </a:cubicBezTo>
                    <a:cubicBezTo>
                      <a:pt x="17" y="9"/>
                      <a:pt x="15" y="10"/>
                      <a:pt x="16" y="11"/>
                    </a:cubicBezTo>
                    <a:cubicBezTo>
                      <a:pt x="17" y="9"/>
                      <a:pt x="19" y="12"/>
                      <a:pt x="20" y="10"/>
                    </a:cubicBezTo>
                    <a:cubicBezTo>
                      <a:pt x="15" y="5"/>
                      <a:pt x="14" y="6"/>
                      <a:pt x="11" y="0"/>
                    </a:cubicBezTo>
                    <a:cubicBezTo>
                      <a:pt x="16" y="11"/>
                      <a:pt x="4" y="15"/>
                      <a:pt x="0" y="16"/>
                    </a:cubicBezTo>
                    <a:cubicBezTo>
                      <a:pt x="5" y="15"/>
                      <a:pt x="3" y="21"/>
                      <a:pt x="4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7" name="任意多边形: 形状 10476">
                <a:extLst>
                  <a:ext uri="{FF2B5EF4-FFF2-40B4-BE49-F238E27FC236}">
                    <a16:creationId xmlns:a16="http://schemas.microsoft.com/office/drawing/2014/main" id="{20B46ADA-BD9F-42D4-9FE4-3B0D3085F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03" y="753"/>
                <a:ext cx="17" cy="8"/>
              </a:xfrm>
              <a:custGeom>
                <a:avLst/>
                <a:gdLst>
                  <a:gd name="T0" fmla="*/ 8 w 8"/>
                  <a:gd name="T1" fmla="*/ 2 h 4"/>
                  <a:gd name="T2" fmla="*/ 0 w 8"/>
                  <a:gd name="T3" fmla="*/ 0 h 4"/>
                  <a:gd name="T4" fmla="*/ 8 w 8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8" y="2"/>
                    </a:moveTo>
                    <a:cubicBezTo>
                      <a:pt x="5" y="2"/>
                      <a:pt x="3" y="0"/>
                      <a:pt x="0" y="0"/>
                    </a:cubicBezTo>
                    <a:cubicBezTo>
                      <a:pt x="2" y="4"/>
                      <a:pt x="8" y="4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8" name="任意多边形: 形状 10477">
                <a:extLst>
                  <a:ext uri="{FF2B5EF4-FFF2-40B4-BE49-F238E27FC236}">
                    <a16:creationId xmlns:a16="http://schemas.microsoft.com/office/drawing/2014/main" id="{99E2CF59-2F47-402F-8956-B728D12D49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73" y="745"/>
                <a:ext cx="22" cy="18"/>
              </a:xfrm>
              <a:custGeom>
                <a:avLst/>
                <a:gdLst>
                  <a:gd name="T0" fmla="*/ 8 w 11"/>
                  <a:gd name="T1" fmla="*/ 9 h 9"/>
                  <a:gd name="T2" fmla="*/ 7 w 11"/>
                  <a:gd name="T3" fmla="*/ 2 h 9"/>
                  <a:gd name="T4" fmla="*/ 4 w 11"/>
                  <a:gd name="T5" fmla="*/ 0 h 9"/>
                  <a:gd name="T6" fmla="*/ 3 w 11"/>
                  <a:gd name="T7" fmla="*/ 5 h 9"/>
                  <a:gd name="T8" fmla="*/ 8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8" y="9"/>
                    </a:moveTo>
                    <a:cubicBezTo>
                      <a:pt x="10" y="7"/>
                      <a:pt x="11" y="1"/>
                      <a:pt x="7" y="2"/>
                    </a:cubicBezTo>
                    <a:cubicBezTo>
                      <a:pt x="9" y="8"/>
                      <a:pt x="5" y="0"/>
                      <a:pt x="4" y="0"/>
                    </a:cubicBezTo>
                    <a:cubicBezTo>
                      <a:pt x="7" y="3"/>
                      <a:pt x="0" y="2"/>
                      <a:pt x="3" y="5"/>
                    </a:cubicBezTo>
                    <a:cubicBezTo>
                      <a:pt x="6" y="3"/>
                      <a:pt x="7" y="5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9" name="任意多边形: 形状 10478">
                <a:extLst>
                  <a:ext uri="{FF2B5EF4-FFF2-40B4-BE49-F238E27FC236}">
                    <a16:creationId xmlns:a16="http://schemas.microsoft.com/office/drawing/2014/main" id="{40B5E73F-8F16-45F7-A0F3-CCAD77A28F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73" y="705"/>
                <a:ext cx="20" cy="21"/>
              </a:xfrm>
              <a:custGeom>
                <a:avLst/>
                <a:gdLst>
                  <a:gd name="T0" fmla="*/ 7 w 10"/>
                  <a:gd name="T1" fmla="*/ 0 h 10"/>
                  <a:gd name="T2" fmla="*/ 2 w 10"/>
                  <a:gd name="T3" fmla="*/ 10 h 10"/>
                  <a:gd name="T4" fmla="*/ 9 w 10"/>
                  <a:gd name="T5" fmla="*/ 6 h 10"/>
                  <a:gd name="T6" fmla="*/ 7 w 10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7" y="0"/>
                    </a:moveTo>
                    <a:cubicBezTo>
                      <a:pt x="5" y="3"/>
                      <a:pt x="0" y="5"/>
                      <a:pt x="2" y="10"/>
                    </a:cubicBezTo>
                    <a:cubicBezTo>
                      <a:pt x="4" y="7"/>
                      <a:pt x="4" y="2"/>
                      <a:pt x="9" y="6"/>
                    </a:cubicBezTo>
                    <a:cubicBezTo>
                      <a:pt x="7" y="3"/>
                      <a:pt x="10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0" name="任意多边形: 形状 10479">
                <a:extLst>
                  <a:ext uri="{FF2B5EF4-FFF2-40B4-BE49-F238E27FC236}">
                    <a16:creationId xmlns:a16="http://schemas.microsoft.com/office/drawing/2014/main" id="{30EA11AE-6C14-4938-8720-E1D7F74610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2" y="479"/>
                <a:ext cx="14" cy="17"/>
              </a:xfrm>
              <a:custGeom>
                <a:avLst/>
                <a:gdLst>
                  <a:gd name="T0" fmla="*/ 5 w 7"/>
                  <a:gd name="T1" fmla="*/ 4 h 8"/>
                  <a:gd name="T2" fmla="*/ 6 w 7"/>
                  <a:gd name="T3" fmla="*/ 3 h 8"/>
                  <a:gd name="T4" fmla="*/ 5 w 7"/>
                  <a:gd name="T5" fmla="*/ 3 h 8"/>
                  <a:gd name="T6" fmla="*/ 5 w 7"/>
                  <a:gd name="T7" fmla="*/ 1 h 8"/>
                  <a:gd name="T8" fmla="*/ 0 w 7"/>
                  <a:gd name="T9" fmla="*/ 2 h 8"/>
                  <a:gd name="T10" fmla="*/ 3 w 7"/>
                  <a:gd name="T11" fmla="*/ 8 h 8"/>
                  <a:gd name="T12" fmla="*/ 5 w 7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5" y="4"/>
                    </a:moveTo>
                    <a:cubicBezTo>
                      <a:pt x="6" y="4"/>
                      <a:pt x="7" y="5"/>
                      <a:pt x="6" y="3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2"/>
                      <a:pt x="6" y="2"/>
                      <a:pt x="5" y="1"/>
                    </a:cubicBezTo>
                    <a:cubicBezTo>
                      <a:pt x="4" y="3"/>
                      <a:pt x="2" y="0"/>
                      <a:pt x="0" y="2"/>
                    </a:cubicBezTo>
                    <a:cubicBezTo>
                      <a:pt x="2" y="5"/>
                      <a:pt x="3" y="7"/>
                      <a:pt x="3" y="8"/>
                    </a:cubicBezTo>
                    <a:cubicBezTo>
                      <a:pt x="6" y="8"/>
                      <a:pt x="3" y="4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1" name="任意多边形: 形状 10480">
                <a:extLst>
                  <a:ext uri="{FF2B5EF4-FFF2-40B4-BE49-F238E27FC236}">
                    <a16:creationId xmlns:a16="http://schemas.microsoft.com/office/drawing/2014/main" id="{B3584319-C37E-422E-BC15-AD5BD5B819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00" y="682"/>
                <a:ext cx="39" cy="23"/>
              </a:xfrm>
              <a:custGeom>
                <a:avLst/>
                <a:gdLst>
                  <a:gd name="T0" fmla="*/ 3 w 19"/>
                  <a:gd name="T1" fmla="*/ 9 h 11"/>
                  <a:gd name="T2" fmla="*/ 19 w 19"/>
                  <a:gd name="T3" fmla="*/ 8 h 11"/>
                  <a:gd name="T4" fmla="*/ 12 w 19"/>
                  <a:gd name="T5" fmla="*/ 8 h 11"/>
                  <a:gd name="T6" fmla="*/ 3 w 19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1">
                    <a:moveTo>
                      <a:pt x="3" y="9"/>
                    </a:moveTo>
                    <a:cubicBezTo>
                      <a:pt x="8" y="9"/>
                      <a:pt x="17" y="11"/>
                      <a:pt x="19" y="8"/>
                    </a:cubicBezTo>
                    <a:cubicBezTo>
                      <a:pt x="15" y="10"/>
                      <a:pt x="12" y="1"/>
                      <a:pt x="12" y="8"/>
                    </a:cubicBezTo>
                    <a:cubicBezTo>
                      <a:pt x="9" y="6"/>
                      <a:pt x="0" y="0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2" name="任意多边形: 形状 10481">
                <a:extLst>
                  <a:ext uri="{FF2B5EF4-FFF2-40B4-BE49-F238E27FC236}">
                    <a16:creationId xmlns:a16="http://schemas.microsoft.com/office/drawing/2014/main" id="{F347AA69-599E-40B6-A1A5-4003EE0FA8D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27" y="670"/>
                <a:ext cx="68" cy="58"/>
              </a:xfrm>
              <a:custGeom>
                <a:avLst/>
                <a:gdLst>
                  <a:gd name="T0" fmla="*/ 2 w 33"/>
                  <a:gd name="T1" fmla="*/ 9 h 28"/>
                  <a:gd name="T2" fmla="*/ 6 w 33"/>
                  <a:gd name="T3" fmla="*/ 10 h 28"/>
                  <a:gd name="T4" fmla="*/ 5 w 33"/>
                  <a:gd name="T5" fmla="*/ 12 h 28"/>
                  <a:gd name="T6" fmla="*/ 9 w 33"/>
                  <a:gd name="T7" fmla="*/ 16 h 28"/>
                  <a:gd name="T8" fmla="*/ 11 w 33"/>
                  <a:gd name="T9" fmla="*/ 8 h 28"/>
                  <a:gd name="T10" fmla="*/ 14 w 33"/>
                  <a:gd name="T11" fmla="*/ 14 h 28"/>
                  <a:gd name="T12" fmla="*/ 11 w 33"/>
                  <a:gd name="T13" fmla="*/ 14 h 28"/>
                  <a:gd name="T14" fmla="*/ 12 w 33"/>
                  <a:gd name="T15" fmla="*/ 23 h 28"/>
                  <a:gd name="T16" fmla="*/ 14 w 33"/>
                  <a:gd name="T17" fmla="*/ 18 h 28"/>
                  <a:gd name="T18" fmla="*/ 23 w 33"/>
                  <a:gd name="T19" fmla="*/ 22 h 28"/>
                  <a:gd name="T20" fmla="*/ 23 w 33"/>
                  <a:gd name="T21" fmla="*/ 25 h 28"/>
                  <a:gd name="T22" fmla="*/ 28 w 33"/>
                  <a:gd name="T23" fmla="*/ 26 h 28"/>
                  <a:gd name="T24" fmla="*/ 24 w 33"/>
                  <a:gd name="T25" fmla="*/ 21 h 28"/>
                  <a:gd name="T26" fmla="*/ 29 w 33"/>
                  <a:gd name="T27" fmla="*/ 24 h 28"/>
                  <a:gd name="T28" fmla="*/ 33 w 33"/>
                  <a:gd name="T29" fmla="*/ 21 h 28"/>
                  <a:gd name="T30" fmla="*/ 27 w 33"/>
                  <a:gd name="T31" fmla="*/ 16 h 28"/>
                  <a:gd name="T32" fmla="*/ 25 w 33"/>
                  <a:gd name="T33" fmla="*/ 19 h 28"/>
                  <a:gd name="T34" fmla="*/ 21 w 33"/>
                  <a:gd name="T35" fmla="*/ 19 h 28"/>
                  <a:gd name="T36" fmla="*/ 18 w 33"/>
                  <a:gd name="T37" fmla="*/ 16 h 28"/>
                  <a:gd name="T38" fmla="*/ 22 w 33"/>
                  <a:gd name="T39" fmla="*/ 10 h 28"/>
                  <a:gd name="T40" fmla="*/ 19 w 33"/>
                  <a:gd name="T41" fmla="*/ 6 h 28"/>
                  <a:gd name="T42" fmla="*/ 11 w 33"/>
                  <a:gd name="T43" fmla="*/ 5 h 28"/>
                  <a:gd name="T44" fmla="*/ 13 w 33"/>
                  <a:gd name="T45" fmla="*/ 6 h 28"/>
                  <a:gd name="T46" fmla="*/ 2 w 33"/>
                  <a:gd name="T47" fmla="*/ 3 h 28"/>
                  <a:gd name="T48" fmla="*/ 2 w 33"/>
                  <a:gd name="T49" fmla="*/ 9 h 28"/>
                  <a:gd name="T50" fmla="*/ 17 w 33"/>
                  <a:gd name="T51" fmla="*/ 10 h 28"/>
                  <a:gd name="T52" fmla="*/ 17 w 33"/>
                  <a:gd name="T53" fmla="*/ 16 h 28"/>
                  <a:gd name="T54" fmla="*/ 17 w 33"/>
                  <a:gd name="T55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28">
                    <a:moveTo>
                      <a:pt x="2" y="9"/>
                    </a:moveTo>
                    <a:cubicBezTo>
                      <a:pt x="3" y="10"/>
                      <a:pt x="5" y="8"/>
                      <a:pt x="6" y="10"/>
                    </a:cubicBezTo>
                    <a:cubicBezTo>
                      <a:pt x="7" y="11"/>
                      <a:pt x="6" y="11"/>
                      <a:pt x="5" y="12"/>
                    </a:cubicBezTo>
                    <a:cubicBezTo>
                      <a:pt x="6" y="14"/>
                      <a:pt x="7" y="15"/>
                      <a:pt x="9" y="16"/>
                    </a:cubicBezTo>
                    <a:cubicBezTo>
                      <a:pt x="5" y="11"/>
                      <a:pt x="11" y="12"/>
                      <a:pt x="11" y="8"/>
                    </a:cubicBezTo>
                    <a:cubicBezTo>
                      <a:pt x="13" y="10"/>
                      <a:pt x="15" y="11"/>
                      <a:pt x="14" y="14"/>
                    </a:cubicBezTo>
                    <a:cubicBezTo>
                      <a:pt x="13" y="14"/>
                      <a:pt x="12" y="13"/>
                      <a:pt x="11" y="14"/>
                    </a:cubicBezTo>
                    <a:cubicBezTo>
                      <a:pt x="16" y="18"/>
                      <a:pt x="10" y="19"/>
                      <a:pt x="12" y="23"/>
                    </a:cubicBezTo>
                    <a:cubicBezTo>
                      <a:pt x="15" y="24"/>
                      <a:pt x="14" y="20"/>
                      <a:pt x="14" y="18"/>
                    </a:cubicBezTo>
                    <a:cubicBezTo>
                      <a:pt x="17" y="18"/>
                      <a:pt x="20" y="19"/>
                      <a:pt x="23" y="22"/>
                    </a:cubicBezTo>
                    <a:cubicBezTo>
                      <a:pt x="22" y="22"/>
                      <a:pt x="22" y="24"/>
                      <a:pt x="23" y="25"/>
                    </a:cubicBezTo>
                    <a:cubicBezTo>
                      <a:pt x="24" y="26"/>
                      <a:pt x="26" y="28"/>
                      <a:pt x="28" y="26"/>
                    </a:cubicBezTo>
                    <a:cubicBezTo>
                      <a:pt x="27" y="23"/>
                      <a:pt x="25" y="25"/>
                      <a:pt x="24" y="21"/>
                    </a:cubicBezTo>
                    <a:cubicBezTo>
                      <a:pt x="28" y="23"/>
                      <a:pt x="27" y="18"/>
                      <a:pt x="29" y="24"/>
                    </a:cubicBezTo>
                    <a:cubicBezTo>
                      <a:pt x="31" y="23"/>
                      <a:pt x="33" y="25"/>
                      <a:pt x="33" y="21"/>
                    </a:cubicBezTo>
                    <a:cubicBezTo>
                      <a:pt x="31" y="20"/>
                      <a:pt x="29" y="18"/>
                      <a:pt x="27" y="16"/>
                    </a:cubicBezTo>
                    <a:cubicBezTo>
                      <a:pt x="28" y="18"/>
                      <a:pt x="26" y="18"/>
                      <a:pt x="25" y="19"/>
                    </a:cubicBezTo>
                    <a:cubicBezTo>
                      <a:pt x="24" y="15"/>
                      <a:pt x="22" y="18"/>
                      <a:pt x="21" y="19"/>
                    </a:cubicBezTo>
                    <a:cubicBezTo>
                      <a:pt x="20" y="17"/>
                      <a:pt x="19" y="17"/>
                      <a:pt x="18" y="16"/>
                    </a:cubicBezTo>
                    <a:cubicBezTo>
                      <a:pt x="20" y="15"/>
                      <a:pt x="22" y="13"/>
                      <a:pt x="22" y="10"/>
                    </a:cubicBezTo>
                    <a:cubicBezTo>
                      <a:pt x="19" y="11"/>
                      <a:pt x="18" y="8"/>
                      <a:pt x="19" y="6"/>
                    </a:cubicBezTo>
                    <a:cubicBezTo>
                      <a:pt x="17" y="7"/>
                      <a:pt x="11" y="0"/>
                      <a:pt x="11" y="5"/>
                    </a:cubicBezTo>
                    <a:cubicBezTo>
                      <a:pt x="12" y="4"/>
                      <a:pt x="14" y="5"/>
                      <a:pt x="13" y="6"/>
                    </a:cubicBezTo>
                    <a:cubicBezTo>
                      <a:pt x="10" y="6"/>
                      <a:pt x="4" y="10"/>
                      <a:pt x="2" y="3"/>
                    </a:cubicBezTo>
                    <a:cubicBezTo>
                      <a:pt x="0" y="4"/>
                      <a:pt x="2" y="7"/>
                      <a:pt x="2" y="9"/>
                    </a:cubicBezTo>
                    <a:close/>
                    <a:moveTo>
                      <a:pt x="17" y="10"/>
                    </a:moveTo>
                    <a:cubicBezTo>
                      <a:pt x="20" y="14"/>
                      <a:pt x="16" y="14"/>
                      <a:pt x="17" y="16"/>
                    </a:cubicBezTo>
                    <a:cubicBezTo>
                      <a:pt x="15" y="16"/>
                      <a:pt x="14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3" name="任意多边形: 形状 10482">
                <a:extLst>
                  <a:ext uri="{FF2B5EF4-FFF2-40B4-BE49-F238E27FC236}">
                    <a16:creationId xmlns:a16="http://schemas.microsoft.com/office/drawing/2014/main" id="{79C5144A-982D-4E5F-B888-F972B343C5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85" y="475"/>
                <a:ext cx="23" cy="21"/>
              </a:xfrm>
              <a:custGeom>
                <a:avLst/>
                <a:gdLst>
                  <a:gd name="T0" fmla="*/ 10 w 11"/>
                  <a:gd name="T1" fmla="*/ 10 h 10"/>
                  <a:gd name="T2" fmla="*/ 10 w 11"/>
                  <a:gd name="T3" fmla="*/ 5 h 10"/>
                  <a:gd name="T4" fmla="*/ 5 w 11"/>
                  <a:gd name="T5" fmla="*/ 0 h 10"/>
                  <a:gd name="T6" fmla="*/ 1 w 11"/>
                  <a:gd name="T7" fmla="*/ 5 h 10"/>
                  <a:gd name="T8" fmla="*/ 10 w 11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10" y="10"/>
                    </a:moveTo>
                    <a:cubicBezTo>
                      <a:pt x="8" y="7"/>
                      <a:pt x="11" y="7"/>
                      <a:pt x="10" y="5"/>
                    </a:cubicBezTo>
                    <a:cubicBezTo>
                      <a:pt x="7" y="5"/>
                      <a:pt x="8" y="0"/>
                      <a:pt x="5" y="0"/>
                    </a:cubicBezTo>
                    <a:cubicBezTo>
                      <a:pt x="8" y="6"/>
                      <a:pt x="0" y="2"/>
                      <a:pt x="1" y="5"/>
                    </a:cubicBezTo>
                    <a:cubicBezTo>
                      <a:pt x="4" y="4"/>
                      <a:pt x="8" y="5"/>
                      <a:pt x="1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4" name="任意多边形: 形状 10483">
                <a:extLst>
                  <a:ext uri="{FF2B5EF4-FFF2-40B4-BE49-F238E27FC236}">
                    <a16:creationId xmlns:a16="http://schemas.microsoft.com/office/drawing/2014/main" id="{6A1AA6E4-54BA-46DD-8407-28D1DBC352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0" y="917"/>
                <a:ext cx="19" cy="27"/>
              </a:xfrm>
              <a:custGeom>
                <a:avLst/>
                <a:gdLst>
                  <a:gd name="T0" fmla="*/ 2 w 9"/>
                  <a:gd name="T1" fmla="*/ 6 h 13"/>
                  <a:gd name="T2" fmla="*/ 5 w 9"/>
                  <a:gd name="T3" fmla="*/ 5 h 13"/>
                  <a:gd name="T4" fmla="*/ 4 w 9"/>
                  <a:gd name="T5" fmla="*/ 11 h 13"/>
                  <a:gd name="T6" fmla="*/ 2 w 9"/>
                  <a:gd name="T7" fmla="*/ 9 h 13"/>
                  <a:gd name="T8" fmla="*/ 5 w 9"/>
                  <a:gd name="T9" fmla="*/ 13 h 13"/>
                  <a:gd name="T10" fmla="*/ 9 w 9"/>
                  <a:gd name="T11" fmla="*/ 3 h 13"/>
                  <a:gd name="T12" fmla="*/ 2 w 9"/>
                  <a:gd name="T1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3">
                    <a:moveTo>
                      <a:pt x="2" y="6"/>
                    </a:moveTo>
                    <a:cubicBezTo>
                      <a:pt x="4" y="9"/>
                      <a:pt x="3" y="1"/>
                      <a:pt x="5" y="5"/>
                    </a:cubicBezTo>
                    <a:cubicBezTo>
                      <a:pt x="5" y="7"/>
                      <a:pt x="5" y="10"/>
                      <a:pt x="4" y="11"/>
                    </a:cubicBezTo>
                    <a:cubicBezTo>
                      <a:pt x="3" y="10"/>
                      <a:pt x="2" y="9"/>
                      <a:pt x="2" y="9"/>
                    </a:cubicBezTo>
                    <a:cubicBezTo>
                      <a:pt x="4" y="11"/>
                      <a:pt x="3" y="13"/>
                      <a:pt x="5" y="13"/>
                    </a:cubicBezTo>
                    <a:cubicBezTo>
                      <a:pt x="6" y="9"/>
                      <a:pt x="9" y="7"/>
                      <a:pt x="9" y="3"/>
                    </a:cubicBezTo>
                    <a:cubicBezTo>
                      <a:pt x="7" y="4"/>
                      <a:pt x="0" y="0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5" name="任意多边形: 形状 10484">
                <a:extLst>
                  <a:ext uri="{FF2B5EF4-FFF2-40B4-BE49-F238E27FC236}">
                    <a16:creationId xmlns:a16="http://schemas.microsoft.com/office/drawing/2014/main" id="{1E421904-A0E0-4900-8DA4-2A2260868D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1" y="707"/>
                <a:ext cx="48" cy="27"/>
              </a:xfrm>
              <a:custGeom>
                <a:avLst/>
                <a:gdLst>
                  <a:gd name="T0" fmla="*/ 15 w 23"/>
                  <a:gd name="T1" fmla="*/ 11 h 13"/>
                  <a:gd name="T2" fmla="*/ 8 w 23"/>
                  <a:gd name="T3" fmla="*/ 0 h 13"/>
                  <a:gd name="T4" fmla="*/ 0 w 23"/>
                  <a:gd name="T5" fmla="*/ 8 h 13"/>
                  <a:gd name="T6" fmla="*/ 14 w 23"/>
                  <a:gd name="T7" fmla="*/ 13 h 13"/>
                  <a:gd name="T8" fmla="*/ 20 w 23"/>
                  <a:gd name="T9" fmla="*/ 5 h 13"/>
                  <a:gd name="T10" fmla="*/ 15 w 23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3">
                    <a:moveTo>
                      <a:pt x="15" y="11"/>
                    </a:moveTo>
                    <a:cubicBezTo>
                      <a:pt x="12" y="9"/>
                      <a:pt x="9" y="3"/>
                      <a:pt x="8" y="0"/>
                    </a:cubicBezTo>
                    <a:cubicBezTo>
                      <a:pt x="5" y="2"/>
                      <a:pt x="1" y="3"/>
                      <a:pt x="0" y="8"/>
                    </a:cubicBezTo>
                    <a:cubicBezTo>
                      <a:pt x="6" y="0"/>
                      <a:pt x="10" y="5"/>
                      <a:pt x="14" y="13"/>
                    </a:cubicBezTo>
                    <a:cubicBezTo>
                      <a:pt x="17" y="10"/>
                      <a:pt x="23" y="9"/>
                      <a:pt x="20" y="5"/>
                    </a:cubicBezTo>
                    <a:cubicBezTo>
                      <a:pt x="19" y="7"/>
                      <a:pt x="14" y="7"/>
                      <a:pt x="1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6" name="任意多边形: 形状 10485">
                <a:extLst>
                  <a:ext uri="{FF2B5EF4-FFF2-40B4-BE49-F238E27FC236}">
                    <a16:creationId xmlns:a16="http://schemas.microsoft.com/office/drawing/2014/main" id="{E60D743E-6A02-49F0-ADFD-BBDA3693DF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0" y="851"/>
                <a:ext cx="16" cy="10"/>
              </a:xfrm>
              <a:custGeom>
                <a:avLst/>
                <a:gdLst>
                  <a:gd name="T0" fmla="*/ 0 w 8"/>
                  <a:gd name="T1" fmla="*/ 2 h 5"/>
                  <a:gd name="T2" fmla="*/ 6 w 8"/>
                  <a:gd name="T3" fmla="*/ 0 h 5"/>
                  <a:gd name="T4" fmla="*/ 0 w 8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cubicBezTo>
                      <a:pt x="3" y="5"/>
                      <a:pt x="8" y="4"/>
                      <a:pt x="6" y="0"/>
                    </a:cubicBezTo>
                    <a:cubicBezTo>
                      <a:pt x="4" y="3"/>
                      <a:pt x="4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7" name="任意多边形: 形状 10486">
                <a:extLst>
                  <a:ext uri="{FF2B5EF4-FFF2-40B4-BE49-F238E27FC236}">
                    <a16:creationId xmlns:a16="http://schemas.microsoft.com/office/drawing/2014/main" id="{47898237-E827-475C-AF67-BE37829BAD7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7" y="828"/>
                <a:ext cx="54" cy="35"/>
              </a:xfrm>
              <a:custGeom>
                <a:avLst/>
                <a:gdLst>
                  <a:gd name="T0" fmla="*/ 7 w 26"/>
                  <a:gd name="T1" fmla="*/ 8 h 17"/>
                  <a:gd name="T2" fmla="*/ 3 w 26"/>
                  <a:gd name="T3" fmla="*/ 8 h 17"/>
                  <a:gd name="T4" fmla="*/ 6 w 26"/>
                  <a:gd name="T5" fmla="*/ 12 h 17"/>
                  <a:gd name="T6" fmla="*/ 11 w 26"/>
                  <a:gd name="T7" fmla="*/ 7 h 17"/>
                  <a:gd name="T8" fmla="*/ 16 w 26"/>
                  <a:gd name="T9" fmla="*/ 12 h 17"/>
                  <a:gd name="T10" fmla="*/ 18 w 26"/>
                  <a:gd name="T11" fmla="*/ 12 h 17"/>
                  <a:gd name="T12" fmla="*/ 15 w 26"/>
                  <a:gd name="T13" fmla="*/ 17 h 17"/>
                  <a:gd name="T14" fmla="*/ 25 w 26"/>
                  <a:gd name="T15" fmla="*/ 12 h 17"/>
                  <a:gd name="T16" fmla="*/ 25 w 26"/>
                  <a:gd name="T17" fmla="*/ 11 h 17"/>
                  <a:gd name="T18" fmla="*/ 25 w 26"/>
                  <a:gd name="T19" fmla="*/ 9 h 17"/>
                  <a:gd name="T20" fmla="*/ 20 w 26"/>
                  <a:gd name="T21" fmla="*/ 8 h 17"/>
                  <a:gd name="T22" fmla="*/ 20 w 26"/>
                  <a:gd name="T23" fmla="*/ 4 h 17"/>
                  <a:gd name="T24" fmla="*/ 15 w 26"/>
                  <a:gd name="T25" fmla="*/ 0 h 17"/>
                  <a:gd name="T26" fmla="*/ 0 w 26"/>
                  <a:gd name="T27" fmla="*/ 3 h 17"/>
                  <a:gd name="T28" fmla="*/ 7 w 26"/>
                  <a:gd name="T2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17">
                    <a:moveTo>
                      <a:pt x="7" y="8"/>
                    </a:moveTo>
                    <a:cubicBezTo>
                      <a:pt x="6" y="10"/>
                      <a:pt x="4" y="7"/>
                      <a:pt x="3" y="8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8" y="11"/>
                      <a:pt x="8" y="8"/>
                      <a:pt x="11" y="7"/>
                    </a:cubicBezTo>
                    <a:cubicBezTo>
                      <a:pt x="12" y="7"/>
                      <a:pt x="14" y="13"/>
                      <a:pt x="16" y="12"/>
                    </a:cubicBezTo>
                    <a:cubicBezTo>
                      <a:pt x="15" y="10"/>
                      <a:pt x="17" y="11"/>
                      <a:pt x="18" y="12"/>
                    </a:cubicBezTo>
                    <a:cubicBezTo>
                      <a:pt x="16" y="13"/>
                      <a:pt x="15" y="15"/>
                      <a:pt x="15" y="17"/>
                    </a:cubicBezTo>
                    <a:cubicBezTo>
                      <a:pt x="18" y="14"/>
                      <a:pt x="21" y="7"/>
                      <a:pt x="25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5" y="10"/>
                      <a:pt x="26" y="10"/>
                      <a:pt x="25" y="9"/>
                    </a:cubicBezTo>
                    <a:cubicBezTo>
                      <a:pt x="22" y="7"/>
                      <a:pt x="21" y="8"/>
                      <a:pt x="20" y="8"/>
                    </a:cubicBezTo>
                    <a:cubicBezTo>
                      <a:pt x="19" y="6"/>
                      <a:pt x="21" y="6"/>
                      <a:pt x="20" y="4"/>
                    </a:cubicBezTo>
                    <a:cubicBezTo>
                      <a:pt x="18" y="5"/>
                      <a:pt x="17" y="3"/>
                      <a:pt x="15" y="0"/>
                    </a:cubicBezTo>
                    <a:cubicBezTo>
                      <a:pt x="11" y="0"/>
                      <a:pt x="7" y="3"/>
                      <a:pt x="0" y="3"/>
                    </a:cubicBezTo>
                    <a:cubicBezTo>
                      <a:pt x="3" y="7"/>
                      <a:pt x="5" y="3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8" name="任意多边形: 形状 10487">
                <a:extLst>
                  <a:ext uri="{FF2B5EF4-FFF2-40B4-BE49-F238E27FC236}">
                    <a16:creationId xmlns:a16="http://schemas.microsoft.com/office/drawing/2014/main" id="{6CF72A80-D033-423B-A375-14D1B6725E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51" y="649"/>
                <a:ext cx="27" cy="25"/>
              </a:xfrm>
              <a:custGeom>
                <a:avLst/>
                <a:gdLst>
                  <a:gd name="T0" fmla="*/ 2 w 13"/>
                  <a:gd name="T1" fmla="*/ 9 h 12"/>
                  <a:gd name="T2" fmla="*/ 5 w 13"/>
                  <a:gd name="T3" fmla="*/ 8 h 12"/>
                  <a:gd name="T4" fmla="*/ 4 w 13"/>
                  <a:gd name="T5" fmla="*/ 4 h 12"/>
                  <a:gd name="T6" fmla="*/ 2 w 13"/>
                  <a:gd name="T7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2">
                    <a:moveTo>
                      <a:pt x="2" y="9"/>
                    </a:moveTo>
                    <a:cubicBezTo>
                      <a:pt x="3" y="8"/>
                      <a:pt x="4" y="8"/>
                      <a:pt x="5" y="8"/>
                    </a:cubicBezTo>
                    <a:cubicBezTo>
                      <a:pt x="4" y="3"/>
                      <a:pt x="13" y="0"/>
                      <a:pt x="4" y="4"/>
                    </a:cubicBezTo>
                    <a:cubicBezTo>
                      <a:pt x="3" y="5"/>
                      <a:pt x="0" y="12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9" name="任意多边形: 形状 10488">
                <a:extLst>
                  <a:ext uri="{FF2B5EF4-FFF2-40B4-BE49-F238E27FC236}">
                    <a16:creationId xmlns:a16="http://schemas.microsoft.com/office/drawing/2014/main" id="{62B1D715-D3F8-4B66-880D-C68B0DE4C2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4" y="826"/>
                <a:ext cx="31" cy="27"/>
              </a:xfrm>
              <a:custGeom>
                <a:avLst/>
                <a:gdLst>
                  <a:gd name="T0" fmla="*/ 4 w 15"/>
                  <a:gd name="T1" fmla="*/ 3 h 13"/>
                  <a:gd name="T2" fmla="*/ 1 w 15"/>
                  <a:gd name="T3" fmla="*/ 7 h 13"/>
                  <a:gd name="T4" fmla="*/ 3 w 15"/>
                  <a:gd name="T5" fmla="*/ 11 h 13"/>
                  <a:gd name="T6" fmla="*/ 13 w 15"/>
                  <a:gd name="T7" fmla="*/ 8 h 13"/>
                  <a:gd name="T8" fmla="*/ 14 w 15"/>
                  <a:gd name="T9" fmla="*/ 4 h 13"/>
                  <a:gd name="T10" fmla="*/ 4 w 15"/>
                  <a:gd name="T1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3">
                    <a:moveTo>
                      <a:pt x="4" y="3"/>
                    </a:moveTo>
                    <a:cubicBezTo>
                      <a:pt x="2" y="4"/>
                      <a:pt x="0" y="8"/>
                      <a:pt x="1" y="7"/>
                    </a:cubicBezTo>
                    <a:cubicBezTo>
                      <a:pt x="4" y="6"/>
                      <a:pt x="3" y="9"/>
                      <a:pt x="3" y="11"/>
                    </a:cubicBezTo>
                    <a:cubicBezTo>
                      <a:pt x="8" y="12"/>
                      <a:pt x="9" y="4"/>
                      <a:pt x="13" y="8"/>
                    </a:cubicBezTo>
                    <a:cubicBezTo>
                      <a:pt x="14" y="7"/>
                      <a:pt x="15" y="6"/>
                      <a:pt x="14" y="4"/>
                    </a:cubicBezTo>
                    <a:cubicBezTo>
                      <a:pt x="11" y="0"/>
                      <a:pt x="6" y="13"/>
                      <a:pt x="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0" name="任意多边形: 形状 10489">
                <a:extLst>
                  <a:ext uri="{FF2B5EF4-FFF2-40B4-BE49-F238E27FC236}">
                    <a16:creationId xmlns:a16="http://schemas.microsoft.com/office/drawing/2014/main" id="{D7A31D41-B5AD-41A1-BC8A-6FA500904C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39" y="1156"/>
                <a:ext cx="16" cy="10"/>
              </a:xfrm>
              <a:custGeom>
                <a:avLst/>
                <a:gdLst>
                  <a:gd name="T0" fmla="*/ 8 w 8"/>
                  <a:gd name="T1" fmla="*/ 1 h 5"/>
                  <a:gd name="T2" fmla="*/ 3 w 8"/>
                  <a:gd name="T3" fmla="*/ 5 h 5"/>
                  <a:gd name="T4" fmla="*/ 4 w 8"/>
                  <a:gd name="T5" fmla="*/ 2 h 5"/>
                  <a:gd name="T6" fmla="*/ 7 w 8"/>
                  <a:gd name="T7" fmla="*/ 5 h 5"/>
                  <a:gd name="T8" fmla="*/ 8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5" y="0"/>
                      <a:pt x="0" y="3"/>
                      <a:pt x="3" y="5"/>
                    </a:cubicBezTo>
                    <a:cubicBezTo>
                      <a:pt x="3" y="4"/>
                      <a:pt x="3" y="3"/>
                      <a:pt x="4" y="2"/>
                    </a:cubicBezTo>
                    <a:cubicBezTo>
                      <a:pt x="4" y="4"/>
                      <a:pt x="5" y="5"/>
                      <a:pt x="7" y="5"/>
                    </a:cubicBezTo>
                    <a:cubicBezTo>
                      <a:pt x="6" y="3"/>
                      <a:pt x="8" y="3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1" name="任意多边形: 形状 10490">
                <a:extLst>
                  <a:ext uri="{FF2B5EF4-FFF2-40B4-BE49-F238E27FC236}">
                    <a16:creationId xmlns:a16="http://schemas.microsoft.com/office/drawing/2014/main" id="{093AB168-17D6-48D9-A046-2DEA716E6E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9" y="691"/>
                <a:ext cx="48" cy="41"/>
              </a:xfrm>
              <a:custGeom>
                <a:avLst/>
                <a:gdLst>
                  <a:gd name="T0" fmla="*/ 3 w 23"/>
                  <a:gd name="T1" fmla="*/ 20 h 20"/>
                  <a:gd name="T2" fmla="*/ 21 w 23"/>
                  <a:gd name="T3" fmla="*/ 14 h 20"/>
                  <a:gd name="T4" fmla="*/ 22 w 23"/>
                  <a:gd name="T5" fmla="*/ 9 h 20"/>
                  <a:gd name="T6" fmla="*/ 22 w 23"/>
                  <a:gd name="T7" fmla="*/ 9 h 20"/>
                  <a:gd name="T8" fmla="*/ 19 w 23"/>
                  <a:gd name="T9" fmla="*/ 5 h 20"/>
                  <a:gd name="T10" fmla="*/ 19 w 23"/>
                  <a:gd name="T11" fmla="*/ 9 h 20"/>
                  <a:gd name="T12" fmla="*/ 15 w 23"/>
                  <a:gd name="T13" fmla="*/ 8 h 20"/>
                  <a:gd name="T14" fmla="*/ 15 w 23"/>
                  <a:gd name="T15" fmla="*/ 1 h 20"/>
                  <a:gd name="T16" fmla="*/ 8 w 23"/>
                  <a:gd name="T17" fmla="*/ 2 h 20"/>
                  <a:gd name="T18" fmla="*/ 3 w 23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0">
                    <a:moveTo>
                      <a:pt x="3" y="20"/>
                    </a:moveTo>
                    <a:cubicBezTo>
                      <a:pt x="10" y="18"/>
                      <a:pt x="15" y="14"/>
                      <a:pt x="21" y="14"/>
                    </a:cubicBezTo>
                    <a:cubicBezTo>
                      <a:pt x="21" y="12"/>
                      <a:pt x="19" y="10"/>
                      <a:pt x="22" y="9"/>
                    </a:cubicBezTo>
                    <a:cubicBezTo>
                      <a:pt x="22" y="10"/>
                      <a:pt x="23" y="10"/>
                      <a:pt x="22" y="9"/>
                    </a:cubicBezTo>
                    <a:cubicBezTo>
                      <a:pt x="20" y="9"/>
                      <a:pt x="20" y="8"/>
                      <a:pt x="19" y="5"/>
                    </a:cubicBezTo>
                    <a:cubicBezTo>
                      <a:pt x="15" y="5"/>
                      <a:pt x="21" y="9"/>
                      <a:pt x="19" y="9"/>
                    </a:cubicBezTo>
                    <a:cubicBezTo>
                      <a:pt x="17" y="8"/>
                      <a:pt x="17" y="13"/>
                      <a:pt x="15" y="8"/>
                    </a:cubicBezTo>
                    <a:cubicBezTo>
                      <a:pt x="13" y="5"/>
                      <a:pt x="16" y="4"/>
                      <a:pt x="15" y="1"/>
                    </a:cubicBezTo>
                    <a:cubicBezTo>
                      <a:pt x="13" y="0"/>
                      <a:pt x="10" y="3"/>
                      <a:pt x="8" y="2"/>
                    </a:cubicBezTo>
                    <a:cubicBezTo>
                      <a:pt x="13" y="7"/>
                      <a:pt x="0" y="11"/>
                      <a:pt x="3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2" name="任意多边形: 形状 10491">
                <a:extLst>
                  <a:ext uri="{FF2B5EF4-FFF2-40B4-BE49-F238E27FC236}">
                    <a16:creationId xmlns:a16="http://schemas.microsoft.com/office/drawing/2014/main" id="{6CD2E883-1372-4E55-A1FE-82A0BA299F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40" y="724"/>
                <a:ext cx="14" cy="17"/>
              </a:xfrm>
              <a:custGeom>
                <a:avLst/>
                <a:gdLst>
                  <a:gd name="T0" fmla="*/ 0 w 7"/>
                  <a:gd name="T1" fmla="*/ 7 h 8"/>
                  <a:gd name="T2" fmla="*/ 3 w 7"/>
                  <a:gd name="T3" fmla="*/ 2 h 8"/>
                  <a:gd name="T4" fmla="*/ 5 w 7"/>
                  <a:gd name="T5" fmla="*/ 3 h 8"/>
                  <a:gd name="T6" fmla="*/ 3 w 7"/>
                  <a:gd name="T7" fmla="*/ 0 h 8"/>
                  <a:gd name="T8" fmla="*/ 0 w 7"/>
                  <a:gd name="T9" fmla="*/ 2 h 8"/>
                  <a:gd name="T10" fmla="*/ 0 w 7"/>
                  <a:gd name="T1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">
                    <a:moveTo>
                      <a:pt x="0" y="7"/>
                    </a:moveTo>
                    <a:cubicBezTo>
                      <a:pt x="4" y="8"/>
                      <a:pt x="1" y="4"/>
                      <a:pt x="3" y="2"/>
                    </a:cubicBezTo>
                    <a:cubicBezTo>
                      <a:pt x="3" y="2"/>
                      <a:pt x="7" y="7"/>
                      <a:pt x="5" y="3"/>
                    </a:cubicBezTo>
                    <a:cubicBezTo>
                      <a:pt x="5" y="2"/>
                      <a:pt x="4" y="2"/>
                      <a:pt x="3" y="0"/>
                    </a:cubicBezTo>
                    <a:cubicBezTo>
                      <a:pt x="1" y="2"/>
                      <a:pt x="2" y="3"/>
                      <a:pt x="0" y="2"/>
                    </a:cubicBezTo>
                    <a:cubicBezTo>
                      <a:pt x="1" y="4"/>
                      <a:pt x="0" y="5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3" name="任意多边形: 形状 10492">
                <a:extLst>
                  <a:ext uri="{FF2B5EF4-FFF2-40B4-BE49-F238E27FC236}">
                    <a16:creationId xmlns:a16="http://schemas.microsoft.com/office/drawing/2014/main" id="{39D5EF80-10C9-4E79-854F-4BA261F1ED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6" y="415"/>
                <a:ext cx="104" cy="64"/>
              </a:xfrm>
              <a:custGeom>
                <a:avLst/>
                <a:gdLst>
                  <a:gd name="T0" fmla="*/ 47 w 50"/>
                  <a:gd name="T1" fmla="*/ 26 h 31"/>
                  <a:gd name="T2" fmla="*/ 43 w 50"/>
                  <a:gd name="T3" fmla="*/ 22 h 31"/>
                  <a:gd name="T4" fmla="*/ 50 w 50"/>
                  <a:gd name="T5" fmla="*/ 18 h 31"/>
                  <a:gd name="T6" fmla="*/ 37 w 50"/>
                  <a:gd name="T7" fmla="*/ 12 h 31"/>
                  <a:gd name="T8" fmla="*/ 35 w 50"/>
                  <a:gd name="T9" fmla="*/ 5 h 31"/>
                  <a:gd name="T10" fmla="*/ 5 w 50"/>
                  <a:gd name="T11" fmla="*/ 20 h 31"/>
                  <a:gd name="T12" fmla="*/ 47 w 50"/>
                  <a:gd name="T1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1">
                    <a:moveTo>
                      <a:pt x="47" y="26"/>
                    </a:moveTo>
                    <a:cubicBezTo>
                      <a:pt x="46" y="22"/>
                      <a:pt x="44" y="24"/>
                      <a:pt x="43" y="22"/>
                    </a:cubicBezTo>
                    <a:cubicBezTo>
                      <a:pt x="43" y="18"/>
                      <a:pt x="47" y="20"/>
                      <a:pt x="50" y="18"/>
                    </a:cubicBezTo>
                    <a:cubicBezTo>
                      <a:pt x="45" y="15"/>
                      <a:pt x="41" y="14"/>
                      <a:pt x="37" y="12"/>
                    </a:cubicBezTo>
                    <a:cubicBezTo>
                      <a:pt x="36" y="10"/>
                      <a:pt x="37" y="8"/>
                      <a:pt x="35" y="5"/>
                    </a:cubicBezTo>
                    <a:cubicBezTo>
                      <a:pt x="23" y="3"/>
                      <a:pt x="0" y="0"/>
                      <a:pt x="5" y="20"/>
                    </a:cubicBezTo>
                    <a:cubicBezTo>
                      <a:pt x="19" y="31"/>
                      <a:pt x="33" y="21"/>
                      <a:pt x="47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4" name="任意多边形: 形状 10493">
                <a:extLst>
                  <a:ext uri="{FF2B5EF4-FFF2-40B4-BE49-F238E27FC236}">
                    <a16:creationId xmlns:a16="http://schemas.microsoft.com/office/drawing/2014/main" id="{CEA16F3D-D942-4593-9837-E77FFABBE2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68" y="452"/>
                <a:ext cx="29" cy="25"/>
              </a:xfrm>
              <a:custGeom>
                <a:avLst/>
                <a:gdLst>
                  <a:gd name="T0" fmla="*/ 6 w 14"/>
                  <a:gd name="T1" fmla="*/ 9 h 12"/>
                  <a:gd name="T2" fmla="*/ 8 w 14"/>
                  <a:gd name="T3" fmla="*/ 3 h 12"/>
                  <a:gd name="T4" fmla="*/ 9 w 14"/>
                  <a:gd name="T5" fmla="*/ 11 h 12"/>
                  <a:gd name="T6" fmla="*/ 14 w 14"/>
                  <a:gd name="T7" fmla="*/ 10 h 12"/>
                  <a:gd name="T8" fmla="*/ 5 w 14"/>
                  <a:gd name="T9" fmla="*/ 0 h 12"/>
                  <a:gd name="T10" fmla="*/ 0 w 14"/>
                  <a:gd name="T11" fmla="*/ 6 h 12"/>
                  <a:gd name="T12" fmla="*/ 6 w 14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2">
                    <a:moveTo>
                      <a:pt x="6" y="9"/>
                    </a:moveTo>
                    <a:cubicBezTo>
                      <a:pt x="7" y="7"/>
                      <a:pt x="4" y="4"/>
                      <a:pt x="8" y="3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11" y="9"/>
                      <a:pt x="13" y="12"/>
                      <a:pt x="14" y="10"/>
                    </a:cubicBezTo>
                    <a:cubicBezTo>
                      <a:pt x="11" y="4"/>
                      <a:pt x="8" y="4"/>
                      <a:pt x="5" y="0"/>
                    </a:cubicBezTo>
                    <a:cubicBezTo>
                      <a:pt x="5" y="3"/>
                      <a:pt x="2" y="4"/>
                      <a:pt x="0" y="6"/>
                    </a:cubicBezTo>
                    <a:cubicBezTo>
                      <a:pt x="2" y="9"/>
                      <a:pt x="4" y="10"/>
                      <a:pt x="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5" name="任意多边形: 形状 10494">
                <a:extLst>
                  <a:ext uri="{FF2B5EF4-FFF2-40B4-BE49-F238E27FC236}">
                    <a16:creationId xmlns:a16="http://schemas.microsoft.com/office/drawing/2014/main" id="{031DD693-ABE4-46C1-8069-A2F4151B59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8" y="2585"/>
                <a:ext cx="19" cy="36"/>
              </a:xfrm>
              <a:custGeom>
                <a:avLst/>
                <a:gdLst>
                  <a:gd name="T0" fmla="*/ 0 w 9"/>
                  <a:gd name="T1" fmla="*/ 8 h 17"/>
                  <a:gd name="T2" fmla="*/ 7 w 9"/>
                  <a:gd name="T3" fmla="*/ 13 h 17"/>
                  <a:gd name="T4" fmla="*/ 3 w 9"/>
                  <a:gd name="T5" fmla="*/ 8 h 17"/>
                  <a:gd name="T6" fmla="*/ 9 w 9"/>
                  <a:gd name="T7" fmla="*/ 6 h 17"/>
                  <a:gd name="T8" fmla="*/ 6 w 9"/>
                  <a:gd name="T9" fmla="*/ 0 h 17"/>
                  <a:gd name="T10" fmla="*/ 0 w 9"/>
                  <a:gd name="T11" fmla="*/ 4 h 17"/>
                  <a:gd name="T12" fmla="*/ 0 w 9"/>
                  <a:gd name="T1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7">
                    <a:moveTo>
                      <a:pt x="0" y="8"/>
                    </a:moveTo>
                    <a:cubicBezTo>
                      <a:pt x="3" y="7"/>
                      <a:pt x="3" y="17"/>
                      <a:pt x="7" y="13"/>
                    </a:cubicBezTo>
                    <a:cubicBezTo>
                      <a:pt x="6" y="9"/>
                      <a:pt x="4" y="12"/>
                      <a:pt x="3" y="8"/>
                    </a:cubicBezTo>
                    <a:cubicBezTo>
                      <a:pt x="5" y="5"/>
                      <a:pt x="7" y="8"/>
                      <a:pt x="9" y="6"/>
                    </a:cubicBezTo>
                    <a:cubicBezTo>
                      <a:pt x="9" y="5"/>
                      <a:pt x="9" y="0"/>
                      <a:pt x="6" y="0"/>
                    </a:cubicBezTo>
                    <a:cubicBezTo>
                      <a:pt x="7" y="4"/>
                      <a:pt x="2" y="2"/>
                      <a:pt x="0" y="4"/>
                    </a:cubicBezTo>
                    <a:cubicBezTo>
                      <a:pt x="1" y="6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6" name="任意多边形: 形状 10495">
                <a:extLst>
                  <a:ext uri="{FF2B5EF4-FFF2-40B4-BE49-F238E27FC236}">
                    <a16:creationId xmlns:a16="http://schemas.microsoft.com/office/drawing/2014/main" id="{E7455B28-80F4-42FD-BE38-9D6B20059A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11" y="1928"/>
                <a:ext cx="27" cy="25"/>
              </a:xfrm>
              <a:custGeom>
                <a:avLst/>
                <a:gdLst>
                  <a:gd name="T0" fmla="*/ 7 w 13"/>
                  <a:gd name="T1" fmla="*/ 10 h 12"/>
                  <a:gd name="T2" fmla="*/ 5 w 13"/>
                  <a:gd name="T3" fmla="*/ 4 h 12"/>
                  <a:gd name="T4" fmla="*/ 9 w 13"/>
                  <a:gd name="T5" fmla="*/ 8 h 12"/>
                  <a:gd name="T6" fmla="*/ 12 w 13"/>
                  <a:gd name="T7" fmla="*/ 0 h 12"/>
                  <a:gd name="T8" fmla="*/ 0 w 13"/>
                  <a:gd name="T9" fmla="*/ 6 h 12"/>
                  <a:gd name="T10" fmla="*/ 3 w 13"/>
                  <a:gd name="T11" fmla="*/ 12 h 12"/>
                  <a:gd name="T12" fmla="*/ 7 w 13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7" y="10"/>
                    </a:moveTo>
                    <a:cubicBezTo>
                      <a:pt x="7" y="6"/>
                      <a:pt x="4" y="7"/>
                      <a:pt x="5" y="4"/>
                    </a:cubicBezTo>
                    <a:cubicBezTo>
                      <a:pt x="6" y="3"/>
                      <a:pt x="7" y="5"/>
                      <a:pt x="9" y="8"/>
                    </a:cubicBezTo>
                    <a:cubicBezTo>
                      <a:pt x="10" y="5"/>
                      <a:pt x="13" y="4"/>
                      <a:pt x="12" y="0"/>
                    </a:cubicBezTo>
                    <a:cubicBezTo>
                      <a:pt x="8" y="3"/>
                      <a:pt x="3" y="0"/>
                      <a:pt x="0" y="6"/>
                    </a:cubicBezTo>
                    <a:cubicBezTo>
                      <a:pt x="2" y="8"/>
                      <a:pt x="2" y="9"/>
                      <a:pt x="3" y="12"/>
                    </a:cubicBez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7" name="任意多边形: 形状 10496">
                <a:extLst>
                  <a:ext uri="{FF2B5EF4-FFF2-40B4-BE49-F238E27FC236}">
                    <a16:creationId xmlns:a16="http://schemas.microsoft.com/office/drawing/2014/main" id="{05A73A44-6E4B-4F86-983E-6867418FE6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2050"/>
                <a:ext cx="23" cy="19"/>
              </a:xfrm>
              <a:custGeom>
                <a:avLst/>
                <a:gdLst>
                  <a:gd name="T0" fmla="*/ 1 w 11"/>
                  <a:gd name="T1" fmla="*/ 7 h 9"/>
                  <a:gd name="T2" fmla="*/ 11 w 11"/>
                  <a:gd name="T3" fmla="*/ 9 h 9"/>
                  <a:gd name="T4" fmla="*/ 5 w 11"/>
                  <a:gd name="T5" fmla="*/ 0 h 9"/>
                  <a:gd name="T6" fmla="*/ 2 w 11"/>
                  <a:gd name="T7" fmla="*/ 4 h 9"/>
                  <a:gd name="T8" fmla="*/ 2 w 11"/>
                  <a:gd name="T9" fmla="*/ 5 h 9"/>
                  <a:gd name="T10" fmla="*/ 1 w 11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">
                    <a:moveTo>
                      <a:pt x="1" y="7"/>
                    </a:moveTo>
                    <a:cubicBezTo>
                      <a:pt x="6" y="4"/>
                      <a:pt x="7" y="9"/>
                      <a:pt x="11" y="9"/>
                    </a:cubicBezTo>
                    <a:cubicBezTo>
                      <a:pt x="9" y="3"/>
                      <a:pt x="7" y="3"/>
                      <a:pt x="5" y="0"/>
                    </a:cubicBezTo>
                    <a:cubicBezTo>
                      <a:pt x="4" y="2"/>
                      <a:pt x="0" y="1"/>
                      <a:pt x="2" y="4"/>
                    </a:cubicBezTo>
                    <a:cubicBezTo>
                      <a:pt x="2" y="4"/>
                      <a:pt x="3" y="4"/>
                      <a:pt x="2" y="5"/>
                    </a:cubicBezTo>
                    <a:cubicBezTo>
                      <a:pt x="2" y="6"/>
                      <a:pt x="1" y="6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8" name="任意多边形: 形状 10497">
                <a:extLst>
                  <a:ext uri="{FF2B5EF4-FFF2-40B4-BE49-F238E27FC236}">
                    <a16:creationId xmlns:a16="http://schemas.microsoft.com/office/drawing/2014/main" id="{E2B0EB04-2A54-4934-A556-612AE0A8E1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5" y="1988"/>
                <a:ext cx="44" cy="50"/>
              </a:xfrm>
              <a:custGeom>
                <a:avLst/>
                <a:gdLst>
                  <a:gd name="T0" fmla="*/ 12 w 21"/>
                  <a:gd name="T1" fmla="*/ 11 h 24"/>
                  <a:gd name="T2" fmla="*/ 9 w 21"/>
                  <a:gd name="T3" fmla="*/ 10 h 24"/>
                  <a:gd name="T4" fmla="*/ 10 w 21"/>
                  <a:gd name="T5" fmla="*/ 5 h 24"/>
                  <a:gd name="T6" fmla="*/ 0 w 21"/>
                  <a:gd name="T7" fmla="*/ 10 h 24"/>
                  <a:gd name="T8" fmla="*/ 6 w 21"/>
                  <a:gd name="T9" fmla="*/ 20 h 24"/>
                  <a:gd name="T10" fmla="*/ 12 w 21"/>
                  <a:gd name="T11" fmla="*/ 19 h 24"/>
                  <a:gd name="T12" fmla="*/ 16 w 21"/>
                  <a:gd name="T13" fmla="*/ 13 h 24"/>
                  <a:gd name="T14" fmla="*/ 14 w 21"/>
                  <a:gd name="T15" fmla="*/ 9 h 24"/>
                  <a:gd name="T16" fmla="*/ 19 w 21"/>
                  <a:gd name="T17" fmla="*/ 12 h 24"/>
                  <a:gd name="T18" fmla="*/ 18 w 21"/>
                  <a:gd name="T19" fmla="*/ 0 h 24"/>
                  <a:gd name="T20" fmla="*/ 18 w 21"/>
                  <a:gd name="T21" fmla="*/ 6 h 24"/>
                  <a:gd name="T22" fmla="*/ 12 w 21"/>
                  <a:gd name="T23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24">
                    <a:moveTo>
                      <a:pt x="12" y="11"/>
                    </a:moveTo>
                    <a:cubicBezTo>
                      <a:pt x="11" y="12"/>
                      <a:pt x="10" y="11"/>
                      <a:pt x="9" y="10"/>
                    </a:cubicBezTo>
                    <a:cubicBezTo>
                      <a:pt x="9" y="8"/>
                      <a:pt x="13" y="8"/>
                      <a:pt x="10" y="5"/>
                    </a:cubicBezTo>
                    <a:cubicBezTo>
                      <a:pt x="6" y="9"/>
                      <a:pt x="4" y="9"/>
                      <a:pt x="0" y="10"/>
                    </a:cubicBezTo>
                    <a:cubicBezTo>
                      <a:pt x="6" y="12"/>
                      <a:pt x="2" y="17"/>
                      <a:pt x="6" y="20"/>
                    </a:cubicBezTo>
                    <a:cubicBezTo>
                      <a:pt x="5" y="15"/>
                      <a:pt x="13" y="24"/>
                      <a:pt x="12" y="19"/>
                    </a:cubicBezTo>
                    <a:cubicBezTo>
                      <a:pt x="10" y="18"/>
                      <a:pt x="13" y="13"/>
                      <a:pt x="16" y="13"/>
                    </a:cubicBezTo>
                    <a:cubicBezTo>
                      <a:pt x="17" y="11"/>
                      <a:pt x="13" y="10"/>
                      <a:pt x="14" y="9"/>
                    </a:cubicBezTo>
                    <a:cubicBezTo>
                      <a:pt x="17" y="5"/>
                      <a:pt x="19" y="9"/>
                      <a:pt x="19" y="12"/>
                    </a:cubicBezTo>
                    <a:cubicBezTo>
                      <a:pt x="20" y="8"/>
                      <a:pt x="21" y="5"/>
                      <a:pt x="18" y="0"/>
                    </a:cubicBezTo>
                    <a:cubicBezTo>
                      <a:pt x="15" y="1"/>
                      <a:pt x="20" y="5"/>
                      <a:pt x="18" y="6"/>
                    </a:cubicBezTo>
                    <a:cubicBezTo>
                      <a:pt x="14" y="3"/>
                      <a:pt x="13" y="8"/>
                      <a:pt x="1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9" name="任意多边形: 形状 10498">
                <a:extLst>
                  <a:ext uri="{FF2B5EF4-FFF2-40B4-BE49-F238E27FC236}">
                    <a16:creationId xmlns:a16="http://schemas.microsoft.com/office/drawing/2014/main" id="{AE32F869-0451-4DB9-B5B3-4F5C233FB6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1926"/>
                <a:ext cx="54" cy="45"/>
              </a:xfrm>
              <a:custGeom>
                <a:avLst/>
                <a:gdLst>
                  <a:gd name="T0" fmla="*/ 0 w 26"/>
                  <a:gd name="T1" fmla="*/ 22 h 22"/>
                  <a:gd name="T2" fmla="*/ 12 w 26"/>
                  <a:gd name="T3" fmla="*/ 15 h 22"/>
                  <a:gd name="T4" fmla="*/ 17 w 26"/>
                  <a:gd name="T5" fmla="*/ 13 h 22"/>
                  <a:gd name="T6" fmla="*/ 19 w 26"/>
                  <a:gd name="T7" fmla="*/ 18 h 22"/>
                  <a:gd name="T8" fmla="*/ 22 w 26"/>
                  <a:gd name="T9" fmla="*/ 5 h 22"/>
                  <a:gd name="T10" fmla="*/ 26 w 26"/>
                  <a:gd name="T11" fmla="*/ 8 h 22"/>
                  <a:gd name="T12" fmla="*/ 8 w 26"/>
                  <a:gd name="T13" fmla="*/ 11 h 22"/>
                  <a:gd name="T14" fmla="*/ 11 w 26"/>
                  <a:gd name="T15" fmla="*/ 14 h 22"/>
                  <a:gd name="T16" fmla="*/ 0 w 26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22">
                    <a:moveTo>
                      <a:pt x="0" y="22"/>
                    </a:moveTo>
                    <a:cubicBezTo>
                      <a:pt x="4" y="21"/>
                      <a:pt x="11" y="20"/>
                      <a:pt x="12" y="15"/>
                    </a:cubicBezTo>
                    <a:cubicBezTo>
                      <a:pt x="15" y="17"/>
                      <a:pt x="16" y="16"/>
                      <a:pt x="17" y="13"/>
                    </a:cubicBezTo>
                    <a:cubicBezTo>
                      <a:pt x="18" y="15"/>
                      <a:pt x="19" y="17"/>
                      <a:pt x="19" y="18"/>
                    </a:cubicBezTo>
                    <a:cubicBezTo>
                      <a:pt x="20" y="14"/>
                      <a:pt x="24" y="11"/>
                      <a:pt x="22" y="5"/>
                    </a:cubicBezTo>
                    <a:cubicBezTo>
                      <a:pt x="23" y="7"/>
                      <a:pt x="25" y="9"/>
                      <a:pt x="26" y="8"/>
                    </a:cubicBezTo>
                    <a:cubicBezTo>
                      <a:pt x="20" y="0"/>
                      <a:pt x="14" y="9"/>
                      <a:pt x="8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5" y="12"/>
                      <a:pt x="3" y="21"/>
                      <a:pt x="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0" name="任意多边形: 形状 10499">
                <a:extLst>
                  <a:ext uri="{FF2B5EF4-FFF2-40B4-BE49-F238E27FC236}">
                    <a16:creationId xmlns:a16="http://schemas.microsoft.com/office/drawing/2014/main" id="{4528A258-1278-4B38-84E1-9C75E3B0D8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6" y="1035"/>
                <a:ext cx="69" cy="77"/>
              </a:xfrm>
              <a:custGeom>
                <a:avLst/>
                <a:gdLst>
                  <a:gd name="T0" fmla="*/ 32 w 33"/>
                  <a:gd name="T1" fmla="*/ 6 h 37"/>
                  <a:gd name="T2" fmla="*/ 23 w 33"/>
                  <a:gd name="T3" fmla="*/ 14 h 37"/>
                  <a:gd name="T4" fmla="*/ 15 w 33"/>
                  <a:gd name="T5" fmla="*/ 16 h 37"/>
                  <a:gd name="T6" fmla="*/ 11 w 33"/>
                  <a:gd name="T7" fmla="*/ 26 h 37"/>
                  <a:gd name="T8" fmla="*/ 7 w 33"/>
                  <a:gd name="T9" fmla="*/ 22 h 37"/>
                  <a:gd name="T10" fmla="*/ 0 w 33"/>
                  <a:gd name="T11" fmla="*/ 37 h 37"/>
                  <a:gd name="T12" fmla="*/ 31 w 33"/>
                  <a:gd name="T13" fmla="*/ 13 h 37"/>
                  <a:gd name="T14" fmla="*/ 27 w 33"/>
                  <a:gd name="T15" fmla="*/ 11 h 37"/>
                  <a:gd name="T16" fmla="*/ 32 w 33"/>
                  <a:gd name="T17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7">
                    <a:moveTo>
                      <a:pt x="32" y="6"/>
                    </a:moveTo>
                    <a:cubicBezTo>
                      <a:pt x="27" y="0"/>
                      <a:pt x="20" y="7"/>
                      <a:pt x="23" y="14"/>
                    </a:cubicBezTo>
                    <a:cubicBezTo>
                      <a:pt x="20" y="14"/>
                      <a:pt x="15" y="12"/>
                      <a:pt x="15" y="16"/>
                    </a:cubicBezTo>
                    <a:cubicBezTo>
                      <a:pt x="18" y="18"/>
                      <a:pt x="14" y="24"/>
                      <a:pt x="11" y="26"/>
                    </a:cubicBezTo>
                    <a:cubicBezTo>
                      <a:pt x="10" y="24"/>
                      <a:pt x="9" y="22"/>
                      <a:pt x="7" y="22"/>
                    </a:cubicBezTo>
                    <a:cubicBezTo>
                      <a:pt x="13" y="31"/>
                      <a:pt x="0" y="32"/>
                      <a:pt x="0" y="37"/>
                    </a:cubicBezTo>
                    <a:cubicBezTo>
                      <a:pt x="13" y="30"/>
                      <a:pt x="18" y="17"/>
                      <a:pt x="31" y="13"/>
                    </a:cubicBezTo>
                    <a:cubicBezTo>
                      <a:pt x="30" y="8"/>
                      <a:pt x="28" y="14"/>
                      <a:pt x="27" y="11"/>
                    </a:cubicBezTo>
                    <a:cubicBezTo>
                      <a:pt x="33" y="9"/>
                      <a:pt x="26" y="6"/>
                      <a:pt x="3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1" name="任意多边形: 形状 10500">
                <a:extLst>
                  <a:ext uri="{FF2B5EF4-FFF2-40B4-BE49-F238E27FC236}">
                    <a16:creationId xmlns:a16="http://schemas.microsoft.com/office/drawing/2014/main" id="{6999D5C5-112D-477C-BEBC-3F6A05B9BE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0" y="745"/>
                <a:ext cx="123" cy="91"/>
              </a:xfrm>
              <a:custGeom>
                <a:avLst/>
                <a:gdLst>
                  <a:gd name="T0" fmla="*/ 13 w 59"/>
                  <a:gd name="T1" fmla="*/ 27 h 44"/>
                  <a:gd name="T2" fmla="*/ 3 w 59"/>
                  <a:gd name="T3" fmla="*/ 44 h 44"/>
                  <a:gd name="T4" fmla="*/ 27 w 59"/>
                  <a:gd name="T5" fmla="*/ 33 h 44"/>
                  <a:gd name="T6" fmla="*/ 30 w 59"/>
                  <a:gd name="T7" fmla="*/ 37 h 44"/>
                  <a:gd name="T8" fmla="*/ 31 w 59"/>
                  <a:gd name="T9" fmla="*/ 32 h 44"/>
                  <a:gd name="T10" fmla="*/ 54 w 59"/>
                  <a:gd name="T11" fmla="*/ 17 h 44"/>
                  <a:gd name="T12" fmla="*/ 57 w 59"/>
                  <a:gd name="T13" fmla="*/ 20 h 44"/>
                  <a:gd name="T14" fmla="*/ 58 w 59"/>
                  <a:gd name="T15" fmla="*/ 8 h 44"/>
                  <a:gd name="T16" fmla="*/ 53 w 59"/>
                  <a:gd name="T17" fmla="*/ 9 h 44"/>
                  <a:gd name="T18" fmla="*/ 49 w 59"/>
                  <a:gd name="T19" fmla="*/ 4 h 44"/>
                  <a:gd name="T20" fmla="*/ 35 w 59"/>
                  <a:gd name="T21" fmla="*/ 8 h 44"/>
                  <a:gd name="T22" fmla="*/ 32 w 59"/>
                  <a:gd name="T23" fmla="*/ 21 h 44"/>
                  <a:gd name="T24" fmla="*/ 26 w 59"/>
                  <a:gd name="T25" fmla="*/ 15 h 44"/>
                  <a:gd name="T26" fmla="*/ 24 w 59"/>
                  <a:gd name="T27" fmla="*/ 28 h 44"/>
                  <a:gd name="T28" fmla="*/ 20 w 59"/>
                  <a:gd name="T29" fmla="*/ 24 h 44"/>
                  <a:gd name="T30" fmla="*/ 13 w 59"/>
                  <a:gd name="T31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9" h="44">
                    <a:moveTo>
                      <a:pt x="13" y="27"/>
                    </a:moveTo>
                    <a:cubicBezTo>
                      <a:pt x="15" y="35"/>
                      <a:pt x="0" y="34"/>
                      <a:pt x="3" y="44"/>
                    </a:cubicBezTo>
                    <a:cubicBezTo>
                      <a:pt x="7" y="38"/>
                      <a:pt x="19" y="25"/>
                      <a:pt x="27" y="33"/>
                    </a:cubicBezTo>
                    <a:cubicBezTo>
                      <a:pt x="27" y="35"/>
                      <a:pt x="29" y="38"/>
                      <a:pt x="30" y="37"/>
                    </a:cubicBezTo>
                    <a:cubicBezTo>
                      <a:pt x="30" y="35"/>
                      <a:pt x="28" y="33"/>
                      <a:pt x="31" y="32"/>
                    </a:cubicBezTo>
                    <a:cubicBezTo>
                      <a:pt x="43" y="44"/>
                      <a:pt x="52" y="25"/>
                      <a:pt x="54" y="17"/>
                    </a:cubicBezTo>
                    <a:cubicBezTo>
                      <a:pt x="55" y="19"/>
                      <a:pt x="56" y="21"/>
                      <a:pt x="57" y="20"/>
                    </a:cubicBezTo>
                    <a:cubicBezTo>
                      <a:pt x="56" y="15"/>
                      <a:pt x="59" y="12"/>
                      <a:pt x="58" y="8"/>
                    </a:cubicBezTo>
                    <a:cubicBezTo>
                      <a:pt x="55" y="6"/>
                      <a:pt x="54" y="7"/>
                      <a:pt x="53" y="9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1" y="0"/>
                      <a:pt x="40" y="13"/>
                      <a:pt x="35" y="8"/>
                    </a:cubicBezTo>
                    <a:cubicBezTo>
                      <a:pt x="39" y="16"/>
                      <a:pt x="31" y="15"/>
                      <a:pt x="32" y="21"/>
                    </a:cubicBezTo>
                    <a:cubicBezTo>
                      <a:pt x="28" y="19"/>
                      <a:pt x="29" y="15"/>
                      <a:pt x="26" y="15"/>
                    </a:cubicBezTo>
                    <a:cubicBezTo>
                      <a:pt x="24" y="19"/>
                      <a:pt x="28" y="25"/>
                      <a:pt x="24" y="28"/>
                    </a:cubicBezTo>
                    <a:cubicBezTo>
                      <a:pt x="22" y="25"/>
                      <a:pt x="21" y="28"/>
                      <a:pt x="20" y="24"/>
                    </a:cubicBezTo>
                    <a:cubicBezTo>
                      <a:pt x="17" y="28"/>
                      <a:pt x="17" y="27"/>
                      <a:pt x="1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2" name="任意多边形: 形状 10501">
                <a:extLst>
                  <a:ext uri="{FF2B5EF4-FFF2-40B4-BE49-F238E27FC236}">
                    <a16:creationId xmlns:a16="http://schemas.microsoft.com/office/drawing/2014/main" id="{079E0613-5B2D-4BE1-A67F-F7C4082235D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3" y="444"/>
                <a:ext cx="70" cy="39"/>
              </a:xfrm>
              <a:custGeom>
                <a:avLst/>
                <a:gdLst>
                  <a:gd name="T0" fmla="*/ 5 w 34"/>
                  <a:gd name="T1" fmla="*/ 12 h 19"/>
                  <a:gd name="T2" fmla="*/ 7 w 34"/>
                  <a:gd name="T3" fmla="*/ 17 h 19"/>
                  <a:gd name="T4" fmla="*/ 11 w 34"/>
                  <a:gd name="T5" fmla="*/ 19 h 19"/>
                  <a:gd name="T6" fmla="*/ 20 w 34"/>
                  <a:gd name="T7" fmla="*/ 18 h 19"/>
                  <a:gd name="T8" fmla="*/ 21 w 34"/>
                  <a:gd name="T9" fmla="*/ 13 h 19"/>
                  <a:gd name="T10" fmla="*/ 34 w 34"/>
                  <a:gd name="T11" fmla="*/ 16 h 19"/>
                  <a:gd name="T12" fmla="*/ 25 w 34"/>
                  <a:gd name="T13" fmla="*/ 6 h 19"/>
                  <a:gd name="T14" fmla="*/ 17 w 34"/>
                  <a:gd name="T15" fmla="*/ 6 h 19"/>
                  <a:gd name="T16" fmla="*/ 19 w 34"/>
                  <a:gd name="T17" fmla="*/ 0 h 19"/>
                  <a:gd name="T18" fmla="*/ 11 w 34"/>
                  <a:gd name="T19" fmla="*/ 0 h 19"/>
                  <a:gd name="T20" fmla="*/ 0 w 34"/>
                  <a:gd name="T21" fmla="*/ 12 h 19"/>
                  <a:gd name="T22" fmla="*/ 5 w 34"/>
                  <a:gd name="T2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19">
                    <a:moveTo>
                      <a:pt x="5" y="12"/>
                    </a:moveTo>
                    <a:cubicBezTo>
                      <a:pt x="7" y="14"/>
                      <a:pt x="4" y="14"/>
                      <a:pt x="7" y="17"/>
                    </a:cubicBezTo>
                    <a:cubicBezTo>
                      <a:pt x="8" y="15"/>
                      <a:pt x="9" y="18"/>
                      <a:pt x="11" y="19"/>
                    </a:cubicBezTo>
                    <a:cubicBezTo>
                      <a:pt x="14" y="14"/>
                      <a:pt x="16" y="17"/>
                      <a:pt x="20" y="18"/>
                    </a:cubicBezTo>
                    <a:cubicBezTo>
                      <a:pt x="21" y="17"/>
                      <a:pt x="20" y="14"/>
                      <a:pt x="21" y="13"/>
                    </a:cubicBezTo>
                    <a:cubicBezTo>
                      <a:pt x="25" y="13"/>
                      <a:pt x="30" y="17"/>
                      <a:pt x="34" y="16"/>
                    </a:cubicBezTo>
                    <a:cubicBezTo>
                      <a:pt x="31" y="9"/>
                      <a:pt x="29" y="12"/>
                      <a:pt x="25" y="6"/>
                    </a:cubicBezTo>
                    <a:cubicBezTo>
                      <a:pt x="22" y="6"/>
                      <a:pt x="19" y="9"/>
                      <a:pt x="17" y="6"/>
                    </a:cubicBezTo>
                    <a:cubicBezTo>
                      <a:pt x="20" y="5"/>
                      <a:pt x="19" y="3"/>
                      <a:pt x="19" y="0"/>
                    </a:cubicBezTo>
                    <a:cubicBezTo>
                      <a:pt x="16" y="2"/>
                      <a:pt x="14" y="4"/>
                      <a:pt x="11" y="0"/>
                    </a:cubicBezTo>
                    <a:cubicBezTo>
                      <a:pt x="6" y="3"/>
                      <a:pt x="3" y="7"/>
                      <a:pt x="0" y="12"/>
                    </a:cubicBezTo>
                    <a:cubicBezTo>
                      <a:pt x="2" y="13"/>
                      <a:pt x="4" y="10"/>
                      <a:pt x="5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3" name="任意多边形: 形状 10502">
                <a:extLst>
                  <a:ext uri="{FF2B5EF4-FFF2-40B4-BE49-F238E27FC236}">
                    <a16:creationId xmlns:a16="http://schemas.microsoft.com/office/drawing/2014/main" id="{A4F07FF5-AB65-4C81-BB26-9B6CE46B48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7" y="763"/>
                <a:ext cx="21" cy="32"/>
              </a:xfrm>
              <a:custGeom>
                <a:avLst/>
                <a:gdLst>
                  <a:gd name="T0" fmla="*/ 0 w 10"/>
                  <a:gd name="T1" fmla="*/ 15 h 15"/>
                  <a:gd name="T2" fmla="*/ 8 w 10"/>
                  <a:gd name="T3" fmla="*/ 2 h 15"/>
                  <a:gd name="T4" fmla="*/ 9 w 10"/>
                  <a:gd name="T5" fmla="*/ 0 h 15"/>
                  <a:gd name="T6" fmla="*/ 0 w 10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5">
                    <a:moveTo>
                      <a:pt x="0" y="15"/>
                    </a:moveTo>
                    <a:cubicBezTo>
                      <a:pt x="6" y="12"/>
                      <a:pt x="9" y="5"/>
                      <a:pt x="8" y="2"/>
                    </a:cubicBezTo>
                    <a:cubicBezTo>
                      <a:pt x="9" y="2"/>
                      <a:pt x="10" y="1"/>
                      <a:pt x="9" y="0"/>
                    </a:cubicBezTo>
                    <a:cubicBezTo>
                      <a:pt x="3" y="4"/>
                      <a:pt x="4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4" name="任意多边形: 形状 10503">
                <a:extLst>
                  <a:ext uri="{FF2B5EF4-FFF2-40B4-BE49-F238E27FC236}">
                    <a16:creationId xmlns:a16="http://schemas.microsoft.com/office/drawing/2014/main" id="{224D5743-F00F-4007-9C17-5AD1127FB1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7" y="695"/>
                <a:ext cx="17" cy="19"/>
              </a:xfrm>
              <a:custGeom>
                <a:avLst/>
                <a:gdLst>
                  <a:gd name="T0" fmla="*/ 0 w 8"/>
                  <a:gd name="T1" fmla="*/ 9 h 9"/>
                  <a:gd name="T2" fmla="*/ 8 w 8"/>
                  <a:gd name="T3" fmla="*/ 2 h 9"/>
                  <a:gd name="T4" fmla="*/ 0 w 8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cubicBezTo>
                      <a:pt x="2" y="6"/>
                      <a:pt x="8" y="5"/>
                      <a:pt x="8" y="2"/>
                    </a:cubicBezTo>
                    <a:cubicBezTo>
                      <a:pt x="3" y="0"/>
                      <a:pt x="2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5" name="任意多边形: 形状 10504">
                <a:extLst>
                  <a:ext uri="{FF2B5EF4-FFF2-40B4-BE49-F238E27FC236}">
                    <a16:creationId xmlns:a16="http://schemas.microsoft.com/office/drawing/2014/main" id="{D6C3EEC6-B7ED-45C2-A4BD-BAAC8F0D88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2" y="734"/>
                <a:ext cx="23" cy="15"/>
              </a:xfrm>
              <a:custGeom>
                <a:avLst/>
                <a:gdLst>
                  <a:gd name="T0" fmla="*/ 3 w 11"/>
                  <a:gd name="T1" fmla="*/ 7 h 7"/>
                  <a:gd name="T2" fmla="*/ 9 w 11"/>
                  <a:gd name="T3" fmla="*/ 0 h 7"/>
                  <a:gd name="T4" fmla="*/ 3 w 1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3" y="7"/>
                    </a:moveTo>
                    <a:cubicBezTo>
                      <a:pt x="6" y="5"/>
                      <a:pt x="11" y="4"/>
                      <a:pt x="9" y="0"/>
                    </a:cubicBezTo>
                    <a:cubicBezTo>
                      <a:pt x="7" y="2"/>
                      <a:pt x="0" y="3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6" name="任意多边形: 形状 10505">
                <a:extLst>
                  <a:ext uri="{FF2B5EF4-FFF2-40B4-BE49-F238E27FC236}">
                    <a16:creationId xmlns:a16="http://schemas.microsoft.com/office/drawing/2014/main" id="{F8470871-71CA-4C04-A4EA-43C8841C39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7" y="732"/>
                <a:ext cx="49" cy="29"/>
              </a:xfrm>
              <a:custGeom>
                <a:avLst/>
                <a:gdLst>
                  <a:gd name="T0" fmla="*/ 13 w 24"/>
                  <a:gd name="T1" fmla="*/ 3 h 14"/>
                  <a:gd name="T2" fmla="*/ 15 w 24"/>
                  <a:gd name="T3" fmla="*/ 7 h 14"/>
                  <a:gd name="T4" fmla="*/ 21 w 24"/>
                  <a:gd name="T5" fmla="*/ 0 h 14"/>
                  <a:gd name="T6" fmla="*/ 1 w 24"/>
                  <a:gd name="T7" fmla="*/ 14 h 14"/>
                  <a:gd name="T8" fmla="*/ 13 w 24"/>
                  <a:gd name="T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13" y="3"/>
                    </a:moveTo>
                    <a:cubicBezTo>
                      <a:pt x="15" y="7"/>
                      <a:pt x="15" y="7"/>
                      <a:pt x="15" y="7"/>
                    </a:cubicBezTo>
                    <a:cubicBezTo>
                      <a:pt x="16" y="5"/>
                      <a:pt x="24" y="0"/>
                      <a:pt x="21" y="0"/>
                    </a:cubicBezTo>
                    <a:cubicBezTo>
                      <a:pt x="13" y="2"/>
                      <a:pt x="0" y="4"/>
                      <a:pt x="1" y="14"/>
                    </a:cubicBezTo>
                    <a:cubicBezTo>
                      <a:pt x="8" y="11"/>
                      <a:pt x="6" y="6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7" name="任意多边形: 形状 10506">
                <a:extLst>
                  <a:ext uri="{FF2B5EF4-FFF2-40B4-BE49-F238E27FC236}">
                    <a16:creationId xmlns:a16="http://schemas.microsoft.com/office/drawing/2014/main" id="{DBB7EBB3-03A3-46C6-95E7-635A23D2AB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4" y="749"/>
                <a:ext cx="17" cy="14"/>
              </a:xfrm>
              <a:custGeom>
                <a:avLst/>
                <a:gdLst>
                  <a:gd name="T0" fmla="*/ 0 w 8"/>
                  <a:gd name="T1" fmla="*/ 7 h 7"/>
                  <a:gd name="T2" fmla="*/ 5 w 8"/>
                  <a:gd name="T3" fmla="*/ 0 h 7"/>
                  <a:gd name="T4" fmla="*/ 0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0" y="7"/>
                    </a:moveTo>
                    <a:cubicBezTo>
                      <a:pt x="4" y="5"/>
                      <a:pt x="8" y="4"/>
                      <a:pt x="5" y="0"/>
                    </a:cubicBezTo>
                    <a:cubicBezTo>
                      <a:pt x="3" y="2"/>
                      <a:pt x="1" y="5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8" name="任意多边形: 形状 10507">
                <a:extLst>
                  <a:ext uri="{FF2B5EF4-FFF2-40B4-BE49-F238E27FC236}">
                    <a16:creationId xmlns:a16="http://schemas.microsoft.com/office/drawing/2014/main" id="{DD2D75DD-DCB4-46B8-B2A0-162B9E522B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9" y="753"/>
                <a:ext cx="25" cy="21"/>
              </a:xfrm>
              <a:custGeom>
                <a:avLst/>
                <a:gdLst>
                  <a:gd name="T0" fmla="*/ 0 w 12"/>
                  <a:gd name="T1" fmla="*/ 9 h 10"/>
                  <a:gd name="T2" fmla="*/ 12 w 12"/>
                  <a:gd name="T3" fmla="*/ 0 h 10"/>
                  <a:gd name="T4" fmla="*/ 0 w 12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0">
                    <a:moveTo>
                      <a:pt x="0" y="9"/>
                    </a:moveTo>
                    <a:cubicBezTo>
                      <a:pt x="5" y="10"/>
                      <a:pt x="10" y="5"/>
                      <a:pt x="12" y="0"/>
                    </a:cubicBezTo>
                    <a:cubicBezTo>
                      <a:pt x="6" y="6"/>
                      <a:pt x="0" y="4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9" name="任意多边形: 形状 10508">
                <a:extLst>
                  <a:ext uri="{FF2B5EF4-FFF2-40B4-BE49-F238E27FC236}">
                    <a16:creationId xmlns:a16="http://schemas.microsoft.com/office/drawing/2014/main" id="{780F81F1-5979-46FF-8894-DD51A705D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9" y="1127"/>
                <a:ext cx="14" cy="14"/>
              </a:xfrm>
              <a:custGeom>
                <a:avLst/>
                <a:gdLst>
                  <a:gd name="T0" fmla="*/ 6 w 7"/>
                  <a:gd name="T1" fmla="*/ 0 h 7"/>
                  <a:gd name="T2" fmla="*/ 1 w 7"/>
                  <a:gd name="T3" fmla="*/ 7 h 7"/>
                  <a:gd name="T4" fmla="*/ 3 w 7"/>
                  <a:gd name="T5" fmla="*/ 6 h 7"/>
                  <a:gd name="T6" fmla="*/ 5 w 7"/>
                  <a:gd name="T7" fmla="*/ 6 h 7"/>
                  <a:gd name="T8" fmla="*/ 6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6" y="0"/>
                    </a:moveTo>
                    <a:cubicBezTo>
                      <a:pt x="3" y="2"/>
                      <a:pt x="0" y="4"/>
                      <a:pt x="1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4" y="7"/>
                      <a:pt x="5" y="6"/>
                    </a:cubicBezTo>
                    <a:cubicBezTo>
                      <a:pt x="1" y="3"/>
                      <a:pt x="7" y="2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0" name="任意多边形: 形状 10509">
                <a:extLst>
                  <a:ext uri="{FF2B5EF4-FFF2-40B4-BE49-F238E27FC236}">
                    <a16:creationId xmlns:a16="http://schemas.microsoft.com/office/drawing/2014/main" id="{38A0594C-C3D9-4C41-A857-584F26081B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5" y="1129"/>
                <a:ext cx="11" cy="14"/>
              </a:xfrm>
              <a:custGeom>
                <a:avLst/>
                <a:gdLst>
                  <a:gd name="T0" fmla="*/ 0 w 5"/>
                  <a:gd name="T1" fmla="*/ 7 h 7"/>
                  <a:gd name="T2" fmla="*/ 4 w 5"/>
                  <a:gd name="T3" fmla="*/ 0 h 7"/>
                  <a:gd name="T4" fmla="*/ 0 w 5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7"/>
                    </a:moveTo>
                    <a:cubicBezTo>
                      <a:pt x="3" y="5"/>
                      <a:pt x="5" y="3"/>
                      <a:pt x="4" y="0"/>
                    </a:cubicBezTo>
                    <a:cubicBezTo>
                      <a:pt x="1" y="2"/>
                      <a:pt x="0" y="4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1" name="任意多边形: 形状 10510">
                <a:extLst>
                  <a:ext uri="{FF2B5EF4-FFF2-40B4-BE49-F238E27FC236}">
                    <a16:creationId xmlns:a16="http://schemas.microsoft.com/office/drawing/2014/main" id="{2C0D3096-800E-486B-9CCF-238BC3AD70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9" y="1396"/>
                <a:ext cx="23" cy="17"/>
              </a:xfrm>
              <a:custGeom>
                <a:avLst/>
                <a:gdLst>
                  <a:gd name="T0" fmla="*/ 0 w 11"/>
                  <a:gd name="T1" fmla="*/ 8 h 8"/>
                  <a:gd name="T2" fmla="*/ 11 w 11"/>
                  <a:gd name="T3" fmla="*/ 0 h 8"/>
                  <a:gd name="T4" fmla="*/ 0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cubicBezTo>
                      <a:pt x="3" y="7"/>
                      <a:pt x="9" y="5"/>
                      <a:pt x="11" y="0"/>
                    </a:cubicBezTo>
                    <a:cubicBezTo>
                      <a:pt x="8" y="3"/>
                      <a:pt x="0" y="5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2" name="任意多边形: 形状 10511">
                <a:extLst>
                  <a:ext uri="{FF2B5EF4-FFF2-40B4-BE49-F238E27FC236}">
                    <a16:creationId xmlns:a16="http://schemas.microsoft.com/office/drawing/2014/main" id="{4CCE2389-D3BB-4A63-990D-94CCF287DF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99" y="772"/>
                <a:ext cx="25" cy="12"/>
              </a:xfrm>
              <a:custGeom>
                <a:avLst/>
                <a:gdLst>
                  <a:gd name="T0" fmla="*/ 0 w 12"/>
                  <a:gd name="T1" fmla="*/ 6 h 6"/>
                  <a:gd name="T2" fmla="*/ 12 w 12"/>
                  <a:gd name="T3" fmla="*/ 0 h 6"/>
                  <a:gd name="T4" fmla="*/ 0 w 1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cubicBezTo>
                      <a:pt x="3" y="6"/>
                      <a:pt x="11" y="6"/>
                      <a:pt x="12" y="0"/>
                    </a:cubicBezTo>
                    <a:cubicBezTo>
                      <a:pt x="8" y="3"/>
                      <a:pt x="0" y="2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3" name="任意多边形: 形状 10512">
                <a:extLst>
                  <a:ext uri="{FF2B5EF4-FFF2-40B4-BE49-F238E27FC236}">
                    <a16:creationId xmlns:a16="http://schemas.microsoft.com/office/drawing/2014/main" id="{715779D1-9D72-4FE6-97E5-D95B159869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3" y="1162"/>
                <a:ext cx="23" cy="27"/>
              </a:xfrm>
              <a:custGeom>
                <a:avLst/>
                <a:gdLst>
                  <a:gd name="T0" fmla="*/ 8 w 11"/>
                  <a:gd name="T1" fmla="*/ 0 h 13"/>
                  <a:gd name="T2" fmla="*/ 1 w 11"/>
                  <a:gd name="T3" fmla="*/ 5 h 13"/>
                  <a:gd name="T4" fmla="*/ 0 w 11"/>
                  <a:gd name="T5" fmla="*/ 13 h 13"/>
                  <a:gd name="T6" fmla="*/ 7 w 11"/>
                  <a:gd name="T7" fmla="*/ 7 h 13"/>
                  <a:gd name="T8" fmla="*/ 8 w 1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3">
                    <a:moveTo>
                      <a:pt x="8" y="0"/>
                    </a:moveTo>
                    <a:cubicBezTo>
                      <a:pt x="4" y="2"/>
                      <a:pt x="5" y="6"/>
                      <a:pt x="1" y="5"/>
                    </a:cubicBezTo>
                    <a:cubicBezTo>
                      <a:pt x="3" y="8"/>
                      <a:pt x="0" y="10"/>
                      <a:pt x="0" y="13"/>
                    </a:cubicBezTo>
                    <a:cubicBezTo>
                      <a:pt x="2" y="11"/>
                      <a:pt x="8" y="10"/>
                      <a:pt x="7" y="7"/>
                    </a:cubicBezTo>
                    <a:cubicBezTo>
                      <a:pt x="2" y="7"/>
                      <a:pt x="11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4" name="任意多边形: 形状 10513">
                <a:extLst>
                  <a:ext uri="{FF2B5EF4-FFF2-40B4-BE49-F238E27FC236}">
                    <a16:creationId xmlns:a16="http://schemas.microsoft.com/office/drawing/2014/main" id="{3BB7F1A5-DC54-464B-A221-04EF5B3681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0" y="1434"/>
                <a:ext cx="35" cy="25"/>
              </a:xfrm>
              <a:custGeom>
                <a:avLst/>
                <a:gdLst>
                  <a:gd name="T0" fmla="*/ 0 w 17"/>
                  <a:gd name="T1" fmla="*/ 8 h 12"/>
                  <a:gd name="T2" fmla="*/ 15 w 17"/>
                  <a:gd name="T3" fmla="*/ 0 h 12"/>
                  <a:gd name="T4" fmla="*/ 0 w 17"/>
                  <a:gd name="T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2">
                    <a:moveTo>
                      <a:pt x="0" y="8"/>
                    </a:moveTo>
                    <a:cubicBezTo>
                      <a:pt x="2" y="12"/>
                      <a:pt x="17" y="0"/>
                      <a:pt x="15" y="0"/>
                    </a:cubicBezTo>
                    <a:cubicBezTo>
                      <a:pt x="8" y="4"/>
                      <a:pt x="4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5" name="任意多边形: 形状 10514">
                <a:extLst>
                  <a:ext uri="{FF2B5EF4-FFF2-40B4-BE49-F238E27FC236}">
                    <a16:creationId xmlns:a16="http://schemas.microsoft.com/office/drawing/2014/main" id="{DCA78101-6517-40E9-84CB-B09FE3C63D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55" y="1226"/>
                <a:ext cx="14" cy="13"/>
              </a:xfrm>
              <a:custGeom>
                <a:avLst/>
                <a:gdLst>
                  <a:gd name="T0" fmla="*/ 1 w 7"/>
                  <a:gd name="T1" fmla="*/ 5 h 6"/>
                  <a:gd name="T2" fmla="*/ 7 w 7"/>
                  <a:gd name="T3" fmla="*/ 0 h 6"/>
                  <a:gd name="T4" fmla="*/ 1 w 7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5"/>
                    </a:moveTo>
                    <a:cubicBezTo>
                      <a:pt x="4" y="6"/>
                      <a:pt x="7" y="2"/>
                      <a:pt x="7" y="0"/>
                    </a:cubicBezTo>
                    <a:cubicBezTo>
                      <a:pt x="6" y="1"/>
                      <a:pt x="0" y="2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6" name="任意多边形: 形状 10515">
                <a:extLst>
                  <a:ext uri="{FF2B5EF4-FFF2-40B4-BE49-F238E27FC236}">
                    <a16:creationId xmlns:a16="http://schemas.microsoft.com/office/drawing/2014/main" id="{37B80BCD-0202-4877-A96F-47A2724E2D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89" y="817"/>
                <a:ext cx="20" cy="17"/>
              </a:xfrm>
              <a:custGeom>
                <a:avLst/>
                <a:gdLst>
                  <a:gd name="T0" fmla="*/ 7 w 10"/>
                  <a:gd name="T1" fmla="*/ 2 h 8"/>
                  <a:gd name="T2" fmla="*/ 1 w 10"/>
                  <a:gd name="T3" fmla="*/ 5 h 8"/>
                  <a:gd name="T4" fmla="*/ 7 w 10"/>
                  <a:gd name="T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8">
                    <a:moveTo>
                      <a:pt x="7" y="2"/>
                    </a:moveTo>
                    <a:cubicBezTo>
                      <a:pt x="5" y="6"/>
                      <a:pt x="0" y="0"/>
                      <a:pt x="1" y="5"/>
                    </a:cubicBezTo>
                    <a:cubicBezTo>
                      <a:pt x="2" y="7"/>
                      <a:pt x="10" y="8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7" name="任意多边形: 形状 10516">
                <a:extLst>
                  <a:ext uri="{FF2B5EF4-FFF2-40B4-BE49-F238E27FC236}">
                    <a16:creationId xmlns:a16="http://schemas.microsoft.com/office/drawing/2014/main" id="{B77EE334-CBA4-4A91-BB23-17A6826A79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66" y="888"/>
                <a:ext cx="25" cy="14"/>
              </a:xfrm>
              <a:custGeom>
                <a:avLst/>
                <a:gdLst>
                  <a:gd name="T0" fmla="*/ 8 w 12"/>
                  <a:gd name="T1" fmla="*/ 2 h 7"/>
                  <a:gd name="T2" fmla="*/ 2 w 12"/>
                  <a:gd name="T3" fmla="*/ 6 h 7"/>
                  <a:gd name="T4" fmla="*/ 8 w 12"/>
                  <a:gd name="T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8" y="2"/>
                    </a:moveTo>
                    <a:cubicBezTo>
                      <a:pt x="5" y="6"/>
                      <a:pt x="0" y="0"/>
                      <a:pt x="2" y="6"/>
                    </a:cubicBezTo>
                    <a:cubicBezTo>
                      <a:pt x="3" y="7"/>
                      <a:pt x="12" y="2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8" name="任意多边形: 形状 10517">
                <a:extLst>
                  <a:ext uri="{FF2B5EF4-FFF2-40B4-BE49-F238E27FC236}">
                    <a16:creationId xmlns:a16="http://schemas.microsoft.com/office/drawing/2014/main" id="{DE72BE2F-4A01-40F1-9BEF-823578B004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68" y="915"/>
                <a:ext cx="29" cy="23"/>
              </a:xfrm>
              <a:custGeom>
                <a:avLst/>
                <a:gdLst>
                  <a:gd name="T0" fmla="*/ 1 w 14"/>
                  <a:gd name="T1" fmla="*/ 8 h 11"/>
                  <a:gd name="T2" fmla="*/ 12 w 14"/>
                  <a:gd name="T3" fmla="*/ 4 h 11"/>
                  <a:gd name="T4" fmla="*/ 14 w 14"/>
                  <a:gd name="T5" fmla="*/ 0 h 11"/>
                  <a:gd name="T6" fmla="*/ 1 w 14"/>
                  <a:gd name="T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1">
                    <a:moveTo>
                      <a:pt x="1" y="8"/>
                    </a:moveTo>
                    <a:cubicBezTo>
                      <a:pt x="0" y="11"/>
                      <a:pt x="9" y="3"/>
                      <a:pt x="12" y="4"/>
                    </a:cubicBezTo>
                    <a:cubicBezTo>
                      <a:pt x="11" y="2"/>
                      <a:pt x="14" y="2"/>
                      <a:pt x="14" y="0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9" name="任意多边形: 形状 10518">
                <a:extLst>
                  <a:ext uri="{FF2B5EF4-FFF2-40B4-BE49-F238E27FC236}">
                    <a16:creationId xmlns:a16="http://schemas.microsoft.com/office/drawing/2014/main" id="{458851CC-66A9-4557-BE7D-BF9FAF0FFC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1" y="946"/>
                <a:ext cx="38" cy="25"/>
              </a:xfrm>
              <a:custGeom>
                <a:avLst/>
                <a:gdLst>
                  <a:gd name="T0" fmla="*/ 17 w 18"/>
                  <a:gd name="T1" fmla="*/ 0 h 12"/>
                  <a:gd name="T2" fmla="*/ 0 w 18"/>
                  <a:gd name="T3" fmla="*/ 7 h 12"/>
                  <a:gd name="T4" fmla="*/ 17 w 18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2">
                    <a:moveTo>
                      <a:pt x="17" y="0"/>
                    </a:moveTo>
                    <a:cubicBezTo>
                      <a:pt x="11" y="4"/>
                      <a:pt x="6" y="6"/>
                      <a:pt x="0" y="7"/>
                    </a:cubicBezTo>
                    <a:cubicBezTo>
                      <a:pt x="4" y="12"/>
                      <a:pt x="18" y="4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0" name="任意多边形: 形状 10519">
                <a:extLst>
                  <a:ext uri="{FF2B5EF4-FFF2-40B4-BE49-F238E27FC236}">
                    <a16:creationId xmlns:a16="http://schemas.microsoft.com/office/drawing/2014/main" id="{6BB61667-C495-4A6C-8C76-0D7A17A73C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41" y="1349"/>
                <a:ext cx="31" cy="12"/>
              </a:xfrm>
              <a:custGeom>
                <a:avLst/>
                <a:gdLst>
                  <a:gd name="T0" fmla="*/ 0 w 15"/>
                  <a:gd name="T1" fmla="*/ 6 h 6"/>
                  <a:gd name="T2" fmla="*/ 0 w 15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" h="6">
                    <a:moveTo>
                      <a:pt x="0" y="6"/>
                    </a:moveTo>
                    <a:cubicBezTo>
                      <a:pt x="15" y="0"/>
                      <a:pt x="1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1" name="任意多边形: 形状 10520">
                <a:extLst>
                  <a:ext uri="{FF2B5EF4-FFF2-40B4-BE49-F238E27FC236}">
                    <a16:creationId xmlns:a16="http://schemas.microsoft.com/office/drawing/2014/main" id="{5230C89E-A798-4E29-B313-AA58D76546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9" y="988"/>
                <a:ext cx="29" cy="20"/>
              </a:xfrm>
              <a:custGeom>
                <a:avLst/>
                <a:gdLst>
                  <a:gd name="T0" fmla="*/ 0 w 14"/>
                  <a:gd name="T1" fmla="*/ 10 h 10"/>
                  <a:gd name="T2" fmla="*/ 14 w 14"/>
                  <a:gd name="T3" fmla="*/ 0 h 10"/>
                  <a:gd name="T4" fmla="*/ 0 w 14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0">
                    <a:moveTo>
                      <a:pt x="0" y="10"/>
                    </a:moveTo>
                    <a:cubicBezTo>
                      <a:pt x="7" y="8"/>
                      <a:pt x="14" y="7"/>
                      <a:pt x="14" y="0"/>
                    </a:cubicBezTo>
                    <a:cubicBezTo>
                      <a:pt x="10" y="5"/>
                      <a:pt x="0" y="3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2" name="任意多边形: 形状 10521">
                <a:extLst>
                  <a:ext uri="{FF2B5EF4-FFF2-40B4-BE49-F238E27FC236}">
                    <a16:creationId xmlns:a16="http://schemas.microsoft.com/office/drawing/2014/main" id="{501120E8-D763-44BF-A38A-EC4B35BAE1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6" y="1353"/>
                <a:ext cx="14" cy="23"/>
              </a:xfrm>
              <a:custGeom>
                <a:avLst/>
                <a:gdLst>
                  <a:gd name="T0" fmla="*/ 0 w 7"/>
                  <a:gd name="T1" fmla="*/ 3 h 11"/>
                  <a:gd name="T2" fmla="*/ 5 w 7"/>
                  <a:gd name="T3" fmla="*/ 11 h 11"/>
                  <a:gd name="T4" fmla="*/ 7 w 7"/>
                  <a:gd name="T5" fmla="*/ 5 h 11"/>
                  <a:gd name="T6" fmla="*/ 0 w 7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0" y="3"/>
                    </a:moveTo>
                    <a:cubicBezTo>
                      <a:pt x="2" y="6"/>
                      <a:pt x="1" y="10"/>
                      <a:pt x="5" y="11"/>
                    </a:cubicBezTo>
                    <a:cubicBezTo>
                      <a:pt x="7" y="10"/>
                      <a:pt x="7" y="8"/>
                      <a:pt x="7" y="5"/>
                    </a:cubicBezTo>
                    <a:cubicBezTo>
                      <a:pt x="2" y="7"/>
                      <a:pt x="5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3" name="任意多边形: 形状 10522">
                <a:extLst>
                  <a:ext uri="{FF2B5EF4-FFF2-40B4-BE49-F238E27FC236}">
                    <a16:creationId xmlns:a16="http://schemas.microsoft.com/office/drawing/2014/main" id="{D7F04EB7-99DE-4CA7-BD49-8565488950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0" y="1438"/>
                <a:ext cx="19" cy="10"/>
              </a:xfrm>
              <a:custGeom>
                <a:avLst/>
                <a:gdLst>
                  <a:gd name="T0" fmla="*/ 2 w 9"/>
                  <a:gd name="T1" fmla="*/ 5 h 5"/>
                  <a:gd name="T2" fmla="*/ 8 w 9"/>
                  <a:gd name="T3" fmla="*/ 0 h 5"/>
                  <a:gd name="T4" fmla="*/ 2 w 9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2" y="5"/>
                    </a:moveTo>
                    <a:cubicBezTo>
                      <a:pt x="3" y="3"/>
                      <a:pt x="9" y="2"/>
                      <a:pt x="8" y="0"/>
                    </a:cubicBezTo>
                    <a:cubicBezTo>
                      <a:pt x="5" y="2"/>
                      <a:pt x="0" y="0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4" name="任意多边形: 形状 10523">
                <a:extLst>
                  <a:ext uri="{FF2B5EF4-FFF2-40B4-BE49-F238E27FC236}">
                    <a16:creationId xmlns:a16="http://schemas.microsoft.com/office/drawing/2014/main" id="{33AC68CD-0D2A-43FB-A70B-AAB0006639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40" y="1071"/>
                <a:ext cx="17" cy="18"/>
              </a:xfrm>
              <a:custGeom>
                <a:avLst/>
                <a:gdLst>
                  <a:gd name="T0" fmla="*/ 0 w 8"/>
                  <a:gd name="T1" fmla="*/ 4 h 9"/>
                  <a:gd name="T2" fmla="*/ 7 w 8"/>
                  <a:gd name="T3" fmla="*/ 0 h 9"/>
                  <a:gd name="T4" fmla="*/ 0 w 8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4"/>
                    </a:moveTo>
                    <a:cubicBezTo>
                      <a:pt x="2" y="9"/>
                      <a:pt x="8" y="2"/>
                      <a:pt x="7" y="0"/>
                    </a:cubicBezTo>
                    <a:cubicBezTo>
                      <a:pt x="4" y="3"/>
                      <a:pt x="4" y="4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5" name="任意多边形: 形状 10524">
                <a:extLst>
                  <a:ext uri="{FF2B5EF4-FFF2-40B4-BE49-F238E27FC236}">
                    <a16:creationId xmlns:a16="http://schemas.microsoft.com/office/drawing/2014/main" id="{AE4B46CA-C869-4BEF-BE01-84E4117E73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6" y="1560"/>
                <a:ext cx="25" cy="15"/>
              </a:xfrm>
              <a:custGeom>
                <a:avLst/>
                <a:gdLst>
                  <a:gd name="T0" fmla="*/ 9 w 12"/>
                  <a:gd name="T1" fmla="*/ 1 h 7"/>
                  <a:gd name="T2" fmla="*/ 0 w 12"/>
                  <a:gd name="T3" fmla="*/ 3 h 7"/>
                  <a:gd name="T4" fmla="*/ 9 w 12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9" y="1"/>
                    </a:moveTo>
                    <a:cubicBezTo>
                      <a:pt x="6" y="3"/>
                      <a:pt x="4" y="0"/>
                      <a:pt x="0" y="3"/>
                    </a:cubicBezTo>
                    <a:cubicBezTo>
                      <a:pt x="1" y="7"/>
                      <a:pt x="12" y="5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6" name="任意多边形: 形状 10525">
                <a:extLst>
                  <a:ext uri="{FF2B5EF4-FFF2-40B4-BE49-F238E27FC236}">
                    <a16:creationId xmlns:a16="http://schemas.microsoft.com/office/drawing/2014/main" id="{8F5E564A-658C-49FF-BD69-804EE0E348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7" y="1085"/>
                <a:ext cx="37" cy="29"/>
              </a:xfrm>
              <a:custGeom>
                <a:avLst/>
                <a:gdLst>
                  <a:gd name="T0" fmla="*/ 0 w 18"/>
                  <a:gd name="T1" fmla="*/ 14 h 14"/>
                  <a:gd name="T2" fmla="*/ 18 w 18"/>
                  <a:gd name="T3" fmla="*/ 0 h 14"/>
                  <a:gd name="T4" fmla="*/ 0 w 18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0" y="14"/>
                    </a:moveTo>
                    <a:cubicBezTo>
                      <a:pt x="12" y="7"/>
                      <a:pt x="12" y="9"/>
                      <a:pt x="18" y="0"/>
                    </a:cubicBezTo>
                    <a:cubicBezTo>
                      <a:pt x="11" y="5"/>
                      <a:pt x="1" y="8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7" name="任意多边形: 形状 10526">
                <a:extLst>
                  <a:ext uri="{FF2B5EF4-FFF2-40B4-BE49-F238E27FC236}">
                    <a16:creationId xmlns:a16="http://schemas.microsoft.com/office/drawing/2014/main" id="{6E310157-1346-4121-A077-7F0484CFE38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47" y="1060"/>
                <a:ext cx="23" cy="11"/>
              </a:xfrm>
              <a:custGeom>
                <a:avLst/>
                <a:gdLst>
                  <a:gd name="T0" fmla="*/ 0 w 11"/>
                  <a:gd name="T1" fmla="*/ 4 h 5"/>
                  <a:gd name="T2" fmla="*/ 11 w 11"/>
                  <a:gd name="T3" fmla="*/ 1 h 5"/>
                  <a:gd name="T4" fmla="*/ 0 w 11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0" y="4"/>
                    </a:moveTo>
                    <a:cubicBezTo>
                      <a:pt x="4" y="0"/>
                      <a:pt x="10" y="5"/>
                      <a:pt x="11" y="1"/>
                    </a:cubicBezTo>
                    <a:cubicBezTo>
                      <a:pt x="8" y="0"/>
                      <a:pt x="1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8" name="任意多边形: 形状 10527">
                <a:extLst>
                  <a:ext uri="{FF2B5EF4-FFF2-40B4-BE49-F238E27FC236}">
                    <a16:creationId xmlns:a16="http://schemas.microsoft.com/office/drawing/2014/main" id="{58499517-6452-4282-B5C6-761AF993D3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068"/>
                <a:ext cx="15" cy="13"/>
              </a:xfrm>
              <a:custGeom>
                <a:avLst/>
                <a:gdLst>
                  <a:gd name="T0" fmla="*/ 5 w 7"/>
                  <a:gd name="T1" fmla="*/ 0 h 6"/>
                  <a:gd name="T2" fmla="*/ 0 w 7"/>
                  <a:gd name="T3" fmla="*/ 1 h 6"/>
                  <a:gd name="T4" fmla="*/ 3 w 7"/>
                  <a:gd name="T5" fmla="*/ 5 h 6"/>
                  <a:gd name="T6" fmla="*/ 5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5" y="0"/>
                    </a:moveTo>
                    <a:cubicBezTo>
                      <a:pt x="3" y="2"/>
                      <a:pt x="2" y="2"/>
                      <a:pt x="0" y="1"/>
                    </a:cubicBezTo>
                    <a:cubicBezTo>
                      <a:pt x="1" y="3"/>
                      <a:pt x="2" y="6"/>
                      <a:pt x="3" y="5"/>
                    </a:cubicBezTo>
                    <a:cubicBezTo>
                      <a:pt x="2" y="3"/>
                      <a:pt x="7" y="2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9" name="任意多边形: 形状 10528">
                <a:extLst>
                  <a:ext uri="{FF2B5EF4-FFF2-40B4-BE49-F238E27FC236}">
                    <a16:creationId xmlns:a16="http://schemas.microsoft.com/office/drawing/2014/main" id="{54E6FEB6-8AAE-47B5-A941-4DE0865F925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9" y="1116"/>
                <a:ext cx="37" cy="29"/>
              </a:xfrm>
              <a:custGeom>
                <a:avLst/>
                <a:gdLst>
                  <a:gd name="T0" fmla="*/ 0 w 18"/>
                  <a:gd name="T1" fmla="*/ 14 h 14"/>
                  <a:gd name="T2" fmla="*/ 18 w 18"/>
                  <a:gd name="T3" fmla="*/ 8 h 14"/>
                  <a:gd name="T4" fmla="*/ 0 w 18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0" y="14"/>
                    </a:moveTo>
                    <a:cubicBezTo>
                      <a:pt x="7" y="11"/>
                      <a:pt x="11" y="5"/>
                      <a:pt x="18" y="8"/>
                    </a:cubicBezTo>
                    <a:cubicBezTo>
                      <a:pt x="11" y="0"/>
                      <a:pt x="2" y="9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0" name="任意多边形: 形状 10529">
                <a:extLst>
                  <a:ext uri="{FF2B5EF4-FFF2-40B4-BE49-F238E27FC236}">
                    <a16:creationId xmlns:a16="http://schemas.microsoft.com/office/drawing/2014/main" id="{BEA84A94-C1FB-40EE-980D-31721B7B95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48" y="614"/>
                <a:ext cx="31" cy="21"/>
              </a:xfrm>
              <a:custGeom>
                <a:avLst/>
                <a:gdLst>
                  <a:gd name="T0" fmla="*/ 9 w 15"/>
                  <a:gd name="T1" fmla="*/ 5 h 10"/>
                  <a:gd name="T2" fmla="*/ 12 w 15"/>
                  <a:gd name="T3" fmla="*/ 1 h 10"/>
                  <a:gd name="T4" fmla="*/ 9 w 15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0">
                    <a:moveTo>
                      <a:pt x="9" y="5"/>
                    </a:moveTo>
                    <a:cubicBezTo>
                      <a:pt x="10" y="5"/>
                      <a:pt x="15" y="5"/>
                      <a:pt x="12" y="1"/>
                    </a:cubicBezTo>
                    <a:cubicBezTo>
                      <a:pt x="11" y="0"/>
                      <a:pt x="0" y="10"/>
                      <a:pt x="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1" name="任意多边形: 形状 10530">
                <a:extLst>
                  <a:ext uri="{FF2B5EF4-FFF2-40B4-BE49-F238E27FC236}">
                    <a16:creationId xmlns:a16="http://schemas.microsoft.com/office/drawing/2014/main" id="{4AF30C2A-1DD1-4C32-99BC-28607D08F1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4" y="1490"/>
                <a:ext cx="21" cy="10"/>
              </a:xfrm>
              <a:custGeom>
                <a:avLst/>
                <a:gdLst>
                  <a:gd name="T0" fmla="*/ 6 w 10"/>
                  <a:gd name="T1" fmla="*/ 0 h 5"/>
                  <a:gd name="T2" fmla="*/ 4 w 10"/>
                  <a:gd name="T3" fmla="*/ 5 h 5"/>
                  <a:gd name="T4" fmla="*/ 6 w 10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6" y="0"/>
                    </a:moveTo>
                    <a:cubicBezTo>
                      <a:pt x="8" y="3"/>
                      <a:pt x="0" y="2"/>
                      <a:pt x="4" y="5"/>
                    </a:cubicBezTo>
                    <a:cubicBezTo>
                      <a:pt x="8" y="5"/>
                      <a:pt x="10" y="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2" name="任意多边形: 形状 10531">
                <a:extLst>
                  <a:ext uri="{FF2B5EF4-FFF2-40B4-BE49-F238E27FC236}">
                    <a16:creationId xmlns:a16="http://schemas.microsoft.com/office/drawing/2014/main" id="{481F5E85-CBF2-4C5D-B293-317380902B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41" y="1247"/>
                <a:ext cx="25" cy="19"/>
              </a:xfrm>
              <a:custGeom>
                <a:avLst/>
                <a:gdLst>
                  <a:gd name="T0" fmla="*/ 1 w 12"/>
                  <a:gd name="T1" fmla="*/ 9 h 9"/>
                  <a:gd name="T2" fmla="*/ 9 w 12"/>
                  <a:gd name="T3" fmla="*/ 0 h 9"/>
                  <a:gd name="T4" fmla="*/ 1 w 1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1" y="9"/>
                    </a:moveTo>
                    <a:cubicBezTo>
                      <a:pt x="5" y="9"/>
                      <a:pt x="12" y="6"/>
                      <a:pt x="9" y="0"/>
                    </a:cubicBezTo>
                    <a:cubicBezTo>
                      <a:pt x="8" y="6"/>
                      <a:pt x="0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3" name="任意多边形: 形状 10532">
                <a:extLst>
                  <a:ext uri="{FF2B5EF4-FFF2-40B4-BE49-F238E27FC236}">
                    <a16:creationId xmlns:a16="http://schemas.microsoft.com/office/drawing/2014/main" id="{2847E444-F05E-4297-9DB3-0364FE97A78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10" y="1189"/>
                <a:ext cx="12" cy="16"/>
              </a:xfrm>
              <a:custGeom>
                <a:avLst/>
                <a:gdLst>
                  <a:gd name="T0" fmla="*/ 3 w 6"/>
                  <a:gd name="T1" fmla="*/ 0 h 8"/>
                  <a:gd name="T2" fmla="*/ 0 w 6"/>
                  <a:gd name="T3" fmla="*/ 3 h 8"/>
                  <a:gd name="T4" fmla="*/ 6 w 6"/>
                  <a:gd name="T5" fmla="*/ 4 h 8"/>
                  <a:gd name="T6" fmla="*/ 5 w 6"/>
                  <a:gd name="T7" fmla="*/ 2 h 8"/>
                  <a:gd name="T8" fmla="*/ 3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3" y="0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6"/>
                      <a:pt x="6" y="8"/>
                      <a:pt x="6" y="4"/>
                    </a:cubicBezTo>
                    <a:cubicBezTo>
                      <a:pt x="3" y="5"/>
                      <a:pt x="5" y="3"/>
                      <a:pt x="5" y="2"/>
                    </a:cubicBezTo>
                    <a:cubicBezTo>
                      <a:pt x="4" y="2"/>
                      <a:pt x="4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4" name="任意多边形: 形状 10533">
                <a:extLst>
                  <a:ext uri="{FF2B5EF4-FFF2-40B4-BE49-F238E27FC236}">
                    <a16:creationId xmlns:a16="http://schemas.microsoft.com/office/drawing/2014/main" id="{7AE7EEC3-98DD-43D0-9C9A-5843050DAB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18" y="1297"/>
                <a:ext cx="23" cy="10"/>
              </a:xfrm>
              <a:custGeom>
                <a:avLst/>
                <a:gdLst>
                  <a:gd name="T0" fmla="*/ 7 w 11"/>
                  <a:gd name="T1" fmla="*/ 1 h 5"/>
                  <a:gd name="T2" fmla="*/ 1 w 11"/>
                  <a:gd name="T3" fmla="*/ 0 h 5"/>
                  <a:gd name="T4" fmla="*/ 1 w 11"/>
                  <a:gd name="T5" fmla="*/ 2 h 5"/>
                  <a:gd name="T6" fmla="*/ 1 w 11"/>
                  <a:gd name="T7" fmla="*/ 4 h 5"/>
                  <a:gd name="T8" fmla="*/ 7 w 11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7" y="1"/>
                    </a:moveTo>
                    <a:cubicBezTo>
                      <a:pt x="4" y="4"/>
                      <a:pt x="3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11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5" name="任意多边形: 形状 10534">
                <a:extLst>
                  <a:ext uri="{FF2B5EF4-FFF2-40B4-BE49-F238E27FC236}">
                    <a16:creationId xmlns:a16="http://schemas.microsoft.com/office/drawing/2014/main" id="{0F0E41CA-857A-4215-A487-F597EE9FCC8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550"/>
                <a:ext cx="27" cy="12"/>
              </a:xfrm>
              <a:custGeom>
                <a:avLst/>
                <a:gdLst>
                  <a:gd name="T0" fmla="*/ 10 w 13"/>
                  <a:gd name="T1" fmla="*/ 0 h 6"/>
                  <a:gd name="T2" fmla="*/ 0 w 13"/>
                  <a:gd name="T3" fmla="*/ 6 h 6"/>
                  <a:gd name="T4" fmla="*/ 10 w 1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6">
                    <a:moveTo>
                      <a:pt x="10" y="0"/>
                    </a:moveTo>
                    <a:cubicBezTo>
                      <a:pt x="5" y="3"/>
                      <a:pt x="1" y="1"/>
                      <a:pt x="0" y="6"/>
                    </a:cubicBezTo>
                    <a:cubicBezTo>
                      <a:pt x="2" y="4"/>
                      <a:pt x="13" y="1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6" name="任意多边形: 形状 10535">
                <a:extLst>
                  <a:ext uri="{FF2B5EF4-FFF2-40B4-BE49-F238E27FC236}">
                    <a16:creationId xmlns:a16="http://schemas.microsoft.com/office/drawing/2014/main" id="{1B3BE7D4-3BB7-4233-8333-4777F2E1B18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2" y="1448"/>
                <a:ext cx="17" cy="15"/>
              </a:xfrm>
              <a:custGeom>
                <a:avLst/>
                <a:gdLst>
                  <a:gd name="T0" fmla="*/ 3 w 8"/>
                  <a:gd name="T1" fmla="*/ 7 h 7"/>
                  <a:gd name="T2" fmla="*/ 8 w 8"/>
                  <a:gd name="T3" fmla="*/ 5 h 7"/>
                  <a:gd name="T4" fmla="*/ 3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6" y="0"/>
                      <a:pt x="0" y="3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7" name="任意多边形: 形状 10536">
                <a:extLst>
                  <a:ext uri="{FF2B5EF4-FFF2-40B4-BE49-F238E27FC236}">
                    <a16:creationId xmlns:a16="http://schemas.microsoft.com/office/drawing/2014/main" id="{A5382F9E-E9BB-4654-B585-3564AC6A86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83" y="1484"/>
                <a:ext cx="27" cy="16"/>
              </a:xfrm>
              <a:custGeom>
                <a:avLst/>
                <a:gdLst>
                  <a:gd name="T0" fmla="*/ 0 w 13"/>
                  <a:gd name="T1" fmla="*/ 7 h 8"/>
                  <a:gd name="T2" fmla="*/ 12 w 13"/>
                  <a:gd name="T3" fmla="*/ 1 h 8"/>
                  <a:gd name="T4" fmla="*/ 0 w 13"/>
                  <a:gd name="T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8">
                    <a:moveTo>
                      <a:pt x="0" y="7"/>
                    </a:moveTo>
                    <a:cubicBezTo>
                      <a:pt x="4" y="3"/>
                      <a:pt x="13" y="8"/>
                      <a:pt x="12" y="1"/>
                    </a:cubicBezTo>
                    <a:cubicBezTo>
                      <a:pt x="9" y="0"/>
                      <a:pt x="1" y="4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8" name="任意多边形: 形状 10537">
                <a:extLst>
                  <a:ext uri="{FF2B5EF4-FFF2-40B4-BE49-F238E27FC236}">
                    <a16:creationId xmlns:a16="http://schemas.microsoft.com/office/drawing/2014/main" id="{5DB0F264-F424-4B63-B5C8-705B993007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1102"/>
                <a:ext cx="19" cy="12"/>
              </a:xfrm>
              <a:custGeom>
                <a:avLst/>
                <a:gdLst>
                  <a:gd name="T0" fmla="*/ 9 w 9"/>
                  <a:gd name="T1" fmla="*/ 4 h 6"/>
                  <a:gd name="T2" fmla="*/ 2 w 9"/>
                  <a:gd name="T3" fmla="*/ 5 h 6"/>
                  <a:gd name="T4" fmla="*/ 9 w 9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9" y="4"/>
                    </a:moveTo>
                    <a:cubicBezTo>
                      <a:pt x="8" y="0"/>
                      <a:pt x="0" y="2"/>
                      <a:pt x="2" y="5"/>
                    </a:cubicBezTo>
                    <a:cubicBezTo>
                      <a:pt x="5" y="3"/>
                      <a:pt x="6" y="6"/>
                      <a:pt x="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9" name="任意多边形: 形状 10538">
                <a:extLst>
                  <a:ext uri="{FF2B5EF4-FFF2-40B4-BE49-F238E27FC236}">
                    <a16:creationId xmlns:a16="http://schemas.microsoft.com/office/drawing/2014/main" id="{5F64691F-A67D-4F2F-A45A-F20FFC88B2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27" y="1450"/>
                <a:ext cx="19" cy="15"/>
              </a:xfrm>
              <a:custGeom>
                <a:avLst/>
                <a:gdLst>
                  <a:gd name="T0" fmla="*/ 8 w 9"/>
                  <a:gd name="T1" fmla="*/ 0 h 7"/>
                  <a:gd name="T2" fmla="*/ 0 w 9"/>
                  <a:gd name="T3" fmla="*/ 7 h 7"/>
                  <a:gd name="T4" fmla="*/ 8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8" y="0"/>
                    </a:moveTo>
                    <a:cubicBezTo>
                      <a:pt x="6" y="2"/>
                      <a:pt x="1" y="4"/>
                      <a:pt x="0" y="7"/>
                    </a:cubicBezTo>
                    <a:cubicBezTo>
                      <a:pt x="3" y="6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0" name="任意多边形: 形状 10539">
                <a:extLst>
                  <a:ext uri="{FF2B5EF4-FFF2-40B4-BE49-F238E27FC236}">
                    <a16:creationId xmlns:a16="http://schemas.microsoft.com/office/drawing/2014/main" id="{18B8E917-023A-4590-88BF-3158724C71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1467"/>
                <a:ext cx="29" cy="19"/>
              </a:xfrm>
              <a:custGeom>
                <a:avLst/>
                <a:gdLst>
                  <a:gd name="T0" fmla="*/ 0 w 14"/>
                  <a:gd name="T1" fmla="*/ 9 h 9"/>
                  <a:gd name="T2" fmla="*/ 13 w 14"/>
                  <a:gd name="T3" fmla="*/ 0 h 9"/>
                  <a:gd name="T4" fmla="*/ 0 w 1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9">
                    <a:moveTo>
                      <a:pt x="0" y="9"/>
                    </a:moveTo>
                    <a:cubicBezTo>
                      <a:pt x="3" y="4"/>
                      <a:pt x="14" y="4"/>
                      <a:pt x="13" y="0"/>
                    </a:cubicBezTo>
                    <a:cubicBezTo>
                      <a:pt x="11" y="0"/>
                      <a:pt x="0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1" name="任意多边形: 形状 10540">
                <a:extLst>
                  <a:ext uri="{FF2B5EF4-FFF2-40B4-BE49-F238E27FC236}">
                    <a16:creationId xmlns:a16="http://schemas.microsoft.com/office/drawing/2014/main" id="{6A4CEC4A-B8FD-45F5-BC16-C7DAA43362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8" y="1156"/>
                <a:ext cx="16" cy="14"/>
              </a:xfrm>
              <a:custGeom>
                <a:avLst/>
                <a:gdLst>
                  <a:gd name="T0" fmla="*/ 8 w 8"/>
                  <a:gd name="T1" fmla="*/ 3 h 7"/>
                  <a:gd name="T2" fmla="*/ 0 w 8"/>
                  <a:gd name="T3" fmla="*/ 2 h 7"/>
                  <a:gd name="T4" fmla="*/ 8 w 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8" y="3"/>
                    </a:moveTo>
                    <a:cubicBezTo>
                      <a:pt x="4" y="7"/>
                      <a:pt x="3" y="0"/>
                      <a:pt x="0" y="2"/>
                    </a:cubicBezTo>
                    <a:cubicBezTo>
                      <a:pt x="1" y="7"/>
                      <a:pt x="8" y="6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2" name="任意多边形: 形状 10541">
                <a:extLst>
                  <a:ext uri="{FF2B5EF4-FFF2-40B4-BE49-F238E27FC236}">
                    <a16:creationId xmlns:a16="http://schemas.microsoft.com/office/drawing/2014/main" id="{01E69D84-3BCF-4406-B19E-AE3CA72EAB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25" y="1473"/>
                <a:ext cx="25" cy="19"/>
              </a:xfrm>
              <a:custGeom>
                <a:avLst/>
                <a:gdLst>
                  <a:gd name="T0" fmla="*/ 2 w 12"/>
                  <a:gd name="T1" fmla="*/ 9 h 9"/>
                  <a:gd name="T2" fmla="*/ 11 w 12"/>
                  <a:gd name="T3" fmla="*/ 1 h 9"/>
                  <a:gd name="T4" fmla="*/ 3 w 12"/>
                  <a:gd name="T5" fmla="*/ 3 h 9"/>
                  <a:gd name="T6" fmla="*/ 2 w 12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2" y="9"/>
                    </a:moveTo>
                    <a:cubicBezTo>
                      <a:pt x="6" y="7"/>
                      <a:pt x="12" y="5"/>
                      <a:pt x="11" y="1"/>
                    </a:cubicBezTo>
                    <a:cubicBezTo>
                      <a:pt x="9" y="3"/>
                      <a:pt x="3" y="0"/>
                      <a:pt x="3" y="3"/>
                    </a:cubicBezTo>
                    <a:cubicBezTo>
                      <a:pt x="8" y="4"/>
                      <a:pt x="0" y="7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3" name="任意多边形: 形状 10542">
                <a:extLst>
                  <a:ext uri="{FF2B5EF4-FFF2-40B4-BE49-F238E27FC236}">
                    <a16:creationId xmlns:a16="http://schemas.microsoft.com/office/drawing/2014/main" id="{A30C4AE0-958F-431D-AF5A-3EA57DE264F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92" y="1488"/>
                <a:ext cx="33" cy="27"/>
              </a:xfrm>
              <a:custGeom>
                <a:avLst/>
                <a:gdLst>
                  <a:gd name="T0" fmla="*/ 12 w 16"/>
                  <a:gd name="T1" fmla="*/ 4 h 13"/>
                  <a:gd name="T2" fmla="*/ 16 w 16"/>
                  <a:gd name="T3" fmla="*/ 3 h 13"/>
                  <a:gd name="T4" fmla="*/ 9 w 16"/>
                  <a:gd name="T5" fmla="*/ 2 h 13"/>
                  <a:gd name="T6" fmla="*/ 10 w 16"/>
                  <a:gd name="T7" fmla="*/ 7 h 13"/>
                  <a:gd name="T8" fmla="*/ 1 w 16"/>
                  <a:gd name="T9" fmla="*/ 13 h 13"/>
                  <a:gd name="T10" fmla="*/ 12 w 16"/>
                  <a:gd name="T11" fmla="*/ 8 h 13"/>
                  <a:gd name="T12" fmla="*/ 10 w 16"/>
                  <a:gd name="T13" fmla="*/ 8 h 13"/>
                  <a:gd name="T14" fmla="*/ 12 w 16"/>
                  <a:gd name="T1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">
                    <a:moveTo>
                      <a:pt x="12" y="4"/>
                    </a:moveTo>
                    <a:cubicBezTo>
                      <a:pt x="14" y="3"/>
                      <a:pt x="15" y="3"/>
                      <a:pt x="16" y="3"/>
                    </a:cubicBezTo>
                    <a:cubicBezTo>
                      <a:pt x="15" y="0"/>
                      <a:pt x="11" y="3"/>
                      <a:pt x="9" y="2"/>
                    </a:cubicBezTo>
                    <a:cubicBezTo>
                      <a:pt x="10" y="5"/>
                      <a:pt x="7" y="6"/>
                      <a:pt x="10" y="7"/>
                    </a:cubicBezTo>
                    <a:cubicBezTo>
                      <a:pt x="6" y="6"/>
                      <a:pt x="0" y="8"/>
                      <a:pt x="1" y="13"/>
                    </a:cubicBezTo>
                    <a:cubicBezTo>
                      <a:pt x="3" y="8"/>
                      <a:pt x="11" y="13"/>
                      <a:pt x="12" y="8"/>
                    </a:cubicBezTo>
                    <a:cubicBezTo>
                      <a:pt x="12" y="8"/>
                      <a:pt x="11" y="8"/>
                      <a:pt x="10" y="8"/>
                    </a:cubicBezTo>
                    <a:cubicBezTo>
                      <a:pt x="12" y="7"/>
                      <a:pt x="12" y="5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4" name="任意多边形: 形状 10543">
                <a:extLst>
                  <a:ext uri="{FF2B5EF4-FFF2-40B4-BE49-F238E27FC236}">
                    <a16:creationId xmlns:a16="http://schemas.microsoft.com/office/drawing/2014/main" id="{B59C8913-002A-448E-88DC-6F40FE54667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4" y="1917"/>
                <a:ext cx="21" cy="11"/>
              </a:xfrm>
              <a:custGeom>
                <a:avLst/>
                <a:gdLst>
                  <a:gd name="T0" fmla="*/ 1 w 10"/>
                  <a:gd name="T1" fmla="*/ 3 h 5"/>
                  <a:gd name="T2" fmla="*/ 7 w 10"/>
                  <a:gd name="T3" fmla="*/ 1 h 5"/>
                  <a:gd name="T4" fmla="*/ 1 w 10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" y="3"/>
                    </a:moveTo>
                    <a:cubicBezTo>
                      <a:pt x="2" y="5"/>
                      <a:pt x="10" y="5"/>
                      <a:pt x="7" y="1"/>
                    </a:cubicBezTo>
                    <a:cubicBezTo>
                      <a:pt x="5" y="4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5" name="任意多边形: 形状 10544">
                <a:extLst>
                  <a:ext uri="{FF2B5EF4-FFF2-40B4-BE49-F238E27FC236}">
                    <a16:creationId xmlns:a16="http://schemas.microsoft.com/office/drawing/2014/main" id="{B015D3A2-634B-4480-86BF-C5E4B5F74C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19" y="1749"/>
                <a:ext cx="19" cy="11"/>
              </a:xfrm>
              <a:custGeom>
                <a:avLst/>
                <a:gdLst>
                  <a:gd name="T0" fmla="*/ 0 w 9"/>
                  <a:gd name="T1" fmla="*/ 1 h 5"/>
                  <a:gd name="T2" fmla="*/ 6 w 9"/>
                  <a:gd name="T3" fmla="*/ 0 h 5"/>
                  <a:gd name="T4" fmla="*/ 0 w 9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0" y="1"/>
                    </a:moveTo>
                    <a:cubicBezTo>
                      <a:pt x="0" y="5"/>
                      <a:pt x="9" y="4"/>
                      <a:pt x="6" y="0"/>
                    </a:cubicBezTo>
                    <a:cubicBezTo>
                      <a:pt x="4" y="1"/>
                      <a:pt x="2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6" name="任意多边形: 形状 10545">
                <a:extLst>
                  <a:ext uri="{FF2B5EF4-FFF2-40B4-BE49-F238E27FC236}">
                    <a16:creationId xmlns:a16="http://schemas.microsoft.com/office/drawing/2014/main" id="{C2740C31-544E-4CB8-828E-CE410960AF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27" y="1880"/>
                <a:ext cx="17" cy="12"/>
              </a:xfrm>
              <a:custGeom>
                <a:avLst/>
                <a:gdLst>
                  <a:gd name="T0" fmla="*/ 1 w 8"/>
                  <a:gd name="T1" fmla="*/ 5 h 6"/>
                  <a:gd name="T2" fmla="*/ 8 w 8"/>
                  <a:gd name="T3" fmla="*/ 0 h 6"/>
                  <a:gd name="T4" fmla="*/ 1 w 8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1" y="5"/>
                    </a:moveTo>
                    <a:cubicBezTo>
                      <a:pt x="4" y="6"/>
                      <a:pt x="7" y="2"/>
                      <a:pt x="8" y="0"/>
                    </a:cubicBezTo>
                    <a:cubicBezTo>
                      <a:pt x="6" y="2"/>
                      <a:pt x="0" y="2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7" name="任意多边形: 形状 10546">
                <a:extLst>
                  <a:ext uri="{FF2B5EF4-FFF2-40B4-BE49-F238E27FC236}">
                    <a16:creationId xmlns:a16="http://schemas.microsoft.com/office/drawing/2014/main" id="{3F16F2BE-5489-49C3-8C19-0DD17ADDEB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02" y="2307"/>
                <a:ext cx="12" cy="13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2 h 6"/>
                  <a:gd name="T4" fmla="*/ 3 w 6"/>
                  <a:gd name="T5" fmla="*/ 6 h 6"/>
                  <a:gd name="T6" fmla="*/ 6 w 6"/>
                  <a:gd name="T7" fmla="*/ 1 h 6"/>
                  <a:gd name="T8" fmla="*/ 3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2" y="4"/>
                      <a:pt x="3" y="6"/>
                    </a:cubicBezTo>
                    <a:cubicBezTo>
                      <a:pt x="5" y="5"/>
                      <a:pt x="6" y="3"/>
                      <a:pt x="6" y="1"/>
                    </a:cubicBezTo>
                    <a:cubicBezTo>
                      <a:pt x="3" y="3"/>
                      <a:pt x="2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8" name="任意多边形: 形状 10547">
                <a:extLst>
                  <a:ext uri="{FF2B5EF4-FFF2-40B4-BE49-F238E27FC236}">
                    <a16:creationId xmlns:a16="http://schemas.microsoft.com/office/drawing/2014/main" id="{29EB044F-32BC-4D78-A897-ECE09666CC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95" y="1708"/>
                <a:ext cx="95" cy="41"/>
              </a:xfrm>
              <a:custGeom>
                <a:avLst/>
                <a:gdLst>
                  <a:gd name="T0" fmla="*/ 0 w 46"/>
                  <a:gd name="T1" fmla="*/ 20 h 20"/>
                  <a:gd name="T2" fmla="*/ 46 w 46"/>
                  <a:gd name="T3" fmla="*/ 0 h 20"/>
                  <a:gd name="T4" fmla="*/ 0 w 46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20">
                    <a:moveTo>
                      <a:pt x="0" y="20"/>
                    </a:moveTo>
                    <a:cubicBezTo>
                      <a:pt x="17" y="13"/>
                      <a:pt x="33" y="10"/>
                      <a:pt x="46" y="0"/>
                    </a:cubicBezTo>
                    <a:cubicBezTo>
                      <a:pt x="33" y="10"/>
                      <a:pt x="9" y="1"/>
                      <a:pt x="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9" name="任意多边形: 形状 10548">
                <a:extLst>
                  <a:ext uri="{FF2B5EF4-FFF2-40B4-BE49-F238E27FC236}">
                    <a16:creationId xmlns:a16="http://schemas.microsoft.com/office/drawing/2014/main" id="{BF592325-4CF8-45F6-BD3C-271C0C8AAC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86" y="2116"/>
                <a:ext cx="16" cy="17"/>
              </a:xfrm>
              <a:custGeom>
                <a:avLst/>
                <a:gdLst>
                  <a:gd name="T0" fmla="*/ 0 w 8"/>
                  <a:gd name="T1" fmla="*/ 3 h 8"/>
                  <a:gd name="T2" fmla="*/ 6 w 8"/>
                  <a:gd name="T3" fmla="*/ 0 h 8"/>
                  <a:gd name="T4" fmla="*/ 0 w 8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0" y="3"/>
                    </a:moveTo>
                    <a:cubicBezTo>
                      <a:pt x="2" y="8"/>
                      <a:pt x="8" y="4"/>
                      <a:pt x="6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0" name="任意多边形: 形状 10549">
                <a:extLst>
                  <a:ext uri="{FF2B5EF4-FFF2-40B4-BE49-F238E27FC236}">
                    <a16:creationId xmlns:a16="http://schemas.microsoft.com/office/drawing/2014/main" id="{48F794CA-F86D-47DC-AF70-81F76D8D3B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19" y="2226"/>
                <a:ext cx="16" cy="9"/>
              </a:xfrm>
              <a:custGeom>
                <a:avLst/>
                <a:gdLst>
                  <a:gd name="T0" fmla="*/ 0 w 8"/>
                  <a:gd name="T1" fmla="*/ 4 h 4"/>
                  <a:gd name="T2" fmla="*/ 7 w 8"/>
                  <a:gd name="T3" fmla="*/ 0 h 4"/>
                  <a:gd name="T4" fmla="*/ 0 w 8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cubicBezTo>
                      <a:pt x="1" y="4"/>
                      <a:pt x="8" y="3"/>
                      <a:pt x="7" y="0"/>
                    </a:cubicBezTo>
                    <a:cubicBezTo>
                      <a:pt x="5" y="3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1" name="任意多边形: 形状 10550">
                <a:extLst>
                  <a:ext uri="{FF2B5EF4-FFF2-40B4-BE49-F238E27FC236}">
                    <a16:creationId xmlns:a16="http://schemas.microsoft.com/office/drawing/2014/main" id="{52FFECE0-02B0-402E-B622-F7E866BA1B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6" y="2139"/>
                <a:ext cx="21" cy="13"/>
              </a:xfrm>
              <a:custGeom>
                <a:avLst/>
                <a:gdLst>
                  <a:gd name="T0" fmla="*/ 3 w 10"/>
                  <a:gd name="T1" fmla="*/ 6 h 6"/>
                  <a:gd name="T2" fmla="*/ 10 w 10"/>
                  <a:gd name="T3" fmla="*/ 0 h 6"/>
                  <a:gd name="T4" fmla="*/ 3 w 10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3" y="6"/>
                    </a:moveTo>
                    <a:cubicBezTo>
                      <a:pt x="7" y="4"/>
                      <a:pt x="9" y="3"/>
                      <a:pt x="10" y="0"/>
                    </a:cubicBezTo>
                    <a:cubicBezTo>
                      <a:pt x="8" y="2"/>
                      <a:pt x="0" y="2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2" name="任意多边形: 形状 10551">
                <a:extLst>
                  <a:ext uri="{FF2B5EF4-FFF2-40B4-BE49-F238E27FC236}">
                    <a16:creationId xmlns:a16="http://schemas.microsoft.com/office/drawing/2014/main" id="{9896E746-C0F7-4B9D-8A3F-11075F42CD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0" y="2181"/>
                <a:ext cx="24" cy="18"/>
              </a:xfrm>
              <a:custGeom>
                <a:avLst/>
                <a:gdLst>
                  <a:gd name="T0" fmla="*/ 6 w 12"/>
                  <a:gd name="T1" fmla="*/ 1 h 9"/>
                  <a:gd name="T2" fmla="*/ 0 w 12"/>
                  <a:gd name="T3" fmla="*/ 3 h 9"/>
                  <a:gd name="T4" fmla="*/ 6 w 12"/>
                  <a:gd name="T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6" y="1"/>
                    </a:moveTo>
                    <a:cubicBezTo>
                      <a:pt x="7" y="4"/>
                      <a:pt x="2" y="0"/>
                      <a:pt x="0" y="3"/>
                    </a:cubicBezTo>
                    <a:cubicBezTo>
                      <a:pt x="1" y="9"/>
                      <a:pt x="12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3" name="任意多边形: 形状 10552">
                <a:extLst>
                  <a:ext uri="{FF2B5EF4-FFF2-40B4-BE49-F238E27FC236}">
                    <a16:creationId xmlns:a16="http://schemas.microsoft.com/office/drawing/2014/main" id="{BEE493FC-5BF7-4DE5-896A-C20375FF78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9" y="2189"/>
                <a:ext cx="21" cy="19"/>
              </a:xfrm>
              <a:custGeom>
                <a:avLst/>
                <a:gdLst>
                  <a:gd name="T0" fmla="*/ 0 w 10"/>
                  <a:gd name="T1" fmla="*/ 4 h 9"/>
                  <a:gd name="T2" fmla="*/ 8 w 10"/>
                  <a:gd name="T3" fmla="*/ 0 h 9"/>
                  <a:gd name="T4" fmla="*/ 0 w 10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1" y="9"/>
                      <a:pt x="10" y="3"/>
                      <a:pt x="8" y="0"/>
                    </a:cubicBezTo>
                    <a:cubicBezTo>
                      <a:pt x="3" y="2"/>
                      <a:pt x="4" y="4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4" name="任意多边形: 形状 10553">
                <a:extLst>
                  <a:ext uri="{FF2B5EF4-FFF2-40B4-BE49-F238E27FC236}">
                    <a16:creationId xmlns:a16="http://schemas.microsoft.com/office/drawing/2014/main" id="{EF8ECC69-22B2-4C9A-A327-A9E040EAB3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64" y="1743"/>
                <a:ext cx="31" cy="21"/>
              </a:xfrm>
              <a:custGeom>
                <a:avLst/>
                <a:gdLst>
                  <a:gd name="T0" fmla="*/ 13 w 15"/>
                  <a:gd name="T1" fmla="*/ 0 h 10"/>
                  <a:gd name="T2" fmla="*/ 0 w 15"/>
                  <a:gd name="T3" fmla="*/ 7 h 10"/>
                  <a:gd name="T4" fmla="*/ 8 w 15"/>
                  <a:gd name="T5" fmla="*/ 9 h 10"/>
                  <a:gd name="T6" fmla="*/ 13 w 15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0">
                    <a:moveTo>
                      <a:pt x="13" y="0"/>
                    </a:moveTo>
                    <a:cubicBezTo>
                      <a:pt x="11" y="3"/>
                      <a:pt x="2" y="2"/>
                      <a:pt x="0" y="7"/>
                    </a:cubicBezTo>
                    <a:cubicBezTo>
                      <a:pt x="2" y="10"/>
                      <a:pt x="5" y="9"/>
                      <a:pt x="8" y="9"/>
                    </a:cubicBezTo>
                    <a:cubicBezTo>
                      <a:pt x="6" y="4"/>
                      <a:pt x="15" y="5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5" name="任意多边形: 形状 10554">
                <a:extLst>
                  <a:ext uri="{FF2B5EF4-FFF2-40B4-BE49-F238E27FC236}">
                    <a16:creationId xmlns:a16="http://schemas.microsoft.com/office/drawing/2014/main" id="{6FC90725-0551-43A3-B844-9741F24B7A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97" y="1865"/>
                <a:ext cx="25" cy="13"/>
              </a:xfrm>
              <a:custGeom>
                <a:avLst/>
                <a:gdLst>
                  <a:gd name="T0" fmla="*/ 0 w 12"/>
                  <a:gd name="T1" fmla="*/ 6 h 6"/>
                  <a:gd name="T2" fmla="*/ 7 w 12"/>
                  <a:gd name="T3" fmla="*/ 0 h 6"/>
                  <a:gd name="T4" fmla="*/ 0 w 12"/>
                  <a:gd name="T5" fmla="*/ 2 h 6"/>
                  <a:gd name="T6" fmla="*/ 1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cubicBezTo>
                      <a:pt x="3" y="5"/>
                      <a:pt x="12" y="2"/>
                      <a:pt x="7" y="0"/>
                    </a:cubicBezTo>
                    <a:cubicBezTo>
                      <a:pt x="7" y="3"/>
                      <a:pt x="2" y="0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5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6" name="任意多边形: 形状 10555">
                <a:extLst>
                  <a:ext uri="{FF2B5EF4-FFF2-40B4-BE49-F238E27FC236}">
                    <a16:creationId xmlns:a16="http://schemas.microsoft.com/office/drawing/2014/main" id="{EE2832A4-2709-448F-9FD9-03F3F4FC98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3" y="1872"/>
                <a:ext cx="13" cy="16"/>
              </a:xfrm>
              <a:custGeom>
                <a:avLst/>
                <a:gdLst>
                  <a:gd name="T0" fmla="*/ 0 w 6"/>
                  <a:gd name="T1" fmla="*/ 8 h 8"/>
                  <a:gd name="T2" fmla="*/ 6 w 6"/>
                  <a:gd name="T3" fmla="*/ 0 h 8"/>
                  <a:gd name="T4" fmla="*/ 0 w 6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cubicBezTo>
                      <a:pt x="5" y="7"/>
                      <a:pt x="5" y="4"/>
                      <a:pt x="6" y="0"/>
                    </a:cubicBezTo>
                    <a:cubicBezTo>
                      <a:pt x="3" y="3"/>
                      <a:pt x="3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7" name="任意多边形: 形状 10556">
                <a:extLst>
                  <a:ext uri="{FF2B5EF4-FFF2-40B4-BE49-F238E27FC236}">
                    <a16:creationId xmlns:a16="http://schemas.microsoft.com/office/drawing/2014/main" id="{01C74735-FD98-45ED-BA3D-A898395F916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53" y="2110"/>
                <a:ext cx="15" cy="13"/>
              </a:xfrm>
              <a:custGeom>
                <a:avLst/>
                <a:gdLst>
                  <a:gd name="T0" fmla="*/ 2 w 7"/>
                  <a:gd name="T1" fmla="*/ 6 h 6"/>
                  <a:gd name="T2" fmla="*/ 7 w 7"/>
                  <a:gd name="T3" fmla="*/ 1 h 6"/>
                  <a:gd name="T4" fmla="*/ 2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2" y="6"/>
                    </a:moveTo>
                    <a:cubicBezTo>
                      <a:pt x="5" y="5"/>
                      <a:pt x="7" y="3"/>
                      <a:pt x="7" y="1"/>
                    </a:cubicBezTo>
                    <a:cubicBezTo>
                      <a:pt x="5" y="0"/>
                      <a:pt x="0" y="2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8" name="任意多边形: 形状 10557">
                <a:extLst>
                  <a:ext uri="{FF2B5EF4-FFF2-40B4-BE49-F238E27FC236}">
                    <a16:creationId xmlns:a16="http://schemas.microsoft.com/office/drawing/2014/main" id="{222BCB8B-A8FC-4DF7-A7FC-FABAC2BB4B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3" y="2243"/>
                <a:ext cx="17" cy="10"/>
              </a:xfrm>
              <a:custGeom>
                <a:avLst/>
                <a:gdLst>
                  <a:gd name="T0" fmla="*/ 8 w 8"/>
                  <a:gd name="T1" fmla="*/ 1 h 5"/>
                  <a:gd name="T2" fmla="*/ 0 w 8"/>
                  <a:gd name="T3" fmla="*/ 4 h 5"/>
                  <a:gd name="T4" fmla="*/ 7 w 8"/>
                  <a:gd name="T5" fmla="*/ 5 h 5"/>
                  <a:gd name="T6" fmla="*/ 8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6" y="1"/>
                      <a:pt x="0" y="0"/>
                      <a:pt x="0" y="4"/>
                    </a:cubicBezTo>
                    <a:cubicBezTo>
                      <a:pt x="3" y="3"/>
                      <a:pt x="3" y="2"/>
                      <a:pt x="7" y="5"/>
                    </a:cubicBezTo>
                    <a:cubicBezTo>
                      <a:pt x="6" y="3"/>
                      <a:pt x="8" y="3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9" name="任意多边形: 形状 10558">
                <a:extLst>
                  <a:ext uri="{FF2B5EF4-FFF2-40B4-BE49-F238E27FC236}">
                    <a16:creationId xmlns:a16="http://schemas.microsoft.com/office/drawing/2014/main" id="{0B3EBF00-744B-4C6A-8F0A-82B0929FD3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0" y="2448"/>
                <a:ext cx="23" cy="13"/>
              </a:xfrm>
              <a:custGeom>
                <a:avLst/>
                <a:gdLst>
                  <a:gd name="T0" fmla="*/ 1 w 11"/>
                  <a:gd name="T1" fmla="*/ 6 h 6"/>
                  <a:gd name="T2" fmla="*/ 8 w 11"/>
                  <a:gd name="T3" fmla="*/ 0 h 6"/>
                  <a:gd name="T4" fmla="*/ 1 w 1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1" y="6"/>
                    </a:moveTo>
                    <a:cubicBezTo>
                      <a:pt x="4" y="4"/>
                      <a:pt x="11" y="4"/>
                      <a:pt x="8" y="0"/>
                    </a:cubicBezTo>
                    <a:cubicBezTo>
                      <a:pt x="5" y="1"/>
                      <a:pt x="0" y="2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0" name="任意多边形: 形状 10559">
                <a:extLst>
                  <a:ext uri="{FF2B5EF4-FFF2-40B4-BE49-F238E27FC236}">
                    <a16:creationId xmlns:a16="http://schemas.microsoft.com/office/drawing/2014/main" id="{82614146-EB8A-4AD8-856B-EAE2C09B95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50" y="1328"/>
                <a:ext cx="11" cy="19"/>
              </a:xfrm>
              <a:custGeom>
                <a:avLst/>
                <a:gdLst>
                  <a:gd name="T0" fmla="*/ 2 w 5"/>
                  <a:gd name="T1" fmla="*/ 9 h 9"/>
                  <a:gd name="T2" fmla="*/ 5 w 5"/>
                  <a:gd name="T3" fmla="*/ 0 h 9"/>
                  <a:gd name="T4" fmla="*/ 1 w 5"/>
                  <a:gd name="T5" fmla="*/ 5 h 9"/>
                  <a:gd name="T6" fmla="*/ 2 w 5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9"/>
                    </a:moveTo>
                    <a:cubicBezTo>
                      <a:pt x="4" y="7"/>
                      <a:pt x="5" y="4"/>
                      <a:pt x="5" y="0"/>
                    </a:cubicBezTo>
                    <a:cubicBezTo>
                      <a:pt x="2" y="1"/>
                      <a:pt x="1" y="3"/>
                      <a:pt x="1" y="5"/>
                    </a:cubicBezTo>
                    <a:cubicBezTo>
                      <a:pt x="4" y="4"/>
                      <a:pt x="0" y="8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1" name="任意多边形: 形状 10560">
                <a:extLst>
                  <a:ext uri="{FF2B5EF4-FFF2-40B4-BE49-F238E27FC236}">
                    <a16:creationId xmlns:a16="http://schemas.microsoft.com/office/drawing/2014/main" id="{4D842A01-C793-473E-A5C9-5861C11D0B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249"/>
                <a:ext cx="25" cy="13"/>
              </a:xfrm>
              <a:custGeom>
                <a:avLst/>
                <a:gdLst>
                  <a:gd name="T0" fmla="*/ 12 w 12"/>
                  <a:gd name="T1" fmla="*/ 0 h 6"/>
                  <a:gd name="T2" fmla="*/ 0 w 12"/>
                  <a:gd name="T3" fmla="*/ 3 h 6"/>
                  <a:gd name="T4" fmla="*/ 12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2" y="0"/>
                    </a:moveTo>
                    <a:cubicBezTo>
                      <a:pt x="8" y="2"/>
                      <a:pt x="4" y="3"/>
                      <a:pt x="0" y="3"/>
                    </a:cubicBezTo>
                    <a:cubicBezTo>
                      <a:pt x="2" y="6"/>
                      <a:pt x="11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2" name="任意多边形: 形状 10561">
                <a:extLst>
                  <a:ext uri="{FF2B5EF4-FFF2-40B4-BE49-F238E27FC236}">
                    <a16:creationId xmlns:a16="http://schemas.microsoft.com/office/drawing/2014/main" id="{393F4F48-FA1A-41D6-81DA-04EBCEE7E32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9" y="1297"/>
                <a:ext cx="29" cy="18"/>
              </a:xfrm>
              <a:custGeom>
                <a:avLst/>
                <a:gdLst>
                  <a:gd name="T0" fmla="*/ 14 w 14"/>
                  <a:gd name="T1" fmla="*/ 4 h 9"/>
                  <a:gd name="T2" fmla="*/ 13 w 14"/>
                  <a:gd name="T3" fmla="*/ 0 h 9"/>
                  <a:gd name="T4" fmla="*/ 0 w 14"/>
                  <a:gd name="T5" fmla="*/ 9 h 9"/>
                  <a:gd name="T6" fmla="*/ 14 w 14"/>
                  <a:gd name="T7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4" y="4"/>
                    </a:moveTo>
                    <a:cubicBezTo>
                      <a:pt x="13" y="2"/>
                      <a:pt x="13" y="1"/>
                      <a:pt x="13" y="0"/>
                    </a:cubicBezTo>
                    <a:cubicBezTo>
                      <a:pt x="8" y="0"/>
                      <a:pt x="0" y="2"/>
                      <a:pt x="0" y="9"/>
                    </a:cubicBezTo>
                    <a:cubicBezTo>
                      <a:pt x="7" y="5"/>
                      <a:pt x="7" y="2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3" name="任意多边形: 形状 10562">
                <a:extLst>
                  <a:ext uri="{FF2B5EF4-FFF2-40B4-BE49-F238E27FC236}">
                    <a16:creationId xmlns:a16="http://schemas.microsoft.com/office/drawing/2014/main" id="{2628A304-DE4B-49F4-8D36-09125A2D7D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05" y="1392"/>
                <a:ext cx="23" cy="17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11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5" y="3"/>
                      <a:pt x="1" y="4"/>
                      <a:pt x="0" y="8"/>
                    </a:cubicBezTo>
                    <a:cubicBezTo>
                      <a:pt x="4" y="5"/>
                      <a:pt x="11" y="4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4" name="任意多边形: 形状 10563">
                <a:extLst>
                  <a:ext uri="{FF2B5EF4-FFF2-40B4-BE49-F238E27FC236}">
                    <a16:creationId xmlns:a16="http://schemas.microsoft.com/office/drawing/2014/main" id="{0FD0AB2C-F734-4946-98E0-CEF0807F20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7" y="1311"/>
                <a:ext cx="52" cy="31"/>
              </a:xfrm>
              <a:custGeom>
                <a:avLst/>
                <a:gdLst>
                  <a:gd name="T0" fmla="*/ 15 w 25"/>
                  <a:gd name="T1" fmla="*/ 5 h 15"/>
                  <a:gd name="T2" fmla="*/ 14 w 25"/>
                  <a:gd name="T3" fmla="*/ 7 h 15"/>
                  <a:gd name="T4" fmla="*/ 18 w 25"/>
                  <a:gd name="T5" fmla="*/ 7 h 15"/>
                  <a:gd name="T6" fmla="*/ 22 w 25"/>
                  <a:gd name="T7" fmla="*/ 1 h 15"/>
                  <a:gd name="T8" fmla="*/ 15 w 25"/>
                  <a:gd name="T9" fmla="*/ 2 h 15"/>
                  <a:gd name="T10" fmla="*/ 15 w 25"/>
                  <a:gd name="T1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5">
                    <a:moveTo>
                      <a:pt x="15" y="5"/>
                    </a:moveTo>
                    <a:cubicBezTo>
                      <a:pt x="8" y="6"/>
                      <a:pt x="0" y="15"/>
                      <a:pt x="14" y="7"/>
                    </a:cubicBezTo>
                    <a:cubicBezTo>
                      <a:pt x="15" y="8"/>
                      <a:pt x="19" y="9"/>
                      <a:pt x="18" y="7"/>
                    </a:cubicBezTo>
                    <a:cubicBezTo>
                      <a:pt x="14" y="2"/>
                      <a:pt x="25" y="7"/>
                      <a:pt x="22" y="1"/>
                    </a:cubicBezTo>
                    <a:cubicBezTo>
                      <a:pt x="19" y="3"/>
                      <a:pt x="17" y="0"/>
                      <a:pt x="15" y="2"/>
                    </a:cubicBezTo>
                    <a:cubicBezTo>
                      <a:pt x="15" y="3"/>
                      <a:pt x="16" y="5"/>
                      <a:pt x="1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5" name="任意多边形: 形状 10564">
                <a:extLst>
                  <a:ext uri="{FF2B5EF4-FFF2-40B4-BE49-F238E27FC236}">
                    <a16:creationId xmlns:a16="http://schemas.microsoft.com/office/drawing/2014/main" id="{6F48691C-E58D-4FE8-BD76-7C87A6B13F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76" y="2392"/>
                <a:ext cx="11" cy="15"/>
              </a:xfrm>
              <a:custGeom>
                <a:avLst/>
                <a:gdLst>
                  <a:gd name="T0" fmla="*/ 0 w 5"/>
                  <a:gd name="T1" fmla="*/ 5 h 7"/>
                  <a:gd name="T2" fmla="*/ 5 w 5"/>
                  <a:gd name="T3" fmla="*/ 0 h 7"/>
                  <a:gd name="T4" fmla="*/ 0 w 5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5"/>
                    </a:moveTo>
                    <a:cubicBezTo>
                      <a:pt x="3" y="7"/>
                      <a:pt x="5" y="3"/>
                      <a:pt x="5" y="0"/>
                    </a:cubicBezTo>
                    <a:cubicBezTo>
                      <a:pt x="2" y="1"/>
                      <a:pt x="0" y="3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6" name="任意多边形: 形状 10565">
                <a:extLst>
                  <a:ext uri="{FF2B5EF4-FFF2-40B4-BE49-F238E27FC236}">
                    <a16:creationId xmlns:a16="http://schemas.microsoft.com/office/drawing/2014/main" id="{ABEFCFC8-61DC-44F7-B41A-24BDE1D681C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1" y="2285"/>
                <a:ext cx="23" cy="22"/>
              </a:xfrm>
              <a:custGeom>
                <a:avLst/>
                <a:gdLst>
                  <a:gd name="T0" fmla="*/ 11 w 11"/>
                  <a:gd name="T1" fmla="*/ 5 h 11"/>
                  <a:gd name="T2" fmla="*/ 8 w 11"/>
                  <a:gd name="T3" fmla="*/ 0 h 11"/>
                  <a:gd name="T4" fmla="*/ 0 w 11"/>
                  <a:gd name="T5" fmla="*/ 6 h 11"/>
                  <a:gd name="T6" fmla="*/ 1 w 11"/>
                  <a:gd name="T7" fmla="*/ 11 h 11"/>
                  <a:gd name="T8" fmla="*/ 11 w 11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cubicBezTo>
                      <a:pt x="10" y="3"/>
                      <a:pt x="9" y="1"/>
                      <a:pt x="8" y="0"/>
                    </a:cubicBezTo>
                    <a:cubicBezTo>
                      <a:pt x="5" y="2"/>
                      <a:pt x="4" y="4"/>
                      <a:pt x="0" y="6"/>
                    </a:cubicBezTo>
                    <a:cubicBezTo>
                      <a:pt x="1" y="8"/>
                      <a:pt x="1" y="9"/>
                      <a:pt x="1" y="11"/>
                    </a:cubicBezTo>
                    <a:cubicBezTo>
                      <a:pt x="3" y="7"/>
                      <a:pt x="5" y="1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7" name="任意多边形: 形状 10566">
                <a:extLst>
                  <a:ext uri="{FF2B5EF4-FFF2-40B4-BE49-F238E27FC236}">
                    <a16:creationId xmlns:a16="http://schemas.microsoft.com/office/drawing/2014/main" id="{D0B37A29-0867-4BDB-B2BC-AEA4434607D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87" y="2324"/>
                <a:ext cx="48" cy="37"/>
              </a:xfrm>
              <a:custGeom>
                <a:avLst/>
                <a:gdLst>
                  <a:gd name="T0" fmla="*/ 0 w 23"/>
                  <a:gd name="T1" fmla="*/ 14 h 18"/>
                  <a:gd name="T2" fmla="*/ 9 w 23"/>
                  <a:gd name="T3" fmla="*/ 13 h 18"/>
                  <a:gd name="T4" fmla="*/ 3 w 23"/>
                  <a:gd name="T5" fmla="*/ 17 h 18"/>
                  <a:gd name="T6" fmla="*/ 23 w 23"/>
                  <a:gd name="T7" fmla="*/ 1 h 18"/>
                  <a:gd name="T8" fmla="*/ 0 w 23"/>
                  <a:gd name="T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8">
                    <a:moveTo>
                      <a:pt x="0" y="14"/>
                    </a:moveTo>
                    <a:cubicBezTo>
                      <a:pt x="3" y="13"/>
                      <a:pt x="7" y="9"/>
                      <a:pt x="9" y="13"/>
                    </a:cubicBezTo>
                    <a:cubicBezTo>
                      <a:pt x="7" y="14"/>
                      <a:pt x="2" y="14"/>
                      <a:pt x="3" y="17"/>
                    </a:cubicBezTo>
                    <a:cubicBezTo>
                      <a:pt x="12" y="18"/>
                      <a:pt x="15" y="6"/>
                      <a:pt x="23" y="1"/>
                    </a:cubicBezTo>
                    <a:cubicBezTo>
                      <a:pt x="15" y="0"/>
                      <a:pt x="3" y="9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8" name="任意多边形: 形状 10567">
                <a:extLst>
                  <a:ext uri="{FF2B5EF4-FFF2-40B4-BE49-F238E27FC236}">
                    <a16:creationId xmlns:a16="http://schemas.microsoft.com/office/drawing/2014/main" id="{51CC2A26-A14F-43AD-8892-A69481A466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03" y="1334"/>
                <a:ext cx="17" cy="13"/>
              </a:xfrm>
              <a:custGeom>
                <a:avLst/>
                <a:gdLst>
                  <a:gd name="T0" fmla="*/ 0 w 8"/>
                  <a:gd name="T1" fmla="*/ 6 h 6"/>
                  <a:gd name="T2" fmla="*/ 7 w 8"/>
                  <a:gd name="T3" fmla="*/ 0 h 6"/>
                  <a:gd name="T4" fmla="*/ 0 w 8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cubicBezTo>
                      <a:pt x="3" y="4"/>
                      <a:pt x="8" y="3"/>
                      <a:pt x="7" y="0"/>
                    </a:cubicBezTo>
                    <a:cubicBezTo>
                      <a:pt x="3" y="1"/>
                      <a:pt x="0" y="3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9" name="任意多边形: 形状 10568">
                <a:extLst>
                  <a:ext uri="{FF2B5EF4-FFF2-40B4-BE49-F238E27FC236}">
                    <a16:creationId xmlns:a16="http://schemas.microsoft.com/office/drawing/2014/main" id="{6D50AA79-4A4F-4A65-9867-9D15B759FBE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6" y="1340"/>
                <a:ext cx="15" cy="13"/>
              </a:xfrm>
              <a:custGeom>
                <a:avLst/>
                <a:gdLst>
                  <a:gd name="T0" fmla="*/ 1 w 7"/>
                  <a:gd name="T1" fmla="*/ 6 h 6"/>
                  <a:gd name="T2" fmla="*/ 4 w 7"/>
                  <a:gd name="T3" fmla="*/ 0 h 6"/>
                  <a:gd name="T4" fmla="*/ 1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6"/>
                    </a:moveTo>
                    <a:cubicBezTo>
                      <a:pt x="4" y="5"/>
                      <a:pt x="7" y="4"/>
                      <a:pt x="4" y="0"/>
                    </a:cubicBezTo>
                    <a:cubicBezTo>
                      <a:pt x="0" y="1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0" name="任意多边形: 形状 10569">
                <a:extLst>
                  <a:ext uri="{FF2B5EF4-FFF2-40B4-BE49-F238E27FC236}">
                    <a16:creationId xmlns:a16="http://schemas.microsoft.com/office/drawing/2014/main" id="{376D595C-FE4A-46C1-8E17-262ECB97B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47" y="1353"/>
                <a:ext cx="41" cy="18"/>
              </a:xfrm>
              <a:custGeom>
                <a:avLst/>
                <a:gdLst>
                  <a:gd name="T0" fmla="*/ 17 w 20"/>
                  <a:gd name="T1" fmla="*/ 0 h 9"/>
                  <a:gd name="T2" fmla="*/ 3 w 20"/>
                  <a:gd name="T3" fmla="*/ 2 h 9"/>
                  <a:gd name="T4" fmla="*/ 7 w 20"/>
                  <a:gd name="T5" fmla="*/ 9 h 9"/>
                  <a:gd name="T6" fmla="*/ 17 w 2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9">
                    <a:moveTo>
                      <a:pt x="17" y="0"/>
                    </a:moveTo>
                    <a:cubicBezTo>
                      <a:pt x="10" y="2"/>
                      <a:pt x="10" y="1"/>
                      <a:pt x="3" y="2"/>
                    </a:cubicBezTo>
                    <a:cubicBezTo>
                      <a:pt x="2" y="5"/>
                      <a:pt x="5" y="8"/>
                      <a:pt x="7" y="9"/>
                    </a:cubicBezTo>
                    <a:cubicBezTo>
                      <a:pt x="0" y="0"/>
                      <a:pt x="20" y="5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1" name="任意多边形: 形状 10570">
                <a:extLst>
                  <a:ext uri="{FF2B5EF4-FFF2-40B4-BE49-F238E27FC236}">
                    <a16:creationId xmlns:a16="http://schemas.microsoft.com/office/drawing/2014/main" id="{2C1DBF5E-9DBE-4588-B445-36563DB096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29" y="2370"/>
                <a:ext cx="29" cy="14"/>
              </a:xfrm>
              <a:custGeom>
                <a:avLst/>
                <a:gdLst>
                  <a:gd name="T0" fmla="*/ 14 w 14"/>
                  <a:gd name="T1" fmla="*/ 4 h 7"/>
                  <a:gd name="T2" fmla="*/ 12 w 14"/>
                  <a:gd name="T3" fmla="*/ 0 h 7"/>
                  <a:gd name="T4" fmla="*/ 5 w 14"/>
                  <a:gd name="T5" fmla="*/ 1 h 7"/>
                  <a:gd name="T6" fmla="*/ 2 w 14"/>
                  <a:gd name="T7" fmla="*/ 7 h 7"/>
                  <a:gd name="T8" fmla="*/ 14 w 14"/>
                  <a:gd name="T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4" y="4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9" y="3"/>
                      <a:pt x="7" y="1"/>
                      <a:pt x="5" y="1"/>
                    </a:cubicBezTo>
                    <a:cubicBezTo>
                      <a:pt x="9" y="5"/>
                      <a:pt x="0" y="4"/>
                      <a:pt x="2" y="7"/>
                    </a:cubicBezTo>
                    <a:cubicBezTo>
                      <a:pt x="7" y="4"/>
                      <a:pt x="11" y="3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2084" name="任意多边形: 形状 2083">
              <a:extLst>
                <a:ext uri="{FF2B5EF4-FFF2-40B4-BE49-F238E27FC236}">
                  <a16:creationId xmlns:a16="http://schemas.microsoft.com/office/drawing/2014/main" id="{0307C715-B375-4295-9EA4-B5B8EEF83B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09964" y="-7065952"/>
              <a:ext cx="36513" cy="28575"/>
            </a:xfrm>
            <a:custGeom>
              <a:avLst/>
              <a:gdLst>
                <a:gd name="T0" fmla="*/ 0 w 11"/>
                <a:gd name="T1" fmla="*/ 5 h 9"/>
                <a:gd name="T2" fmla="*/ 11 w 11"/>
                <a:gd name="T3" fmla="*/ 5 h 9"/>
                <a:gd name="T4" fmla="*/ 0 w 11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9">
                  <a:moveTo>
                    <a:pt x="0" y="5"/>
                  </a:moveTo>
                  <a:cubicBezTo>
                    <a:pt x="3" y="9"/>
                    <a:pt x="7" y="6"/>
                    <a:pt x="11" y="5"/>
                  </a:cubicBezTo>
                  <a:cubicBezTo>
                    <a:pt x="9" y="0"/>
                    <a:pt x="4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5" name="任意多边形: 形状 2084">
              <a:extLst>
                <a:ext uri="{FF2B5EF4-FFF2-40B4-BE49-F238E27FC236}">
                  <a16:creationId xmlns:a16="http://schemas.microsoft.com/office/drawing/2014/main" id="{1AC2FD26-45F7-49FF-9C8D-2D499B66D9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0951" y="-6407138"/>
              <a:ext cx="36513" cy="42863"/>
            </a:xfrm>
            <a:custGeom>
              <a:avLst/>
              <a:gdLst>
                <a:gd name="T0" fmla="*/ 11 w 11"/>
                <a:gd name="T1" fmla="*/ 6 h 13"/>
                <a:gd name="T2" fmla="*/ 9 w 11"/>
                <a:gd name="T3" fmla="*/ 0 h 13"/>
                <a:gd name="T4" fmla="*/ 0 w 11"/>
                <a:gd name="T5" fmla="*/ 8 h 13"/>
                <a:gd name="T6" fmla="*/ 7 w 11"/>
                <a:gd name="T7" fmla="*/ 11 h 13"/>
                <a:gd name="T8" fmla="*/ 11 w 11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6"/>
                  </a:moveTo>
                  <a:cubicBezTo>
                    <a:pt x="8" y="3"/>
                    <a:pt x="9" y="3"/>
                    <a:pt x="9" y="0"/>
                  </a:cubicBezTo>
                  <a:cubicBezTo>
                    <a:pt x="5" y="2"/>
                    <a:pt x="4" y="5"/>
                    <a:pt x="0" y="8"/>
                  </a:cubicBezTo>
                  <a:cubicBezTo>
                    <a:pt x="4" y="5"/>
                    <a:pt x="4" y="13"/>
                    <a:pt x="7" y="11"/>
                  </a:cubicBezTo>
                  <a:cubicBezTo>
                    <a:pt x="6" y="8"/>
                    <a:pt x="8" y="5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6" name="任意多边形: 形状 2085">
              <a:extLst>
                <a:ext uri="{FF2B5EF4-FFF2-40B4-BE49-F238E27FC236}">
                  <a16:creationId xmlns:a16="http://schemas.microsoft.com/office/drawing/2014/main" id="{F0CAAF19-F0C2-4C2A-8901-72AA179755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27464" y="-6321413"/>
              <a:ext cx="25400" cy="22225"/>
            </a:xfrm>
            <a:custGeom>
              <a:avLst/>
              <a:gdLst>
                <a:gd name="T0" fmla="*/ 7 w 8"/>
                <a:gd name="T1" fmla="*/ 0 h 7"/>
                <a:gd name="T2" fmla="*/ 0 w 8"/>
                <a:gd name="T3" fmla="*/ 1 h 7"/>
                <a:gd name="T4" fmla="*/ 7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5" y="1"/>
                    <a:pt x="2" y="2"/>
                    <a:pt x="0" y="1"/>
                  </a:cubicBezTo>
                  <a:cubicBezTo>
                    <a:pt x="2" y="7"/>
                    <a:pt x="8" y="3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7" name="任意多边形: 形状 2086">
              <a:extLst>
                <a:ext uri="{FF2B5EF4-FFF2-40B4-BE49-F238E27FC236}">
                  <a16:creationId xmlns:a16="http://schemas.microsoft.com/office/drawing/2014/main" id="{7DB529D2-3671-4554-AC6D-4EC117A789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60789" y="-6388088"/>
              <a:ext cx="23813" cy="23813"/>
            </a:xfrm>
            <a:custGeom>
              <a:avLst/>
              <a:gdLst>
                <a:gd name="T0" fmla="*/ 0 w 7"/>
                <a:gd name="T1" fmla="*/ 7 h 7"/>
                <a:gd name="T2" fmla="*/ 7 w 7"/>
                <a:gd name="T3" fmla="*/ 0 h 7"/>
                <a:gd name="T4" fmla="*/ 0 w 7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0" y="7"/>
                  </a:moveTo>
                  <a:cubicBezTo>
                    <a:pt x="4" y="7"/>
                    <a:pt x="6" y="4"/>
                    <a:pt x="7" y="0"/>
                  </a:cubicBezTo>
                  <a:cubicBezTo>
                    <a:pt x="3" y="2"/>
                    <a:pt x="0" y="4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8" name="任意多边形: 形状 2087">
              <a:extLst>
                <a:ext uri="{FF2B5EF4-FFF2-40B4-BE49-F238E27FC236}">
                  <a16:creationId xmlns:a16="http://schemas.microsoft.com/office/drawing/2014/main" id="{E70B2FC8-F1F2-480E-884F-37069EE35B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48089" y="-6397613"/>
              <a:ext cx="22225" cy="15875"/>
            </a:xfrm>
            <a:custGeom>
              <a:avLst/>
              <a:gdLst>
                <a:gd name="T0" fmla="*/ 7 w 7"/>
                <a:gd name="T1" fmla="*/ 0 h 5"/>
                <a:gd name="T2" fmla="*/ 1 w 7"/>
                <a:gd name="T3" fmla="*/ 4 h 5"/>
                <a:gd name="T4" fmla="*/ 7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5" y="1"/>
                    <a:pt x="0" y="1"/>
                    <a:pt x="1" y="4"/>
                  </a:cubicBezTo>
                  <a:cubicBezTo>
                    <a:pt x="5" y="5"/>
                    <a:pt x="7" y="4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89" name="任意多边形: 形状 2088">
              <a:extLst>
                <a:ext uri="{FF2B5EF4-FFF2-40B4-BE49-F238E27FC236}">
                  <a16:creationId xmlns:a16="http://schemas.microsoft.com/office/drawing/2014/main" id="{C519B18F-9755-48F6-9D01-7146D85366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44914" y="-6286488"/>
              <a:ext cx="39688" cy="23813"/>
            </a:xfrm>
            <a:custGeom>
              <a:avLst/>
              <a:gdLst>
                <a:gd name="T0" fmla="*/ 0 w 12"/>
                <a:gd name="T1" fmla="*/ 6 h 7"/>
                <a:gd name="T2" fmla="*/ 10 w 12"/>
                <a:gd name="T3" fmla="*/ 0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1" y="7"/>
                    <a:pt x="12" y="1"/>
                    <a:pt x="10" y="0"/>
                  </a:cubicBezTo>
                  <a:cubicBezTo>
                    <a:pt x="7" y="2"/>
                    <a:pt x="0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0" name="任意多边形: 形状 2089">
              <a:extLst>
                <a:ext uri="{FF2B5EF4-FFF2-40B4-BE49-F238E27FC236}">
                  <a16:creationId xmlns:a16="http://schemas.microsoft.com/office/drawing/2014/main" id="{070C9862-4E64-4B02-8B05-C8893E777B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6014" y="-6394438"/>
              <a:ext cx="49213" cy="39688"/>
            </a:xfrm>
            <a:custGeom>
              <a:avLst/>
              <a:gdLst>
                <a:gd name="T0" fmla="*/ 12 w 15"/>
                <a:gd name="T1" fmla="*/ 0 h 12"/>
                <a:gd name="T2" fmla="*/ 1 w 15"/>
                <a:gd name="T3" fmla="*/ 10 h 12"/>
                <a:gd name="T4" fmla="*/ 12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0"/>
                  </a:moveTo>
                  <a:cubicBezTo>
                    <a:pt x="11" y="3"/>
                    <a:pt x="0" y="9"/>
                    <a:pt x="1" y="10"/>
                  </a:cubicBezTo>
                  <a:cubicBezTo>
                    <a:pt x="2" y="12"/>
                    <a:pt x="15" y="4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1" name="任意多边形: 形状 2090">
              <a:extLst>
                <a:ext uri="{FF2B5EF4-FFF2-40B4-BE49-F238E27FC236}">
                  <a16:creationId xmlns:a16="http://schemas.microsoft.com/office/drawing/2014/main" id="{91F30EC4-B82D-4E69-A6E1-F4FA8DE738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84601" y="-6081700"/>
              <a:ext cx="22225" cy="23813"/>
            </a:xfrm>
            <a:custGeom>
              <a:avLst/>
              <a:gdLst>
                <a:gd name="T0" fmla="*/ 3 w 7"/>
                <a:gd name="T1" fmla="*/ 0 h 7"/>
                <a:gd name="T2" fmla="*/ 4 w 7"/>
                <a:gd name="T3" fmla="*/ 7 h 7"/>
                <a:gd name="T4" fmla="*/ 7 w 7"/>
                <a:gd name="T5" fmla="*/ 5 h 7"/>
                <a:gd name="T6" fmla="*/ 3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1"/>
                    <a:pt x="2" y="6"/>
                    <a:pt x="4" y="7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2"/>
                    <a:pt x="4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2" name="任意多边形: 形状 2091">
              <a:extLst>
                <a:ext uri="{FF2B5EF4-FFF2-40B4-BE49-F238E27FC236}">
                  <a16:creationId xmlns:a16="http://schemas.microsoft.com/office/drawing/2014/main" id="{511401D6-0FEA-4381-87CA-6646207AA2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89339" y="-6296013"/>
              <a:ext cx="20638" cy="20638"/>
            </a:xfrm>
            <a:custGeom>
              <a:avLst/>
              <a:gdLst>
                <a:gd name="T0" fmla="*/ 0 w 6"/>
                <a:gd name="T1" fmla="*/ 2 h 6"/>
                <a:gd name="T2" fmla="*/ 6 w 6"/>
                <a:gd name="T3" fmla="*/ 5 h 6"/>
                <a:gd name="T4" fmla="*/ 4 w 6"/>
                <a:gd name="T5" fmla="*/ 0 h 6"/>
                <a:gd name="T6" fmla="*/ 0 w 6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2"/>
                  </a:moveTo>
                  <a:cubicBezTo>
                    <a:pt x="1" y="6"/>
                    <a:pt x="4" y="4"/>
                    <a:pt x="6" y="5"/>
                  </a:cubicBezTo>
                  <a:cubicBezTo>
                    <a:pt x="5" y="2"/>
                    <a:pt x="4" y="3"/>
                    <a:pt x="4" y="0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3" name="任意多边形: 形状 2092">
              <a:extLst>
                <a:ext uri="{FF2B5EF4-FFF2-40B4-BE49-F238E27FC236}">
                  <a16:creationId xmlns:a16="http://schemas.microsoft.com/office/drawing/2014/main" id="{7556A951-0170-4E44-8136-196B93031D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33776" y="-6332525"/>
              <a:ext cx="19050" cy="33338"/>
            </a:xfrm>
            <a:custGeom>
              <a:avLst/>
              <a:gdLst>
                <a:gd name="T0" fmla="*/ 1 w 6"/>
                <a:gd name="T1" fmla="*/ 10 h 10"/>
                <a:gd name="T2" fmla="*/ 0 w 6"/>
                <a:gd name="T3" fmla="*/ 5 h 10"/>
                <a:gd name="T4" fmla="*/ 2 w 6"/>
                <a:gd name="T5" fmla="*/ 7 h 10"/>
                <a:gd name="T6" fmla="*/ 1 w 6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1" y="10"/>
                  </a:moveTo>
                  <a:cubicBezTo>
                    <a:pt x="6" y="9"/>
                    <a:pt x="2" y="0"/>
                    <a:pt x="0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1" y="8"/>
                    <a:pt x="0" y="9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4" name="任意多边形: 形状 2093">
              <a:extLst>
                <a:ext uri="{FF2B5EF4-FFF2-40B4-BE49-F238E27FC236}">
                  <a16:creationId xmlns:a16="http://schemas.microsoft.com/office/drawing/2014/main" id="{6176E159-0151-4EBB-A761-11CFB393A1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79814" y="-6115037"/>
              <a:ext cx="52388" cy="33338"/>
            </a:xfrm>
            <a:custGeom>
              <a:avLst/>
              <a:gdLst>
                <a:gd name="T0" fmla="*/ 3 w 16"/>
                <a:gd name="T1" fmla="*/ 10 h 10"/>
                <a:gd name="T2" fmla="*/ 16 w 16"/>
                <a:gd name="T3" fmla="*/ 2 h 10"/>
                <a:gd name="T4" fmla="*/ 3 w 16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3" y="10"/>
                  </a:moveTo>
                  <a:cubicBezTo>
                    <a:pt x="7" y="3"/>
                    <a:pt x="12" y="8"/>
                    <a:pt x="16" y="2"/>
                  </a:cubicBezTo>
                  <a:cubicBezTo>
                    <a:pt x="14" y="0"/>
                    <a:pt x="0" y="4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5" name="任意多边形: 形状 2094">
              <a:extLst>
                <a:ext uri="{FF2B5EF4-FFF2-40B4-BE49-F238E27FC236}">
                  <a16:creationId xmlns:a16="http://schemas.microsoft.com/office/drawing/2014/main" id="{4B1B609E-3A10-413B-97EF-959E4FA951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87739" y="-6308713"/>
              <a:ext cx="25400" cy="42863"/>
            </a:xfrm>
            <a:custGeom>
              <a:avLst/>
              <a:gdLst>
                <a:gd name="T0" fmla="*/ 8 w 8"/>
                <a:gd name="T1" fmla="*/ 4 h 13"/>
                <a:gd name="T2" fmla="*/ 0 w 8"/>
                <a:gd name="T3" fmla="*/ 6 h 13"/>
                <a:gd name="T4" fmla="*/ 1 w 8"/>
                <a:gd name="T5" fmla="*/ 10 h 13"/>
                <a:gd name="T6" fmla="*/ 4 w 8"/>
                <a:gd name="T7" fmla="*/ 13 h 13"/>
                <a:gd name="T8" fmla="*/ 8 w 8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8" y="4"/>
                  </a:moveTo>
                  <a:cubicBezTo>
                    <a:pt x="5" y="10"/>
                    <a:pt x="2" y="0"/>
                    <a:pt x="0" y="6"/>
                  </a:cubicBezTo>
                  <a:cubicBezTo>
                    <a:pt x="4" y="5"/>
                    <a:pt x="0" y="8"/>
                    <a:pt x="1" y="10"/>
                  </a:cubicBezTo>
                  <a:cubicBezTo>
                    <a:pt x="4" y="7"/>
                    <a:pt x="4" y="11"/>
                    <a:pt x="4" y="13"/>
                  </a:cubicBezTo>
                  <a:cubicBezTo>
                    <a:pt x="5" y="10"/>
                    <a:pt x="8" y="8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6" name="任意多边形: 形状 2095">
              <a:extLst>
                <a:ext uri="{FF2B5EF4-FFF2-40B4-BE49-F238E27FC236}">
                  <a16:creationId xmlns:a16="http://schemas.microsoft.com/office/drawing/2014/main" id="{425322AD-2CFA-4E63-9366-43666A21C9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84564" y="-6249975"/>
              <a:ext cx="52388" cy="23813"/>
            </a:xfrm>
            <a:custGeom>
              <a:avLst/>
              <a:gdLst>
                <a:gd name="T0" fmla="*/ 0 w 16"/>
                <a:gd name="T1" fmla="*/ 7 h 7"/>
                <a:gd name="T2" fmla="*/ 15 w 16"/>
                <a:gd name="T3" fmla="*/ 0 h 7"/>
                <a:gd name="T4" fmla="*/ 0 w 1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0" y="7"/>
                  </a:moveTo>
                  <a:cubicBezTo>
                    <a:pt x="4" y="5"/>
                    <a:pt x="16" y="7"/>
                    <a:pt x="15" y="0"/>
                  </a:cubicBezTo>
                  <a:cubicBezTo>
                    <a:pt x="11" y="6"/>
                    <a:pt x="5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7" name="任意多边形: 形状 2096">
              <a:extLst>
                <a:ext uri="{FF2B5EF4-FFF2-40B4-BE49-F238E27FC236}">
                  <a16:creationId xmlns:a16="http://schemas.microsoft.com/office/drawing/2014/main" id="{A6236BAC-8A38-4EED-BB7D-7AF048A4CD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27414" y="-6048362"/>
              <a:ext cx="66675" cy="61913"/>
            </a:xfrm>
            <a:custGeom>
              <a:avLst/>
              <a:gdLst>
                <a:gd name="T0" fmla="*/ 17 w 20"/>
                <a:gd name="T1" fmla="*/ 0 h 19"/>
                <a:gd name="T2" fmla="*/ 0 w 20"/>
                <a:gd name="T3" fmla="*/ 13 h 19"/>
                <a:gd name="T4" fmla="*/ 1 w 20"/>
                <a:gd name="T5" fmla="*/ 19 h 19"/>
                <a:gd name="T6" fmla="*/ 17 w 20"/>
                <a:gd name="T7" fmla="*/ 10 h 19"/>
                <a:gd name="T8" fmla="*/ 20 w 20"/>
                <a:gd name="T9" fmla="*/ 3 h 19"/>
                <a:gd name="T10" fmla="*/ 17 w 20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9">
                  <a:moveTo>
                    <a:pt x="17" y="0"/>
                  </a:moveTo>
                  <a:cubicBezTo>
                    <a:pt x="10" y="5"/>
                    <a:pt x="11" y="14"/>
                    <a:pt x="0" y="13"/>
                  </a:cubicBezTo>
                  <a:cubicBezTo>
                    <a:pt x="1" y="15"/>
                    <a:pt x="1" y="17"/>
                    <a:pt x="1" y="19"/>
                  </a:cubicBezTo>
                  <a:cubicBezTo>
                    <a:pt x="6" y="14"/>
                    <a:pt x="13" y="15"/>
                    <a:pt x="17" y="10"/>
                  </a:cubicBezTo>
                  <a:cubicBezTo>
                    <a:pt x="15" y="10"/>
                    <a:pt x="16" y="4"/>
                    <a:pt x="20" y="3"/>
                  </a:cubicBezTo>
                  <a:cubicBezTo>
                    <a:pt x="19" y="2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8" name="任意多边形: 形状 2097">
              <a:extLst>
                <a:ext uri="{FF2B5EF4-FFF2-40B4-BE49-F238E27FC236}">
                  <a16:creationId xmlns:a16="http://schemas.microsoft.com/office/drawing/2014/main" id="{91BB16CA-A3C2-4659-A26D-3E9F9D37E0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46451" y="-6203938"/>
              <a:ext cx="31750" cy="36513"/>
            </a:xfrm>
            <a:custGeom>
              <a:avLst/>
              <a:gdLst>
                <a:gd name="T0" fmla="*/ 10 w 10"/>
                <a:gd name="T1" fmla="*/ 2 h 11"/>
                <a:gd name="T2" fmla="*/ 1 w 10"/>
                <a:gd name="T3" fmla="*/ 3 h 11"/>
                <a:gd name="T4" fmla="*/ 10 w 10"/>
                <a:gd name="T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10" y="2"/>
                  </a:moveTo>
                  <a:cubicBezTo>
                    <a:pt x="6" y="0"/>
                    <a:pt x="5" y="7"/>
                    <a:pt x="1" y="3"/>
                  </a:cubicBezTo>
                  <a:cubicBezTo>
                    <a:pt x="0" y="11"/>
                    <a:pt x="8" y="6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099" name="任意多边形: 形状 2098">
              <a:extLst>
                <a:ext uri="{FF2B5EF4-FFF2-40B4-BE49-F238E27FC236}">
                  <a16:creationId xmlns:a16="http://schemas.microsoft.com/office/drawing/2014/main" id="{C8C685D6-EA61-4DC3-A23D-E3BD198A88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32176" y="-5965812"/>
              <a:ext cx="28575" cy="19050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2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9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0" name="任意多边形: 形状 2099">
              <a:extLst>
                <a:ext uri="{FF2B5EF4-FFF2-40B4-BE49-F238E27FC236}">
                  <a16:creationId xmlns:a16="http://schemas.microsoft.com/office/drawing/2014/main" id="{AFCF9601-ACCC-4B53-89AF-3F9A3C455B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06764" y="-6170600"/>
              <a:ext cx="46038" cy="23813"/>
            </a:xfrm>
            <a:custGeom>
              <a:avLst/>
              <a:gdLst>
                <a:gd name="T0" fmla="*/ 11 w 14"/>
                <a:gd name="T1" fmla="*/ 0 h 7"/>
                <a:gd name="T2" fmla="*/ 2 w 14"/>
                <a:gd name="T3" fmla="*/ 7 h 7"/>
                <a:gd name="T4" fmla="*/ 11 w 1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cubicBezTo>
                    <a:pt x="6" y="2"/>
                    <a:pt x="0" y="1"/>
                    <a:pt x="2" y="7"/>
                  </a:cubicBezTo>
                  <a:cubicBezTo>
                    <a:pt x="3" y="4"/>
                    <a:pt x="14" y="1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1" name="任意多边形: 形状 2100">
              <a:extLst>
                <a:ext uri="{FF2B5EF4-FFF2-40B4-BE49-F238E27FC236}">
                  <a16:creationId xmlns:a16="http://schemas.microsoft.com/office/drawing/2014/main" id="{1DD0477C-1B36-424A-96C0-3A07D997BA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60726" y="-6189650"/>
              <a:ext cx="71438" cy="25400"/>
            </a:xfrm>
            <a:custGeom>
              <a:avLst/>
              <a:gdLst>
                <a:gd name="T0" fmla="*/ 0 w 22"/>
                <a:gd name="T1" fmla="*/ 4 h 8"/>
                <a:gd name="T2" fmla="*/ 22 w 22"/>
                <a:gd name="T3" fmla="*/ 3 h 8"/>
                <a:gd name="T4" fmla="*/ 0 w 22"/>
                <a:gd name="T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4"/>
                  </a:moveTo>
                  <a:cubicBezTo>
                    <a:pt x="6" y="7"/>
                    <a:pt x="17" y="8"/>
                    <a:pt x="22" y="3"/>
                  </a:cubicBezTo>
                  <a:cubicBezTo>
                    <a:pt x="14" y="5"/>
                    <a:pt x="3" y="0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2" name="任意多边形: 形状 2101">
              <a:extLst>
                <a:ext uri="{FF2B5EF4-FFF2-40B4-BE49-F238E27FC236}">
                  <a16:creationId xmlns:a16="http://schemas.microsoft.com/office/drawing/2014/main" id="{5B032B3B-8B62-4CC8-A0CD-6BEAF7A26A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92489" y="-5999149"/>
              <a:ext cx="34925" cy="26988"/>
            </a:xfrm>
            <a:custGeom>
              <a:avLst/>
              <a:gdLst>
                <a:gd name="T0" fmla="*/ 8 w 11"/>
                <a:gd name="T1" fmla="*/ 1 h 8"/>
                <a:gd name="T2" fmla="*/ 0 w 11"/>
                <a:gd name="T3" fmla="*/ 2 h 8"/>
                <a:gd name="T4" fmla="*/ 3 w 11"/>
                <a:gd name="T5" fmla="*/ 6 h 8"/>
                <a:gd name="T6" fmla="*/ 8 w 11"/>
                <a:gd name="T7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8">
                  <a:moveTo>
                    <a:pt x="8" y="1"/>
                  </a:moveTo>
                  <a:cubicBezTo>
                    <a:pt x="5" y="2"/>
                    <a:pt x="4" y="2"/>
                    <a:pt x="0" y="2"/>
                  </a:cubicBezTo>
                  <a:cubicBezTo>
                    <a:pt x="1" y="4"/>
                    <a:pt x="1" y="7"/>
                    <a:pt x="3" y="6"/>
                  </a:cubicBezTo>
                  <a:cubicBezTo>
                    <a:pt x="0" y="0"/>
                    <a:pt x="11" y="8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3" name="任意多边形: 形状 2102">
              <a:extLst>
                <a:ext uri="{FF2B5EF4-FFF2-40B4-BE49-F238E27FC236}">
                  <a16:creationId xmlns:a16="http://schemas.microsoft.com/office/drawing/2014/main" id="{29173ED2-5857-48F8-8A3B-5C5576CB07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13114" y="-6134087"/>
              <a:ext cx="28575" cy="19050"/>
            </a:xfrm>
            <a:custGeom>
              <a:avLst/>
              <a:gdLst>
                <a:gd name="T0" fmla="*/ 8 w 9"/>
                <a:gd name="T1" fmla="*/ 2 h 6"/>
                <a:gd name="T2" fmla="*/ 0 w 9"/>
                <a:gd name="T3" fmla="*/ 0 h 6"/>
                <a:gd name="T4" fmla="*/ 3 w 9"/>
                <a:gd name="T5" fmla="*/ 6 h 6"/>
                <a:gd name="T6" fmla="*/ 8 w 9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3"/>
                    <a:pt x="2" y="2"/>
                    <a:pt x="3" y="6"/>
                  </a:cubicBezTo>
                  <a:cubicBezTo>
                    <a:pt x="4" y="4"/>
                    <a:pt x="9" y="5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4" name="任意多边形: 形状 2103">
              <a:extLst>
                <a:ext uri="{FF2B5EF4-FFF2-40B4-BE49-F238E27FC236}">
                  <a16:creationId xmlns:a16="http://schemas.microsoft.com/office/drawing/2014/main" id="{0FA0FD07-3C89-479F-9A27-2423A5D079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16289" y="-6091225"/>
              <a:ext cx="15875" cy="26988"/>
            </a:xfrm>
            <a:custGeom>
              <a:avLst/>
              <a:gdLst>
                <a:gd name="T0" fmla="*/ 0 w 5"/>
                <a:gd name="T1" fmla="*/ 5 h 8"/>
                <a:gd name="T2" fmla="*/ 4 w 5"/>
                <a:gd name="T3" fmla="*/ 0 h 8"/>
                <a:gd name="T4" fmla="*/ 0 w 5"/>
                <a:gd name="T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0" y="5"/>
                  </a:moveTo>
                  <a:cubicBezTo>
                    <a:pt x="3" y="8"/>
                    <a:pt x="5" y="4"/>
                    <a:pt x="4" y="0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5" name="任意多边形: 形状 2104">
              <a:extLst>
                <a:ext uri="{FF2B5EF4-FFF2-40B4-BE49-F238E27FC236}">
                  <a16:creationId xmlns:a16="http://schemas.microsoft.com/office/drawing/2014/main" id="{FF493A6A-191B-4C61-969D-DC1E570E8B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43264" y="-6100750"/>
              <a:ext cx="39688" cy="36513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2 h 11"/>
                <a:gd name="T4" fmla="*/ 0 w 12"/>
                <a:gd name="T5" fmla="*/ 8 h 11"/>
                <a:gd name="T6" fmla="*/ 12 w 12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cubicBezTo>
                    <a:pt x="7" y="2"/>
                    <a:pt x="3" y="4"/>
                    <a:pt x="0" y="2"/>
                  </a:cubicBezTo>
                  <a:cubicBezTo>
                    <a:pt x="4" y="6"/>
                    <a:pt x="1" y="5"/>
                    <a:pt x="0" y="8"/>
                  </a:cubicBezTo>
                  <a:cubicBezTo>
                    <a:pt x="4" y="11"/>
                    <a:pt x="10" y="4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6" name="任意多边形: 形状 2105">
              <a:extLst>
                <a:ext uri="{FF2B5EF4-FFF2-40B4-BE49-F238E27FC236}">
                  <a16:creationId xmlns:a16="http://schemas.microsoft.com/office/drawing/2014/main" id="{5F4EDB9A-A79A-4B17-9319-013D8C83FC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86064" y="-6899264"/>
              <a:ext cx="25400" cy="23813"/>
            </a:xfrm>
            <a:custGeom>
              <a:avLst/>
              <a:gdLst>
                <a:gd name="T0" fmla="*/ 8 w 8"/>
                <a:gd name="T1" fmla="*/ 4 h 7"/>
                <a:gd name="T2" fmla="*/ 5 w 8"/>
                <a:gd name="T3" fmla="*/ 1 h 7"/>
                <a:gd name="T4" fmla="*/ 2 w 8"/>
                <a:gd name="T5" fmla="*/ 4 h 7"/>
                <a:gd name="T6" fmla="*/ 8 w 8"/>
                <a:gd name="T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4"/>
                  </a:moveTo>
                  <a:cubicBezTo>
                    <a:pt x="7" y="3"/>
                    <a:pt x="7" y="1"/>
                    <a:pt x="5" y="1"/>
                  </a:cubicBezTo>
                  <a:cubicBezTo>
                    <a:pt x="7" y="4"/>
                    <a:pt x="0" y="0"/>
                    <a:pt x="2" y="4"/>
                  </a:cubicBezTo>
                  <a:cubicBezTo>
                    <a:pt x="4" y="4"/>
                    <a:pt x="5" y="7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7" name="任意多边形: 形状 2106">
              <a:extLst>
                <a:ext uri="{FF2B5EF4-FFF2-40B4-BE49-F238E27FC236}">
                  <a16:creationId xmlns:a16="http://schemas.microsoft.com/office/drawing/2014/main" id="{11F644D6-EEBE-48DF-88A7-5C0B731387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21026" y="-6064237"/>
              <a:ext cx="73025" cy="46038"/>
            </a:xfrm>
            <a:custGeom>
              <a:avLst/>
              <a:gdLst>
                <a:gd name="T0" fmla="*/ 3 w 22"/>
                <a:gd name="T1" fmla="*/ 8 h 14"/>
                <a:gd name="T2" fmla="*/ 0 w 22"/>
                <a:gd name="T3" fmla="*/ 5 h 14"/>
                <a:gd name="T4" fmla="*/ 17 w 22"/>
                <a:gd name="T5" fmla="*/ 0 h 14"/>
                <a:gd name="T6" fmla="*/ 3 w 22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4">
                  <a:moveTo>
                    <a:pt x="3" y="8"/>
                  </a:moveTo>
                  <a:cubicBezTo>
                    <a:pt x="2" y="7"/>
                    <a:pt x="2" y="5"/>
                    <a:pt x="0" y="5"/>
                  </a:cubicBezTo>
                  <a:cubicBezTo>
                    <a:pt x="0" y="14"/>
                    <a:pt x="22" y="6"/>
                    <a:pt x="17" y="0"/>
                  </a:cubicBezTo>
                  <a:cubicBezTo>
                    <a:pt x="15" y="6"/>
                    <a:pt x="6" y="4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8" name="任意多边形: 形状 2107">
              <a:extLst>
                <a:ext uri="{FF2B5EF4-FFF2-40B4-BE49-F238E27FC236}">
                  <a16:creationId xmlns:a16="http://schemas.microsoft.com/office/drawing/2014/main" id="{E95E37F2-6323-4DD0-B020-2B14B3A7C3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95576" y="-6908789"/>
              <a:ext cx="20638" cy="23813"/>
            </a:xfrm>
            <a:custGeom>
              <a:avLst/>
              <a:gdLst>
                <a:gd name="T0" fmla="*/ 0 w 6"/>
                <a:gd name="T1" fmla="*/ 2 h 7"/>
                <a:gd name="T2" fmla="*/ 1 w 6"/>
                <a:gd name="T3" fmla="*/ 5 h 7"/>
                <a:gd name="T4" fmla="*/ 6 w 6"/>
                <a:gd name="T5" fmla="*/ 0 h 7"/>
                <a:gd name="T6" fmla="*/ 0 w 6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5" y="7"/>
                    <a:pt x="5" y="3"/>
                    <a:pt x="6" y="0"/>
                  </a:cubicBezTo>
                  <a:cubicBezTo>
                    <a:pt x="4" y="0"/>
                    <a:pt x="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09" name="任意多边形: 形状 2108">
              <a:extLst>
                <a:ext uri="{FF2B5EF4-FFF2-40B4-BE49-F238E27FC236}">
                  <a16:creationId xmlns:a16="http://schemas.microsoft.com/office/drawing/2014/main" id="{CD9629BB-DF8C-41FD-8B50-2F23E1409A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70176" y="-6832589"/>
              <a:ext cx="39688" cy="26988"/>
            </a:xfrm>
            <a:custGeom>
              <a:avLst/>
              <a:gdLst>
                <a:gd name="T0" fmla="*/ 0 w 12"/>
                <a:gd name="T1" fmla="*/ 8 h 8"/>
                <a:gd name="T2" fmla="*/ 10 w 12"/>
                <a:gd name="T3" fmla="*/ 0 h 8"/>
                <a:gd name="T4" fmla="*/ 0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0" y="8"/>
                  </a:moveTo>
                  <a:cubicBezTo>
                    <a:pt x="4" y="6"/>
                    <a:pt x="12" y="1"/>
                    <a:pt x="10" y="0"/>
                  </a:cubicBezTo>
                  <a:cubicBezTo>
                    <a:pt x="6" y="2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0" name="任意多边形: 形状 2109">
              <a:extLst>
                <a:ext uri="{FF2B5EF4-FFF2-40B4-BE49-F238E27FC236}">
                  <a16:creationId xmlns:a16="http://schemas.microsoft.com/office/drawing/2014/main" id="{A2275A1A-B8AB-4D64-8ABB-0F19DE7EE2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93976" y="-6856402"/>
              <a:ext cx="15875" cy="30163"/>
            </a:xfrm>
            <a:custGeom>
              <a:avLst/>
              <a:gdLst>
                <a:gd name="T0" fmla="*/ 0 w 5"/>
                <a:gd name="T1" fmla="*/ 9 h 9"/>
                <a:gd name="T2" fmla="*/ 5 w 5"/>
                <a:gd name="T3" fmla="*/ 0 h 9"/>
                <a:gd name="T4" fmla="*/ 0 w 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cubicBezTo>
                    <a:pt x="5" y="8"/>
                    <a:pt x="5" y="4"/>
                    <a:pt x="5" y="0"/>
                  </a:cubicBezTo>
                  <a:cubicBezTo>
                    <a:pt x="1" y="2"/>
                    <a:pt x="1" y="6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4" name="任意多边形: 形状 2113">
              <a:extLst>
                <a:ext uri="{FF2B5EF4-FFF2-40B4-BE49-F238E27FC236}">
                  <a16:creationId xmlns:a16="http://schemas.microsoft.com/office/drawing/2014/main" id="{8E23CE35-8694-431C-AE52-93247E6D59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79739" y="-5946762"/>
              <a:ext cx="26988" cy="14288"/>
            </a:xfrm>
            <a:custGeom>
              <a:avLst/>
              <a:gdLst>
                <a:gd name="T0" fmla="*/ 0 w 8"/>
                <a:gd name="T1" fmla="*/ 4 h 4"/>
                <a:gd name="T2" fmla="*/ 7 w 8"/>
                <a:gd name="T3" fmla="*/ 0 h 4"/>
                <a:gd name="T4" fmla="*/ 0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0" y="4"/>
                  </a:moveTo>
                  <a:cubicBezTo>
                    <a:pt x="2" y="3"/>
                    <a:pt x="8" y="3"/>
                    <a:pt x="7" y="0"/>
                  </a:cubicBezTo>
                  <a:cubicBezTo>
                    <a:pt x="3" y="0"/>
                    <a:pt x="0" y="1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5" name="任意多边形: 形状 2114">
              <a:extLst>
                <a:ext uri="{FF2B5EF4-FFF2-40B4-BE49-F238E27FC236}">
                  <a16:creationId xmlns:a16="http://schemas.microsoft.com/office/drawing/2014/main" id="{2F6567A6-152D-484D-8762-8DECF7FDB5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54289" y="-6808777"/>
              <a:ext cx="23813" cy="22225"/>
            </a:xfrm>
            <a:custGeom>
              <a:avLst/>
              <a:gdLst>
                <a:gd name="T0" fmla="*/ 0 w 7"/>
                <a:gd name="T1" fmla="*/ 5 h 7"/>
                <a:gd name="T2" fmla="*/ 2 w 7"/>
                <a:gd name="T3" fmla="*/ 6 h 7"/>
                <a:gd name="T4" fmla="*/ 3 w 7"/>
                <a:gd name="T5" fmla="*/ 7 h 7"/>
                <a:gd name="T6" fmla="*/ 6 w 7"/>
                <a:gd name="T7" fmla="*/ 1 h 7"/>
                <a:gd name="T8" fmla="*/ 0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5"/>
                  </a:moveTo>
                  <a:cubicBezTo>
                    <a:pt x="1" y="5"/>
                    <a:pt x="2" y="5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4"/>
                    <a:pt x="7" y="4"/>
                    <a:pt x="6" y="1"/>
                  </a:cubicBezTo>
                  <a:cubicBezTo>
                    <a:pt x="3" y="0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6" name="任意多边形: 形状 2115">
              <a:extLst>
                <a:ext uri="{FF2B5EF4-FFF2-40B4-BE49-F238E27FC236}">
                  <a16:creationId xmlns:a16="http://schemas.microsoft.com/office/drawing/2014/main" id="{DCEC6B45-C2C8-4235-B165-06DD3FE572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38439" y="-5818174"/>
              <a:ext cx="20638" cy="23813"/>
            </a:xfrm>
            <a:custGeom>
              <a:avLst/>
              <a:gdLst>
                <a:gd name="T0" fmla="*/ 1 w 6"/>
                <a:gd name="T1" fmla="*/ 7 h 7"/>
                <a:gd name="T2" fmla="*/ 5 w 6"/>
                <a:gd name="T3" fmla="*/ 0 h 7"/>
                <a:gd name="T4" fmla="*/ 1 w 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1" y="7"/>
                  </a:moveTo>
                  <a:cubicBezTo>
                    <a:pt x="5" y="6"/>
                    <a:pt x="6" y="3"/>
                    <a:pt x="5" y="0"/>
                  </a:cubicBezTo>
                  <a:cubicBezTo>
                    <a:pt x="4" y="2"/>
                    <a:pt x="0" y="4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7" name="任意多边形: 形状 2116">
              <a:extLst>
                <a:ext uri="{FF2B5EF4-FFF2-40B4-BE49-F238E27FC236}">
                  <a16:creationId xmlns:a16="http://schemas.microsoft.com/office/drawing/2014/main" id="{CA3D2A95-79CA-4B5B-AF6D-5117C993FE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99888" y="-6697651"/>
              <a:ext cx="28575" cy="42863"/>
            </a:xfrm>
            <a:custGeom>
              <a:avLst/>
              <a:gdLst>
                <a:gd name="T0" fmla="*/ 9 w 9"/>
                <a:gd name="T1" fmla="*/ 7 h 13"/>
                <a:gd name="T2" fmla="*/ 1 w 9"/>
                <a:gd name="T3" fmla="*/ 13 h 13"/>
                <a:gd name="T4" fmla="*/ 9 w 9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9" y="7"/>
                  </a:moveTo>
                  <a:cubicBezTo>
                    <a:pt x="5" y="0"/>
                    <a:pt x="0" y="9"/>
                    <a:pt x="1" y="13"/>
                  </a:cubicBezTo>
                  <a:cubicBezTo>
                    <a:pt x="5" y="10"/>
                    <a:pt x="4" y="7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8" name="任意多边形: 形状 2117">
              <a:extLst>
                <a:ext uri="{FF2B5EF4-FFF2-40B4-BE49-F238E27FC236}">
                  <a16:creationId xmlns:a16="http://schemas.microsoft.com/office/drawing/2014/main" id="{D59D5E0D-6FFD-4CAB-A850-B28F7512D9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01601" y="-4938697"/>
              <a:ext cx="30163" cy="30163"/>
            </a:xfrm>
            <a:custGeom>
              <a:avLst/>
              <a:gdLst>
                <a:gd name="T0" fmla="*/ 9 w 9"/>
                <a:gd name="T1" fmla="*/ 4 h 9"/>
                <a:gd name="T2" fmla="*/ 7 w 9"/>
                <a:gd name="T3" fmla="*/ 0 h 9"/>
                <a:gd name="T4" fmla="*/ 0 w 9"/>
                <a:gd name="T5" fmla="*/ 9 h 9"/>
                <a:gd name="T6" fmla="*/ 9 w 9"/>
                <a:gd name="T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3"/>
                    <a:pt x="3" y="6"/>
                    <a:pt x="0" y="9"/>
                  </a:cubicBezTo>
                  <a:cubicBezTo>
                    <a:pt x="3" y="7"/>
                    <a:pt x="8" y="8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19" name="任意多边形: 形状 2118">
              <a:extLst>
                <a:ext uri="{FF2B5EF4-FFF2-40B4-BE49-F238E27FC236}">
                  <a16:creationId xmlns:a16="http://schemas.microsoft.com/office/drawing/2014/main" id="{207C0C69-002D-40AD-9365-49EFABFF96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88851" y="-4914884"/>
              <a:ext cx="73025" cy="71438"/>
            </a:xfrm>
            <a:custGeom>
              <a:avLst/>
              <a:gdLst>
                <a:gd name="T0" fmla="*/ 8 w 22"/>
                <a:gd name="T1" fmla="*/ 16 h 22"/>
                <a:gd name="T2" fmla="*/ 3 w 22"/>
                <a:gd name="T3" fmla="*/ 22 h 22"/>
                <a:gd name="T4" fmla="*/ 12 w 22"/>
                <a:gd name="T5" fmla="*/ 19 h 22"/>
                <a:gd name="T6" fmla="*/ 18 w 22"/>
                <a:gd name="T7" fmla="*/ 7 h 22"/>
                <a:gd name="T8" fmla="*/ 10 w 22"/>
                <a:gd name="T9" fmla="*/ 9 h 22"/>
                <a:gd name="T10" fmla="*/ 18 w 22"/>
                <a:gd name="T11" fmla="*/ 0 h 22"/>
                <a:gd name="T12" fmla="*/ 2 w 22"/>
                <a:gd name="T13" fmla="*/ 8 h 22"/>
                <a:gd name="T14" fmla="*/ 8 w 22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8" y="16"/>
                  </a:moveTo>
                  <a:cubicBezTo>
                    <a:pt x="6" y="18"/>
                    <a:pt x="0" y="19"/>
                    <a:pt x="3" y="22"/>
                  </a:cubicBezTo>
                  <a:cubicBezTo>
                    <a:pt x="6" y="20"/>
                    <a:pt x="9" y="19"/>
                    <a:pt x="12" y="19"/>
                  </a:cubicBezTo>
                  <a:cubicBezTo>
                    <a:pt x="6" y="9"/>
                    <a:pt x="22" y="17"/>
                    <a:pt x="18" y="7"/>
                  </a:cubicBezTo>
                  <a:cubicBezTo>
                    <a:pt x="17" y="9"/>
                    <a:pt x="13" y="14"/>
                    <a:pt x="10" y="9"/>
                  </a:cubicBezTo>
                  <a:cubicBezTo>
                    <a:pt x="11" y="4"/>
                    <a:pt x="22" y="6"/>
                    <a:pt x="18" y="0"/>
                  </a:cubicBezTo>
                  <a:cubicBezTo>
                    <a:pt x="12" y="5"/>
                    <a:pt x="8" y="7"/>
                    <a:pt x="2" y="8"/>
                  </a:cubicBezTo>
                  <a:cubicBezTo>
                    <a:pt x="9" y="11"/>
                    <a:pt x="2" y="14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0" name="任意多边形: 形状 2119">
              <a:extLst>
                <a:ext uri="{FF2B5EF4-FFF2-40B4-BE49-F238E27FC236}">
                  <a16:creationId xmlns:a16="http://schemas.microsoft.com/office/drawing/2014/main" id="{9D2F1845-7D04-4474-AD76-0732979CF5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50625" y="-6351575"/>
              <a:ext cx="39688" cy="36513"/>
            </a:xfrm>
            <a:custGeom>
              <a:avLst/>
              <a:gdLst>
                <a:gd name="T0" fmla="*/ 0 w 12"/>
                <a:gd name="T1" fmla="*/ 5 h 11"/>
                <a:gd name="T2" fmla="*/ 3 w 12"/>
                <a:gd name="T3" fmla="*/ 11 h 11"/>
                <a:gd name="T4" fmla="*/ 6 w 12"/>
                <a:gd name="T5" fmla="*/ 0 h 11"/>
                <a:gd name="T6" fmla="*/ 0 w 12"/>
                <a:gd name="T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0" y="5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12" y="4"/>
                    <a:pt x="2" y="6"/>
                    <a:pt x="6" y="0"/>
                  </a:cubicBezTo>
                  <a:cubicBezTo>
                    <a:pt x="1" y="0"/>
                    <a:pt x="4" y="2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1" name="任意多边形: 形状 2120">
              <a:extLst>
                <a:ext uri="{FF2B5EF4-FFF2-40B4-BE49-F238E27FC236}">
                  <a16:creationId xmlns:a16="http://schemas.microsoft.com/office/drawing/2014/main" id="{8CA3964B-E2E4-4C11-83F7-000E8C76DB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1250" y="-6370625"/>
              <a:ext cx="103188" cy="114300"/>
            </a:xfrm>
            <a:custGeom>
              <a:avLst/>
              <a:gdLst>
                <a:gd name="T0" fmla="*/ 10 w 31"/>
                <a:gd name="T1" fmla="*/ 25 h 35"/>
                <a:gd name="T2" fmla="*/ 25 w 31"/>
                <a:gd name="T3" fmla="*/ 25 h 35"/>
                <a:gd name="T4" fmla="*/ 9 w 31"/>
                <a:gd name="T5" fmla="*/ 27 h 35"/>
                <a:gd name="T6" fmla="*/ 9 w 31"/>
                <a:gd name="T7" fmla="*/ 33 h 35"/>
                <a:gd name="T8" fmla="*/ 6 w 31"/>
                <a:gd name="T9" fmla="*/ 29 h 35"/>
                <a:gd name="T10" fmla="*/ 5 w 31"/>
                <a:gd name="T11" fmla="*/ 35 h 35"/>
                <a:gd name="T12" fmla="*/ 28 w 31"/>
                <a:gd name="T13" fmla="*/ 29 h 35"/>
                <a:gd name="T14" fmla="*/ 27 w 31"/>
                <a:gd name="T15" fmla="*/ 25 h 35"/>
                <a:gd name="T16" fmla="*/ 31 w 31"/>
                <a:gd name="T17" fmla="*/ 22 h 35"/>
                <a:gd name="T18" fmla="*/ 20 w 31"/>
                <a:gd name="T19" fmla="*/ 13 h 35"/>
                <a:gd name="T20" fmla="*/ 13 w 31"/>
                <a:gd name="T21" fmla="*/ 22 h 35"/>
                <a:gd name="T22" fmla="*/ 10 w 31"/>
                <a:gd name="T23" fmla="*/ 19 h 35"/>
                <a:gd name="T24" fmla="*/ 19 w 31"/>
                <a:gd name="T25" fmla="*/ 0 h 35"/>
                <a:gd name="T26" fmla="*/ 12 w 31"/>
                <a:gd name="T27" fmla="*/ 6 h 35"/>
                <a:gd name="T28" fmla="*/ 3 w 31"/>
                <a:gd name="T29" fmla="*/ 5 h 35"/>
                <a:gd name="T30" fmla="*/ 0 w 31"/>
                <a:gd name="T31" fmla="*/ 17 h 35"/>
                <a:gd name="T32" fmla="*/ 10 w 31"/>
                <a:gd name="T33" fmla="*/ 2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35">
                  <a:moveTo>
                    <a:pt x="10" y="25"/>
                  </a:moveTo>
                  <a:cubicBezTo>
                    <a:pt x="15" y="21"/>
                    <a:pt x="20" y="24"/>
                    <a:pt x="25" y="25"/>
                  </a:cubicBezTo>
                  <a:cubicBezTo>
                    <a:pt x="20" y="30"/>
                    <a:pt x="16" y="31"/>
                    <a:pt x="9" y="27"/>
                  </a:cubicBezTo>
                  <a:cubicBezTo>
                    <a:pt x="11" y="30"/>
                    <a:pt x="11" y="32"/>
                    <a:pt x="9" y="33"/>
                  </a:cubicBezTo>
                  <a:cubicBezTo>
                    <a:pt x="8" y="31"/>
                    <a:pt x="7" y="29"/>
                    <a:pt x="6" y="29"/>
                  </a:cubicBezTo>
                  <a:cubicBezTo>
                    <a:pt x="4" y="30"/>
                    <a:pt x="4" y="32"/>
                    <a:pt x="5" y="35"/>
                  </a:cubicBezTo>
                  <a:cubicBezTo>
                    <a:pt x="14" y="34"/>
                    <a:pt x="19" y="29"/>
                    <a:pt x="28" y="29"/>
                  </a:cubicBezTo>
                  <a:cubicBezTo>
                    <a:pt x="26" y="27"/>
                    <a:pt x="26" y="26"/>
                    <a:pt x="27" y="25"/>
                  </a:cubicBezTo>
                  <a:cubicBezTo>
                    <a:pt x="29" y="25"/>
                    <a:pt x="30" y="25"/>
                    <a:pt x="31" y="22"/>
                  </a:cubicBezTo>
                  <a:cubicBezTo>
                    <a:pt x="23" y="25"/>
                    <a:pt x="22" y="16"/>
                    <a:pt x="20" y="13"/>
                  </a:cubicBezTo>
                  <a:cubicBezTo>
                    <a:pt x="18" y="16"/>
                    <a:pt x="15" y="19"/>
                    <a:pt x="13" y="22"/>
                  </a:cubicBezTo>
                  <a:cubicBezTo>
                    <a:pt x="12" y="20"/>
                    <a:pt x="11" y="21"/>
                    <a:pt x="10" y="19"/>
                  </a:cubicBezTo>
                  <a:cubicBezTo>
                    <a:pt x="17" y="14"/>
                    <a:pt x="14" y="6"/>
                    <a:pt x="19" y="0"/>
                  </a:cubicBezTo>
                  <a:cubicBezTo>
                    <a:pt x="14" y="3"/>
                    <a:pt x="13" y="2"/>
                    <a:pt x="12" y="6"/>
                  </a:cubicBezTo>
                  <a:cubicBezTo>
                    <a:pt x="9" y="4"/>
                    <a:pt x="6" y="3"/>
                    <a:pt x="3" y="5"/>
                  </a:cubicBezTo>
                  <a:cubicBezTo>
                    <a:pt x="1" y="9"/>
                    <a:pt x="0" y="13"/>
                    <a:pt x="0" y="17"/>
                  </a:cubicBezTo>
                  <a:cubicBezTo>
                    <a:pt x="4" y="18"/>
                    <a:pt x="7" y="20"/>
                    <a:pt x="1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2" name="任意多边形: 形状 2121">
              <a:extLst>
                <a:ext uri="{FF2B5EF4-FFF2-40B4-BE49-F238E27FC236}">
                  <a16:creationId xmlns:a16="http://schemas.microsoft.com/office/drawing/2014/main" id="{A1697B0F-D6B7-4F2D-B3DF-1187478A25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463" y="-6262675"/>
              <a:ext cx="39688" cy="46038"/>
            </a:xfrm>
            <a:custGeom>
              <a:avLst/>
              <a:gdLst>
                <a:gd name="T0" fmla="*/ 12 w 12"/>
                <a:gd name="T1" fmla="*/ 9 h 14"/>
                <a:gd name="T2" fmla="*/ 4 w 12"/>
                <a:gd name="T3" fmla="*/ 0 h 14"/>
                <a:gd name="T4" fmla="*/ 0 w 12"/>
                <a:gd name="T5" fmla="*/ 7 h 14"/>
                <a:gd name="T6" fmla="*/ 12 w 12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4">
                  <a:moveTo>
                    <a:pt x="12" y="9"/>
                  </a:moveTo>
                  <a:cubicBezTo>
                    <a:pt x="10" y="4"/>
                    <a:pt x="6" y="6"/>
                    <a:pt x="4" y="0"/>
                  </a:cubicBezTo>
                  <a:cubicBezTo>
                    <a:pt x="2" y="2"/>
                    <a:pt x="2" y="5"/>
                    <a:pt x="0" y="7"/>
                  </a:cubicBezTo>
                  <a:cubicBezTo>
                    <a:pt x="7" y="2"/>
                    <a:pt x="5" y="14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3" name="任意多边形: 形状 2122">
              <a:extLst>
                <a:ext uri="{FF2B5EF4-FFF2-40B4-BE49-F238E27FC236}">
                  <a16:creationId xmlns:a16="http://schemas.microsoft.com/office/drawing/2014/main" id="{09C99A88-CF6C-4EB0-991C-CEDC0C6144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31688" y="-4568808"/>
              <a:ext cx="31750" cy="31750"/>
            </a:xfrm>
            <a:custGeom>
              <a:avLst/>
              <a:gdLst>
                <a:gd name="T0" fmla="*/ 7 w 10"/>
                <a:gd name="T1" fmla="*/ 10 h 10"/>
                <a:gd name="T2" fmla="*/ 10 w 10"/>
                <a:gd name="T3" fmla="*/ 6 h 10"/>
                <a:gd name="T4" fmla="*/ 6 w 10"/>
                <a:gd name="T5" fmla="*/ 0 h 10"/>
                <a:gd name="T6" fmla="*/ 7 w 10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9" y="9"/>
                    <a:pt x="8" y="7"/>
                    <a:pt x="10" y="6"/>
                  </a:cubicBezTo>
                  <a:cubicBezTo>
                    <a:pt x="7" y="3"/>
                    <a:pt x="5" y="4"/>
                    <a:pt x="6" y="0"/>
                  </a:cubicBezTo>
                  <a:cubicBezTo>
                    <a:pt x="0" y="1"/>
                    <a:pt x="7" y="7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4" name="任意多边形: 形状 2123">
              <a:extLst>
                <a:ext uri="{FF2B5EF4-FFF2-40B4-BE49-F238E27FC236}">
                  <a16:creationId xmlns:a16="http://schemas.microsoft.com/office/drawing/2014/main" id="{BF54E3EF-CD42-4706-A9AD-59DA389177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30113" y="-4351320"/>
              <a:ext cx="19050" cy="25400"/>
            </a:xfrm>
            <a:custGeom>
              <a:avLst/>
              <a:gdLst>
                <a:gd name="T0" fmla="*/ 0 w 6"/>
                <a:gd name="T1" fmla="*/ 2 h 8"/>
                <a:gd name="T2" fmla="*/ 6 w 6"/>
                <a:gd name="T3" fmla="*/ 2 h 8"/>
                <a:gd name="T4" fmla="*/ 0 w 6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0" y="2"/>
                  </a:moveTo>
                  <a:cubicBezTo>
                    <a:pt x="3" y="8"/>
                    <a:pt x="6" y="5"/>
                    <a:pt x="6" y="2"/>
                  </a:cubicBezTo>
                  <a:cubicBezTo>
                    <a:pt x="4" y="4"/>
                    <a:pt x="3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5" name="任意多边形: 形状 2124">
              <a:extLst>
                <a:ext uri="{FF2B5EF4-FFF2-40B4-BE49-F238E27FC236}">
                  <a16:creationId xmlns:a16="http://schemas.microsoft.com/office/drawing/2014/main" id="{E64628C5-2A03-499F-9FA4-8CAF5E8A47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44388" y="-4216382"/>
              <a:ext cx="69850" cy="52388"/>
            </a:xfrm>
            <a:custGeom>
              <a:avLst/>
              <a:gdLst>
                <a:gd name="T0" fmla="*/ 10 w 21"/>
                <a:gd name="T1" fmla="*/ 6 h 16"/>
                <a:gd name="T2" fmla="*/ 0 w 21"/>
                <a:gd name="T3" fmla="*/ 9 h 16"/>
                <a:gd name="T4" fmla="*/ 11 w 21"/>
                <a:gd name="T5" fmla="*/ 16 h 16"/>
                <a:gd name="T6" fmla="*/ 9 w 21"/>
                <a:gd name="T7" fmla="*/ 7 h 16"/>
                <a:gd name="T8" fmla="*/ 18 w 21"/>
                <a:gd name="T9" fmla="*/ 0 h 16"/>
                <a:gd name="T10" fmla="*/ 10 w 21"/>
                <a:gd name="T1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6">
                  <a:moveTo>
                    <a:pt x="10" y="6"/>
                  </a:moveTo>
                  <a:cubicBezTo>
                    <a:pt x="10" y="1"/>
                    <a:pt x="0" y="6"/>
                    <a:pt x="0" y="9"/>
                  </a:cubicBezTo>
                  <a:cubicBezTo>
                    <a:pt x="3" y="11"/>
                    <a:pt x="7" y="15"/>
                    <a:pt x="11" y="16"/>
                  </a:cubicBezTo>
                  <a:cubicBezTo>
                    <a:pt x="10" y="13"/>
                    <a:pt x="7" y="9"/>
                    <a:pt x="9" y="7"/>
                  </a:cubicBezTo>
                  <a:cubicBezTo>
                    <a:pt x="11" y="8"/>
                    <a:pt x="21" y="4"/>
                    <a:pt x="18" y="0"/>
                  </a:cubicBezTo>
                  <a:cubicBezTo>
                    <a:pt x="14" y="1"/>
                    <a:pt x="12" y="3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6" name="任意多边形: 形状 2125">
              <a:extLst>
                <a:ext uri="{FF2B5EF4-FFF2-40B4-BE49-F238E27FC236}">
                  <a16:creationId xmlns:a16="http://schemas.microsoft.com/office/drawing/2014/main" id="{7CBD8FFF-1FA6-4ED4-9998-1B76B474CB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80863" y="-4575158"/>
              <a:ext cx="30163" cy="15875"/>
            </a:xfrm>
            <a:custGeom>
              <a:avLst/>
              <a:gdLst>
                <a:gd name="T0" fmla="*/ 0 w 9"/>
                <a:gd name="T1" fmla="*/ 4 h 5"/>
                <a:gd name="T2" fmla="*/ 8 w 9"/>
                <a:gd name="T3" fmla="*/ 0 h 5"/>
                <a:gd name="T4" fmla="*/ 0 w 9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0" y="4"/>
                  </a:moveTo>
                  <a:cubicBezTo>
                    <a:pt x="2" y="5"/>
                    <a:pt x="9" y="4"/>
                    <a:pt x="8" y="0"/>
                  </a:cubicBezTo>
                  <a:cubicBezTo>
                    <a:pt x="6" y="2"/>
                    <a:pt x="0" y="0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7" name="任意多边形: 形状 2126">
              <a:extLst>
                <a:ext uri="{FF2B5EF4-FFF2-40B4-BE49-F238E27FC236}">
                  <a16:creationId xmlns:a16="http://schemas.microsoft.com/office/drawing/2014/main" id="{877B0CA1-C4FC-4535-B848-E3E607DE742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5288" y="-4611671"/>
              <a:ext cx="30163" cy="31750"/>
            </a:xfrm>
            <a:custGeom>
              <a:avLst/>
              <a:gdLst>
                <a:gd name="T0" fmla="*/ 3 w 9"/>
                <a:gd name="T1" fmla="*/ 10 h 10"/>
                <a:gd name="T2" fmla="*/ 9 w 9"/>
                <a:gd name="T3" fmla="*/ 0 h 10"/>
                <a:gd name="T4" fmla="*/ 3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10"/>
                  </a:moveTo>
                  <a:cubicBezTo>
                    <a:pt x="6" y="7"/>
                    <a:pt x="7" y="3"/>
                    <a:pt x="9" y="0"/>
                  </a:cubicBezTo>
                  <a:cubicBezTo>
                    <a:pt x="5" y="1"/>
                    <a:pt x="0" y="4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8" name="任意多边形: 形状 2127">
              <a:extLst>
                <a:ext uri="{FF2B5EF4-FFF2-40B4-BE49-F238E27FC236}">
                  <a16:creationId xmlns:a16="http://schemas.microsoft.com/office/drawing/2014/main" id="{00C6BFBC-B77E-4F66-8C9C-97F3FCD4C2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88738" y="-5099035"/>
              <a:ext cx="30163" cy="25400"/>
            </a:xfrm>
            <a:custGeom>
              <a:avLst/>
              <a:gdLst>
                <a:gd name="T0" fmla="*/ 9 w 9"/>
                <a:gd name="T1" fmla="*/ 4 h 8"/>
                <a:gd name="T2" fmla="*/ 7 w 9"/>
                <a:gd name="T3" fmla="*/ 0 h 8"/>
                <a:gd name="T4" fmla="*/ 3 w 9"/>
                <a:gd name="T5" fmla="*/ 6 h 8"/>
                <a:gd name="T6" fmla="*/ 9 w 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0" y="3"/>
                    <a:pt x="3" y="6"/>
                  </a:cubicBezTo>
                  <a:cubicBezTo>
                    <a:pt x="4" y="8"/>
                    <a:pt x="7" y="4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29" name="任意多边形: 形状 2128">
              <a:extLst>
                <a:ext uri="{FF2B5EF4-FFF2-40B4-BE49-F238E27FC236}">
                  <a16:creationId xmlns:a16="http://schemas.microsoft.com/office/drawing/2014/main" id="{68176632-EE14-4DD1-B677-A28F94977F6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5875" y="-5119672"/>
              <a:ext cx="30163" cy="30163"/>
            </a:xfrm>
            <a:custGeom>
              <a:avLst/>
              <a:gdLst>
                <a:gd name="T0" fmla="*/ 6 w 9"/>
                <a:gd name="T1" fmla="*/ 9 h 9"/>
                <a:gd name="T2" fmla="*/ 8 w 9"/>
                <a:gd name="T3" fmla="*/ 1 h 9"/>
                <a:gd name="T4" fmla="*/ 0 w 9"/>
                <a:gd name="T5" fmla="*/ 3 h 9"/>
                <a:gd name="T6" fmla="*/ 6 w 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8" y="7"/>
                    <a:pt x="9" y="4"/>
                    <a:pt x="8" y="1"/>
                  </a:cubicBezTo>
                  <a:cubicBezTo>
                    <a:pt x="5" y="5"/>
                    <a:pt x="3" y="0"/>
                    <a:pt x="0" y="3"/>
                  </a:cubicBezTo>
                  <a:cubicBezTo>
                    <a:pt x="0" y="7"/>
                    <a:pt x="4" y="5"/>
                    <a:pt x="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0" name="任意多边形: 形状 2129">
              <a:extLst>
                <a:ext uri="{FF2B5EF4-FFF2-40B4-BE49-F238E27FC236}">
                  <a16:creationId xmlns:a16="http://schemas.microsoft.com/office/drawing/2014/main" id="{BB2C5EBB-E277-4862-8743-990213E1C46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5150" y="-6081700"/>
              <a:ext cx="38100" cy="33338"/>
            </a:xfrm>
            <a:custGeom>
              <a:avLst/>
              <a:gdLst>
                <a:gd name="T0" fmla="*/ 4 w 12"/>
                <a:gd name="T1" fmla="*/ 8 h 10"/>
                <a:gd name="T2" fmla="*/ 1 w 12"/>
                <a:gd name="T3" fmla="*/ 10 h 10"/>
                <a:gd name="T4" fmla="*/ 12 w 12"/>
                <a:gd name="T5" fmla="*/ 3 h 10"/>
                <a:gd name="T6" fmla="*/ 5 w 12"/>
                <a:gd name="T7" fmla="*/ 2 h 10"/>
                <a:gd name="T8" fmla="*/ 4 w 12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4" y="8"/>
                  </a:moveTo>
                  <a:cubicBezTo>
                    <a:pt x="3" y="7"/>
                    <a:pt x="0" y="8"/>
                    <a:pt x="1" y="10"/>
                  </a:cubicBezTo>
                  <a:cubicBezTo>
                    <a:pt x="8" y="10"/>
                    <a:pt x="7" y="7"/>
                    <a:pt x="12" y="3"/>
                  </a:cubicBezTo>
                  <a:cubicBezTo>
                    <a:pt x="10" y="1"/>
                    <a:pt x="8" y="0"/>
                    <a:pt x="5" y="2"/>
                  </a:cubicBezTo>
                  <a:cubicBezTo>
                    <a:pt x="7" y="4"/>
                    <a:pt x="5" y="6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1" name="任意多边形: 形状 2130">
              <a:extLst>
                <a:ext uri="{FF2B5EF4-FFF2-40B4-BE49-F238E27FC236}">
                  <a16:creationId xmlns:a16="http://schemas.microsoft.com/office/drawing/2014/main" id="{1C1F0F5A-5168-43D7-A7CF-85B790EDCE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8950" y="-6103925"/>
              <a:ext cx="95250" cy="52388"/>
            </a:xfrm>
            <a:custGeom>
              <a:avLst/>
              <a:gdLst>
                <a:gd name="T0" fmla="*/ 29 w 29"/>
                <a:gd name="T1" fmla="*/ 6 h 16"/>
                <a:gd name="T2" fmla="*/ 0 w 29"/>
                <a:gd name="T3" fmla="*/ 11 h 16"/>
                <a:gd name="T4" fmla="*/ 29 w 29"/>
                <a:gd name="T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6">
                  <a:moveTo>
                    <a:pt x="29" y="6"/>
                  </a:moveTo>
                  <a:cubicBezTo>
                    <a:pt x="22" y="0"/>
                    <a:pt x="6" y="10"/>
                    <a:pt x="0" y="11"/>
                  </a:cubicBezTo>
                  <a:cubicBezTo>
                    <a:pt x="10" y="16"/>
                    <a:pt x="19" y="5"/>
                    <a:pt x="2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2" name="任意多边形: 形状 2131">
              <a:extLst>
                <a:ext uri="{FF2B5EF4-FFF2-40B4-BE49-F238E27FC236}">
                  <a16:creationId xmlns:a16="http://schemas.microsoft.com/office/drawing/2014/main" id="{0A8D4234-B672-47A9-A42C-18A3866F9C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34775" y="-4737084"/>
              <a:ext cx="30163" cy="19050"/>
            </a:xfrm>
            <a:custGeom>
              <a:avLst/>
              <a:gdLst>
                <a:gd name="T0" fmla="*/ 9 w 9"/>
                <a:gd name="T1" fmla="*/ 0 h 6"/>
                <a:gd name="T2" fmla="*/ 0 w 9"/>
                <a:gd name="T3" fmla="*/ 2 h 6"/>
                <a:gd name="T4" fmla="*/ 9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9" y="0"/>
                  </a:moveTo>
                  <a:cubicBezTo>
                    <a:pt x="6" y="1"/>
                    <a:pt x="3" y="0"/>
                    <a:pt x="0" y="2"/>
                  </a:cubicBezTo>
                  <a:cubicBezTo>
                    <a:pt x="3" y="6"/>
                    <a:pt x="7" y="2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3" name="任意多边形: 形状 2132">
              <a:extLst>
                <a:ext uri="{FF2B5EF4-FFF2-40B4-BE49-F238E27FC236}">
                  <a16:creationId xmlns:a16="http://schemas.microsoft.com/office/drawing/2014/main" id="{63A60614-5EF5-41A0-86A7-9F118D078B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8238" y="-4846621"/>
              <a:ext cx="119063" cy="46038"/>
            </a:xfrm>
            <a:custGeom>
              <a:avLst/>
              <a:gdLst>
                <a:gd name="T0" fmla="*/ 36 w 36"/>
                <a:gd name="T1" fmla="*/ 0 h 14"/>
                <a:gd name="T2" fmla="*/ 0 w 36"/>
                <a:gd name="T3" fmla="*/ 7 h 14"/>
                <a:gd name="T4" fmla="*/ 36 w 3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4">
                  <a:moveTo>
                    <a:pt x="36" y="0"/>
                  </a:moveTo>
                  <a:cubicBezTo>
                    <a:pt x="24" y="8"/>
                    <a:pt x="9" y="4"/>
                    <a:pt x="0" y="7"/>
                  </a:cubicBezTo>
                  <a:cubicBezTo>
                    <a:pt x="11" y="14"/>
                    <a:pt x="31" y="11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4" name="任意多边形: 形状 2133">
              <a:extLst>
                <a:ext uri="{FF2B5EF4-FFF2-40B4-BE49-F238E27FC236}">
                  <a16:creationId xmlns:a16="http://schemas.microsoft.com/office/drawing/2014/main" id="{ED648073-9707-45E5-9604-8A9461DB340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49013" y="-4905359"/>
              <a:ext cx="57150" cy="46038"/>
            </a:xfrm>
            <a:custGeom>
              <a:avLst/>
              <a:gdLst>
                <a:gd name="T0" fmla="*/ 1 w 17"/>
                <a:gd name="T1" fmla="*/ 2 h 14"/>
                <a:gd name="T2" fmla="*/ 3 w 17"/>
                <a:gd name="T3" fmla="*/ 9 h 14"/>
                <a:gd name="T4" fmla="*/ 13 w 17"/>
                <a:gd name="T5" fmla="*/ 9 h 14"/>
                <a:gd name="T6" fmla="*/ 7 w 17"/>
                <a:gd name="T7" fmla="*/ 8 h 14"/>
                <a:gd name="T8" fmla="*/ 15 w 17"/>
                <a:gd name="T9" fmla="*/ 2 h 14"/>
                <a:gd name="T10" fmla="*/ 1 w 17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4">
                  <a:moveTo>
                    <a:pt x="1" y="2"/>
                  </a:moveTo>
                  <a:cubicBezTo>
                    <a:pt x="4" y="5"/>
                    <a:pt x="0" y="6"/>
                    <a:pt x="3" y="9"/>
                  </a:cubicBezTo>
                  <a:cubicBezTo>
                    <a:pt x="5" y="10"/>
                    <a:pt x="12" y="14"/>
                    <a:pt x="13" y="9"/>
                  </a:cubicBezTo>
                  <a:cubicBezTo>
                    <a:pt x="11" y="11"/>
                    <a:pt x="9" y="10"/>
                    <a:pt x="7" y="8"/>
                  </a:cubicBezTo>
                  <a:cubicBezTo>
                    <a:pt x="10" y="4"/>
                    <a:pt x="17" y="7"/>
                    <a:pt x="15" y="2"/>
                  </a:cubicBezTo>
                  <a:cubicBezTo>
                    <a:pt x="10" y="2"/>
                    <a:pt x="6" y="0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5" name="任意多边形: 形状 2134">
              <a:extLst>
                <a:ext uri="{FF2B5EF4-FFF2-40B4-BE49-F238E27FC236}">
                  <a16:creationId xmlns:a16="http://schemas.microsoft.com/office/drawing/2014/main" id="{BBA3CBFF-6764-44B0-9FDF-B237210D2A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3538" y="-5619736"/>
              <a:ext cx="58738" cy="25400"/>
            </a:xfrm>
            <a:custGeom>
              <a:avLst/>
              <a:gdLst>
                <a:gd name="T0" fmla="*/ 18 w 18"/>
                <a:gd name="T1" fmla="*/ 0 h 8"/>
                <a:gd name="T2" fmla="*/ 0 w 18"/>
                <a:gd name="T3" fmla="*/ 8 h 8"/>
                <a:gd name="T4" fmla="*/ 18 w 18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8">
                  <a:moveTo>
                    <a:pt x="18" y="0"/>
                  </a:moveTo>
                  <a:cubicBezTo>
                    <a:pt x="12" y="5"/>
                    <a:pt x="3" y="2"/>
                    <a:pt x="0" y="8"/>
                  </a:cubicBezTo>
                  <a:cubicBezTo>
                    <a:pt x="6" y="6"/>
                    <a:pt x="15" y="7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6" name="任意多边形: 形状 2135">
              <a:extLst>
                <a:ext uri="{FF2B5EF4-FFF2-40B4-BE49-F238E27FC236}">
                  <a16:creationId xmlns:a16="http://schemas.microsoft.com/office/drawing/2014/main" id="{84647781-430B-411D-9745-9053EAD279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37775" y="-5238735"/>
              <a:ext cx="33338" cy="23813"/>
            </a:xfrm>
            <a:custGeom>
              <a:avLst/>
              <a:gdLst>
                <a:gd name="T0" fmla="*/ 0 w 10"/>
                <a:gd name="T1" fmla="*/ 2 h 7"/>
                <a:gd name="T2" fmla="*/ 10 w 10"/>
                <a:gd name="T3" fmla="*/ 6 h 7"/>
                <a:gd name="T4" fmla="*/ 9 w 10"/>
                <a:gd name="T5" fmla="*/ 1 h 7"/>
                <a:gd name="T6" fmla="*/ 0 w 10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2"/>
                  </a:moveTo>
                  <a:cubicBezTo>
                    <a:pt x="1" y="7"/>
                    <a:pt x="6" y="6"/>
                    <a:pt x="10" y="6"/>
                  </a:cubicBezTo>
                  <a:cubicBezTo>
                    <a:pt x="9" y="4"/>
                    <a:pt x="10" y="3"/>
                    <a:pt x="9" y="1"/>
                  </a:cubicBezTo>
                  <a:cubicBezTo>
                    <a:pt x="6" y="1"/>
                    <a:pt x="3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7" name="任意多边形: 形状 2136">
              <a:extLst>
                <a:ext uri="{FF2B5EF4-FFF2-40B4-BE49-F238E27FC236}">
                  <a16:creationId xmlns:a16="http://schemas.microsoft.com/office/drawing/2014/main" id="{EEFAD573-F48E-4443-9F23-39118E3A00E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35764" y="-8894757"/>
              <a:ext cx="55563" cy="33338"/>
            </a:xfrm>
            <a:custGeom>
              <a:avLst/>
              <a:gdLst>
                <a:gd name="T0" fmla="*/ 13 w 17"/>
                <a:gd name="T1" fmla="*/ 2 h 10"/>
                <a:gd name="T2" fmla="*/ 8 w 17"/>
                <a:gd name="T3" fmla="*/ 5 h 10"/>
                <a:gd name="T4" fmla="*/ 6 w 17"/>
                <a:gd name="T5" fmla="*/ 0 h 10"/>
                <a:gd name="T6" fmla="*/ 14 w 17"/>
                <a:gd name="T7" fmla="*/ 10 h 10"/>
                <a:gd name="T8" fmla="*/ 16 w 17"/>
                <a:gd name="T9" fmla="*/ 5 h 10"/>
                <a:gd name="T10" fmla="*/ 13 w 17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0">
                  <a:moveTo>
                    <a:pt x="13" y="2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0" y="6"/>
                    <a:pt x="12" y="5"/>
                    <a:pt x="14" y="10"/>
                  </a:cubicBezTo>
                  <a:cubicBezTo>
                    <a:pt x="17" y="9"/>
                    <a:pt x="15" y="7"/>
                    <a:pt x="16" y="5"/>
                  </a:cubicBezTo>
                  <a:cubicBezTo>
                    <a:pt x="15" y="5"/>
                    <a:pt x="14" y="4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8" name="任意多边形: 形状 2137">
              <a:extLst>
                <a:ext uri="{FF2B5EF4-FFF2-40B4-BE49-F238E27FC236}">
                  <a16:creationId xmlns:a16="http://schemas.microsoft.com/office/drawing/2014/main" id="{078E3F47-46A0-4A55-8CB7-06C84A280E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40427" y="-8864595"/>
              <a:ext cx="58738" cy="31750"/>
            </a:xfrm>
            <a:custGeom>
              <a:avLst/>
              <a:gdLst>
                <a:gd name="T0" fmla="*/ 18 w 18"/>
                <a:gd name="T1" fmla="*/ 0 h 10"/>
                <a:gd name="T2" fmla="*/ 0 w 18"/>
                <a:gd name="T3" fmla="*/ 7 h 10"/>
                <a:gd name="T4" fmla="*/ 18 w 18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1" y="3"/>
                    <a:pt x="4" y="6"/>
                    <a:pt x="0" y="7"/>
                  </a:cubicBezTo>
                  <a:cubicBezTo>
                    <a:pt x="5" y="10"/>
                    <a:pt x="15" y="6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39" name="任意多边形: 形状 2138">
              <a:extLst>
                <a:ext uri="{FF2B5EF4-FFF2-40B4-BE49-F238E27FC236}">
                  <a16:creationId xmlns:a16="http://schemas.microsoft.com/office/drawing/2014/main" id="{7F0BAFA2-DA7E-4478-8F5C-E5DA56CAC9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48352" y="-8707432"/>
              <a:ext cx="65088" cy="46038"/>
            </a:xfrm>
            <a:custGeom>
              <a:avLst/>
              <a:gdLst>
                <a:gd name="T0" fmla="*/ 13 w 20"/>
                <a:gd name="T1" fmla="*/ 0 h 14"/>
                <a:gd name="T2" fmla="*/ 6 w 20"/>
                <a:gd name="T3" fmla="*/ 1 h 14"/>
                <a:gd name="T4" fmla="*/ 5 w 20"/>
                <a:gd name="T5" fmla="*/ 6 h 14"/>
                <a:gd name="T6" fmla="*/ 10 w 20"/>
                <a:gd name="T7" fmla="*/ 4 h 14"/>
                <a:gd name="T8" fmla="*/ 14 w 20"/>
                <a:gd name="T9" fmla="*/ 14 h 14"/>
                <a:gd name="T10" fmla="*/ 20 w 20"/>
                <a:gd name="T11" fmla="*/ 5 h 14"/>
                <a:gd name="T12" fmla="*/ 13 w 20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4">
                  <a:moveTo>
                    <a:pt x="13" y="0"/>
                  </a:moveTo>
                  <a:cubicBezTo>
                    <a:pt x="10" y="2"/>
                    <a:pt x="8" y="0"/>
                    <a:pt x="6" y="1"/>
                  </a:cubicBezTo>
                  <a:cubicBezTo>
                    <a:pt x="8" y="3"/>
                    <a:pt x="0" y="6"/>
                    <a:pt x="5" y="6"/>
                  </a:cubicBezTo>
                  <a:cubicBezTo>
                    <a:pt x="7" y="4"/>
                    <a:pt x="7" y="1"/>
                    <a:pt x="10" y="4"/>
                  </a:cubicBezTo>
                  <a:cubicBezTo>
                    <a:pt x="5" y="7"/>
                    <a:pt x="12" y="9"/>
                    <a:pt x="14" y="14"/>
                  </a:cubicBezTo>
                  <a:cubicBezTo>
                    <a:pt x="15" y="11"/>
                    <a:pt x="18" y="8"/>
                    <a:pt x="20" y="5"/>
                  </a:cubicBezTo>
                  <a:cubicBezTo>
                    <a:pt x="16" y="8"/>
                    <a:pt x="14" y="3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0" name="任意多边形: 形状 2139">
              <a:extLst>
                <a:ext uri="{FF2B5EF4-FFF2-40B4-BE49-F238E27FC236}">
                  <a16:creationId xmlns:a16="http://schemas.microsoft.com/office/drawing/2014/main" id="{CF353F5F-B7B0-4E39-8AB6-2B11026988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1652" y="-8769344"/>
              <a:ext cx="36513" cy="42863"/>
            </a:xfrm>
            <a:custGeom>
              <a:avLst/>
              <a:gdLst>
                <a:gd name="T0" fmla="*/ 0 w 11"/>
                <a:gd name="T1" fmla="*/ 8 h 13"/>
                <a:gd name="T2" fmla="*/ 6 w 11"/>
                <a:gd name="T3" fmla="*/ 0 h 13"/>
                <a:gd name="T4" fmla="*/ 0 w 11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3">
                  <a:moveTo>
                    <a:pt x="0" y="8"/>
                  </a:moveTo>
                  <a:cubicBezTo>
                    <a:pt x="3" y="13"/>
                    <a:pt x="11" y="6"/>
                    <a:pt x="6" y="0"/>
                  </a:cubicBezTo>
                  <a:cubicBezTo>
                    <a:pt x="3" y="5"/>
                    <a:pt x="9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1" name="任意多边形: 形状 2140">
              <a:extLst>
                <a:ext uri="{FF2B5EF4-FFF2-40B4-BE49-F238E27FC236}">
                  <a16:creationId xmlns:a16="http://schemas.microsoft.com/office/drawing/2014/main" id="{61A5636F-E54F-452B-BBC8-807A6129DD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34039" y="-8624882"/>
              <a:ext cx="33338" cy="20638"/>
            </a:xfrm>
            <a:custGeom>
              <a:avLst/>
              <a:gdLst>
                <a:gd name="T0" fmla="*/ 9 w 10"/>
                <a:gd name="T1" fmla="*/ 1 h 6"/>
                <a:gd name="T2" fmla="*/ 2 w 10"/>
                <a:gd name="T3" fmla="*/ 6 h 6"/>
                <a:gd name="T4" fmla="*/ 9 w 10"/>
                <a:gd name="T5" fmla="*/ 5 h 6"/>
                <a:gd name="T6" fmla="*/ 9 w 10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9" y="1"/>
                  </a:moveTo>
                  <a:cubicBezTo>
                    <a:pt x="7" y="0"/>
                    <a:pt x="0" y="3"/>
                    <a:pt x="2" y="6"/>
                  </a:cubicBezTo>
                  <a:cubicBezTo>
                    <a:pt x="5" y="2"/>
                    <a:pt x="7" y="3"/>
                    <a:pt x="9" y="5"/>
                  </a:cubicBezTo>
                  <a:cubicBezTo>
                    <a:pt x="8" y="3"/>
                    <a:pt x="10" y="2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2" name="任意多边形: 形状 2141">
              <a:extLst>
                <a:ext uri="{FF2B5EF4-FFF2-40B4-BE49-F238E27FC236}">
                  <a16:creationId xmlns:a16="http://schemas.microsoft.com/office/drawing/2014/main" id="{003EC085-86E4-4FD9-BC17-3ABB181050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70214" y="-7056427"/>
              <a:ext cx="71438" cy="30163"/>
            </a:xfrm>
            <a:custGeom>
              <a:avLst/>
              <a:gdLst>
                <a:gd name="T0" fmla="*/ 0 w 22"/>
                <a:gd name="T1" fmla="*/ 9 h 9"/>
                <a:gd name="T2" fmla="*/ 22 w 22"/>
                <a:gd name="T3" fmla="*/ 4 h 9"/>
                <a:gd name="T4" fmla="*/ 21 w 22"/>
                <a:gd name="T5" fmla="*/ 0 h 9"/>
                <a:gd name="T6" fmla="*/ 0 w 22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9">
                  <a:moveTo>
                    <a:pt x="0" y="9"/>
                  </a:moveTo>
                  <a:cubicBezTo>
                    <a:pt x="8" y="5"/>
                    <a:pt x="15" y="6"/>
                    <a:pt x="22" y="4"/>
                  </a:cubicBezTo>
                  <a:cubicBezTo>
                    <a:pt x="20" y="2"/>
                    <a:pt x="21" y="1"/>
                    <a:pt x="21" y="0"/>
                  </a:cubicBezTo>
                  <a:cubicBezTo>
                    <a:pt x="15" y="1"/>
                    <a:pt x="4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2143" name="任意多边形: 形状 2142">
              <a:extLst>
                <a:ext uri="{FF2B5EF4-FFF2-40B4-BE49-F238E27FC236}">
                  <a16:creationId xmlns:a16="http://schemas.microsoft.com/office/drawing/2014/main" id="{0ABE32D2-F851-4059-984F-56E48FC6FA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14276" y="-695800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4" name="任意多边形: 形状 10303">
              <a:extLst>
                <a:ext uri="{FF2B5EF4-FFF2-40B4-BE49-F238E27FC236}">
                  <a16:creationId xmlns:a16="http://schemas.microsoft.com/office/drawing/2014/main" id="{9761D279-D2A5-483A-82B7-C11550753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27426" y="-6183300"/>
              <a:ext cx="3175" cy="6350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1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5" name="任意多边形: 形状 10304">
              <a:extLst>
                <a:ext uri="{FF2B5EF4-FFF2-40B4-BE49-F238E27FC236}">
                  <a16:creationId xmlns:a16="http://schemas.microsoft.com/office/drawing/2014/main" id="{E42BB230-537A-4FE8-9100-BEEE4C5390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8626" y="-6651614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6" name="任意多边形: 形状 10305">
              <a:extLst>
                <a:ext uri="{FF2B5EF4-FFF2-40B4-BE49-F238E27FC236}">
                  <a16:creationId xmlns:a16="http://schemas.microsoft.com/office/drawing/2014/main" id="{810112B8-60AE-4B3B-93A8-9460F473FB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60301" y="-486567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7" name="任意多边形: 形状 10306">
              <a:extLst>
                <a:ext uri="{FF2B5EF4-FFF2-40B4-BE49-F238E27FC236}">
                  <a16:creationId xmlns:a16="http://schemas.microsoft.com/office/drawing/2014/main" id="{4AE83480-8C3F-472A-B254-AD52B95AF0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41651" y="-7043727"/>
              <a:ext cx="0" cy="3175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8" name="任意多边形: 形状 10307">
              <a:extLst>
                <a:ext uri="{FF2B5EF4-FFF2-40B4-BE49-F238E27FC236}">
                  <a16:creationId xmlns:a16="http://schemas.microsoft.com/office/drawing/2014/main" id="{FE359531-282F-4317-9132-144543281C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7351" y="-7013565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09" name="任意多边形: 形状 10308">
              <a:extLst>
                <a:ext uri="{FF2B5EF4-FFF2-40B4-BE49-F238E27FC236}">
                  <a16:creationId xmlns:a16="http://schemas.microsoft.com/office/drawing/2014/main" id="{66A07603-5C6A-4580-B2FB-9A0BC7C602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26713" y="-9383448"/>
              <a:ext cx="7332664" cy="5416565"/>
            </a:xfrm>
            <a:custGeom>
              <a:avLst/>
              <a:gdLst>
                <a:gd name="T0" fmla="*/ 1620 w 2224"/>
                <a:gd name="T1" fmla="*/ 761 h 1644"/>
                <a:gd name="T2" fmla="*/ 1787 w 2224"/>
                <a:gd name="T3" fmla="*/ 628 h 1644"/>
                <a:gd name="T4" fmla="*/ 2209 w 2224"/>
                <a:gd name="T5" fmla="*/ 305 h 1644"/>
                <a:gd name="T6" fmla="*/ 1742 w 2224"/>
                <a:gd name="T7" fmla="*/ 423 h 1644"/>
                <a:gd name="T8" fmla="*/ 1632 w 2224"/>
                <a:gd name="T9" fmla="*/ 371 h 1644"/>
                <a:gd name="T10" fmla="*/ 1453 w 2224"/>
                <a:gd name="T11" fmla="*/ 209 h 1644"/>
                <a:gd name="T12" fmla="*/ 1350 w 2224"/>
                <a:gd name="T13" fmla="*/ 195 h 1644"/>
                <a:gd name="T14" fmla="*/ 1247 w 2224"/>
                <a:gd name="T15" fmla="*/ 87 h 1644"/>
                <a:gd name="T16" fmla="*/ 1145 w 2224"/>
                <a:gd name="T17" fmla="*/ 55 h 1644"/>
                <a:gd name="T18" fmla="*/ 968 w 2224"/>
                <a:gd name="T19" fmla="*/ 105 h 1644"/>
                <a:gd name="T20" fmla="*/ 730 w 2224"/>
                <a:gd name="T21" fmla="*/ 259 h 1644"/>
                <a:gd name="T22" fmla="*/ 553 w 2224"/>
                <a:gd name="T23" fmla="*/ 439 h 1644"/>
                <a:gd name="T24" fmla="*/ 421 w 2224"/>
                <a:gd name="T25" fmla="*/ 566 h 1644"/>
                <a:gd name="T26" fmla="*/ 459 w 2224"/>
                <a:gd name="T27" fmla="*/ 615 h 1644"/>
                <a:gd name="T28" fmla="*/ 514 w 2224"/>
                <a:gd name="T29" fmla="*/ 601 h 1644"/>
                <a:gd name="T30" fmla="*/ 476 w 2224"/>
                <a:gd name="T31" fmla="*/ 647 h 1644"/>
                <a:gd name="T32" fmla="*/ 552 w 2224"/>
                <a:gd name="T33" fmla="*/ 643 h 1644"/>
                <a:gd name="T34" fmla="*/ 479 w 2224"/>
                <a:gd name="T35" fmla="*/ 723 h 1644"/>
                <a:gd name="T36" fmla="*/ 586 w 2224"/>
                <a:gd name="T37" fmla="*/ 696 h 1644"/>
                <a:gd name="T38" fmla="*/ 678 w 2224"/>
                <a:gd name="T39" fmla="*/ 656 h 1644"/>
                <a:gd name="T40" fmla="*/ 702 w 2224"/>
                <a:gd name="T41" fmla="*/ 680 h 1644"/>
                <a:gd name="T42" fmla="*/ 679 w 2224"/>
                <a:gd name="T43" fmla="*/ 678 h 1644"/>
                <a:gd name="T44" fmla="*/ 580 w 2224"/>
                <a:gd name="T45" fmla="*/ 747 h 1644"/>
                <a:gd name="T46" fmla="*/ 412 w 2224"/>
                <a:gd name="T47" fmla="*/ 829 h 1644"/>
                <a:gd name="T48" fmla="*/ 265 w 2224"/>
                <a:gd name="T49" fmla="*/ 961 h 1644"/>
                <a:gd name="T50" fmla="*/ 309 w 2224"/>
                <a:gd name="T51" fmla="*/ 1186 h 1644"/>
                <a:gd name="T52" fmla="*/ 153 w 2224"/>
                <a:gd name="T53" fmla="*/ 1340 h 1644"/>
                <a:gd name="T54" fmla="*/ 301 w 2224"/>
                <a:gd name="T55" fmla="*/ 1405 h 1644"/>
                <a:gd name="T56" fmla="*/ 615 w 2224"/>
                <a:gd name="T57" fmla="*/ 1372 h 1644"/>
                <a:gd name="T58" fmla="*/ 603 w 2224"/>
                <a:gd name="T59" fmla="*/ 1407 h 1644"/>
                <a:gd name="T60" fmla="*/ 652 w 2224"/>
                <a:gd name="T61" fmla="*/ 1455 h 1644"/>
                <a:gd name="T62" fmla="*/ 690 w 2224"/>
                <a:gd name="T63" fmla="*/ 1499 h 1644"/>
                <a:gd name="T64" fmla="*/ 1266 w 2224"/>
                <a:gd name="T65" fmla="*/ 1386 h 1644"/>
                <a:gd name="T66" fmla="*/ 1516 w 2224"/>
                <a:gd name="T67" fmla="*/ 1165 h 1644"/>
                <a:gd name="T68" fmla="*/ 1611 w 2224"/>
                <a:gd name="T69" fmla="*/ 1077 h 1644"/>
                <a:gd name="T70" fmla="*/ 1886 w 2224"/>
                <a:gd name="T71" fmla="*/ 933 h 1644"/>
                <a:gd name="T72" fmla="*/ 1544 w 2224"/>
                <a:gd name="T73" fmla="*/ 1056 h 1644"/>
                <a:gd name="T74" fmla="*/ 1783 w 2224"/>
                <a:gd name="T75" fmla="*/ 900 h 1644"/>
                <a:gd name="T76" fmla="*/ 2202 w 2224"/>
                <a:gd name="T77" fmla="*/ 273 h 1644"/>
                <a:gd name="T78" fmla="*/ 451 w 2224"/>
                <a:gd name="T79" fmla="*/ 560 h 1644"/>
                <a:gd name="T80" fmla="*/ 482 w 2224"/>
                <a:gd name="T81" fmla="*/ 711 h 1644"/>
                <a:gd name="T82" fmla="*/ 574 w 2224"/>
                <a:gd name="T83" fmla="*/ 673 h 1644"/>
                <a:gd name="T84" fmla="*/ 559 w 2224"/>
                <a:gd name="T85" fmla="*/ 664 h 1644"/>
                <a:gd name="T86" fmla="*/ 615 w 2224"/>
                <a:gd name="T87" fmla="*/ 628 h 1644"/>
                <a:gd name="T88" fmla="*/ 739 w 2224"/>
                <a:gd name="T89" fmla="*/ 671 h 1644"/>
                <a:gd name="T90" fmla="*/ 368 w 2224"/>
                <a:gd name="T91" fmla="*/ 868 h 1644"/>
                <a:gd name="T92" fmla="*/ 498 w 2224"/>
                <a:gd name="T93" fmla="*/ 805 h 1644"/>
                <a:gd name="T94" fmla="*/ 577 w 2224"/>
                <a:gd name="T95" fmla="*/ 772 h 1644"/>
                <a:gd name="T96" fmla="*/ 747 w 2224"/>
                <a:gd name="T97" fmla="*/ 1443 h 1644"/>
                <a:gd name="T98" fmla="*/ 651 w 2224"/>
                <a:gd name="T99" fmla="*/ 743 h 1644"/>
                <a:gd name="T100" fmla="*/ 766 w 2224"/>
                <a:gd name="T101" fmla="*/ 1269 h 1644"/>
                <a:gd name="T102" fmla="*/ 672 w 2224"/>
                <a:gd name="T103" fmla="*/ 752 h 1644"/>
                <a:gd name="T104" fmla="*/ 784 w 2224"/>
                <a:gd name="T105" fmla="*/ 675 h 1644"/>
                <a:gd name="T106" fmla="*/ 1108 w 2224"/>
                <a:gd name="T107" fmla="*/ 65 h 1644"/>
                <a:gd name="T108" fmla="*/ 1245 w 2224"/>
                <a:gd name="T109" fmla="*/ 105 h 1644"/>
                <a:gd name="T110" fmla="*/ 1291 w 2224"/>
                <a:gd name="T111" fmla="*/ 216 h 1644"/>
                <a:gd name="T112" fmla="*/ 1639 w 2224"/>
                <a:gd name="T113" fmla="*/ 1067 h 1644"/>
                <a:gd name="T114" fmla="*/ 1575 w 2224"/>
                <a:gd name="T115" fmla="*/ 485 h 1644"/>
                <a:gd name="T116" fmla="*/ 1483 w 2224"/>
                <a:gd name="T117" fmla="*/ 373 h 1644"/>
                <a:gd name="T118" fmla="*/ 1377 w 2224"/>
                <a:gd name="T119" fmla="*/ 815 h 1644"/>
                <a:gd name="T120" fmla="*/ 1399 w 2224"/>
                <a:gd name="T121" fmla="*/ 832 h 1644"/>
                <a:gd name="T122" fmla="*/ 1590 w 2224"/>
                <a:gd name="T123" fmla="*/ 718 h 1644"/>
                <a:gd name="T124" fmla="*/ 1506 w 2224"/>
                <a:gd name="T125" fmla="*/ 1055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4" h="1644">
                  <a:moveTo>
                    <a:pt x="2053" y="642"/>
                  </a:moveTo>
                  <a:cubicBezTo>
                    <a:pt x="2054" y="641"/>
                    <a:pt x="2049" y="632"/>
                    <a:pt x="2050" y="636"/>
                  </a:cubicBezTo>
                  <a:cubicBezTo>
                    <a:pt x="2055" y="644"/>
                    <a:pt x="2045" y="640"/>
                    <a:pt x="2045" y="646"/>
                  </a:cubicBezTo>
                  <a:cubicBezTo>
                    <a:pt x="2041" y="647"/>
                    <a:pt x="2039" y="645"/>
                    <a:pt x="2036" y="642"/>
                  </a:cubicBezTo>
                  <a:cubicBezTo>
                    <a:pt x="2037" y="635"/>
                    <a:pt x="2046" y="632"/>
                    <a:pt x="2048" y="626"/>
                  </a:cubicBezTo>
                  <a:cubicBezTo>
                    <a:pt x="2045" y="621"/>
                    <a:pt x="2041" y="621"/>
                    <a:pt x="2038" y="625"/>
                  </a:cubicBezTo>
                  <a:cubicBezTo>
                    <a:pt x="2017" y="624"/>
                    <a:pt x="1995" y="648"/>
                    <a:pt x="1976" y="653"/>
                  </a:cubicBezTo>
                  <a:cubicBezTo>
                    <a:pt x="1974" y="654"/>
                    <a:pt x="1973" y="651"/>
                    <a:pt x="1970" y="653"/>
                  </a:cubicBezTo>
                  <a:cubicBezTo>
                    <a:pt x="1962" y="659"/>
                    <a:pt x="1949" y="673"/>
                    <a:pt x="1936" y="668"/>
                  </a:cubicBezTo>
                  <a:cubicBezTo>
                    <a:pt x="1930" y="673"/>
                    <a:pt x="1924" y="674"/>
                    <a:pt x="1916" y="677"/>
                  </a:cubicBezTo>
                  <a:cubicBezTo>
                    <a:pt x="1918" y="680"/>
                    <a:pt x="1916" y="683"/>
                    <a:pt x="1912" y="684"/>
                  </a:cubicBezTo>
                  <a:cubicBezTo>
                    <a:pt x="1912" y="681"/>
                    <a:pt x="1911" y="682"/>
                    <a:pt x="1909" y="679"/>
                  </a:cubicBezTo>
                  <a:cubicBezTo>
                    <a:pt x="1912" y="677"/>
                    <a:pt x="1915" y="676"/>
                    <a:pt x="1916" y="673"/>
                  </a:cubicBezTo>
                  <a:cubicBezTo>
                    <a:pt x="1914" y="672"/>
                    <a:pt x="1910" y="676"/>
                    <a:pt x="1909" y="671"/>
                  </a:cubicBezTo>
                  <a:cubicBezTo>
                    <a:pt x="1916" y="667"/>
                    <a:pt x="1916" y="661"/>
                    <a:pt x="1922" y="657"/>
                  </a:cubicBezTo>
                  <a:cubicBezTo>
                    <a:pt x="1920" y="658"/>
                    <a:pt x="1919" y="655"/>
                    <a:pt x="1916" y="658"/>
                  </a:cubicBezTo>
                  <a:cubicBezTo>
                    <a:pt x="1914" y="666"/>
                    <a:pt x="1903" y="671"/>
                    <a:pt x="1905" y="681"/>
                  </a:cubicBezTo>
                  <a:cubicBezTo>
                    <a:pt x="1902" y="681"/>
                    <a:pt x="1898" y="677"/>
                    <a:pt x="1899" y="674"/>
                  </a:cubicBezTo>
                  <a:cubicBezTo>
                    <a:pt x="1888" y="672"/>
                    <a:pt x="1878" y="683"/>
                    <a:pt x="1868" y="683"/>
                  </a:cubicBezTo>
                  <a:cubicBezTo>
                    <a:pt x="1866" y="679"/>
                    <a:pt x="1870" y="677"/>
                    <a:pt x="1870" y="673"/>
                  </a:cubicBezTo>
                  <a:cubicBezTo>
                    <a:pt x="1862" y="676"/>
                    <a:pt x="1869" y="670"/>
                    <a:pt x="1868" y="667"/>
                  </a:cubicBezTo>
                  <a:cubicBezTo>
                    <a:pt x="1864" y="674"/>
                    <a:pt x="1854" y="677"/>
                    <a:pt x="1847" y="683"/>
                  </a:cubicBezTo>
                  <a:cubicBezTo>
                    <a:pt x="1786" y="694"/>
                    <a:pt x="1731" y="737"/>
                    <a:pt x="1676" y="753"/>
                  </a:cubicBezTo>
                  <a:cubicBezTo>
                    <a:pt x="1662" y="763"/>
                    <a:pt x="1646" y="770"/>
                    <a:pt x="1637" y="776"/>
                  </a:cubicBezTo>
                  <a:cubicBezTo>
                    <a:pt x="1636" y="778"/>
                    <a:pt x="1634" y="780"/>
                    <a:pt x="1633" y="782"/>
                  </a:cubicBezTo>
                  <a:cubicBezTo>
                    <a:pt x="1633" y="782"/>
                    <a:pt x="1633" y="781"/>
                    <a:pt x="1632" y="780"/>
                  </a:cubicBezTo>
                  <a:cubicBezTo>
                    <a:pt x="1633" y="780"/>
                    <a:pt x="1634" y="779"/>
                    <a:pt x="1634" y="779"/>
                  </a:cubicBezTo>
                  <a:cubicBezTo>
                    <a:pt x="1633" y="779"/>
                    <a:pt x="1632" y="779"/>
                    <a:pt x="1632" y="779"/>
                  </a:cubicBezTo>
                  <a:cubicBezTo>
                    <a:pt x="1631" y="779"/>
                    <a:pt x="1631" y="778"/>
                    <a:pt x="1631" y="778"/>
                  </a:cubicBezTo>
                  <a:cubicBezTo>
                    <a:pt x="1630" y="779"/>
                    <a:pt x="1630" y="779"/>
                    <a:pt x="1629" y="779"/>
                  </a:cubicBezTo>
                  <a:cubicBezTo>
                    <a:pt x="1629" y="779"/>
                    <a:pt x="1629" y="779"/>
                    <a:pt x="1629" y="779"/>
                  </a:cubicBezTo>
                  <a:cubicBezTo>
                    <a:pt x="1625" y="781"/>
                    <a:pt x="1622" y="786"/>
                    <a:pt x="1618" y="786"/>
                  </a:cubicBezTo>
                  <a:cubicBezTo>
                    <a:pt x="1616" y="785"/>
                    <a:pt x="1615" y="783"/>
                    <a:pt x="1613" y="782"/>
                  </a:cubicBezTo>
                  <a:cubicBezTo>
                    <a:pt x="1606" y="781"/>
                    <a:pt x="1603" y="787"/>
                    <a:pt x="1597" y="783"/>
                  </a:cubicBezTo>
                  <a:cubicBezTo>
                    <a:pt x="1610" y="773"/>
                    <a:pt x="1610" y="782"/>
                    <a:pt x="1620" y="777"/>
                  </a:cubicBezTo>
                  <a:cubicBezTo>
                    <a:pt x="1619" y="777"/>
                    <a:pt x="1618" y="777"/>
                    <a:pt x="1619" y="776"/>
                  </a:cubicBezTo>
                  <a:cubicBezTo>
                    <a:pt x="1621" y="774"/>
                    <a:pt x="1623" y="774"/>
                    <a:pt x="1625" y="773"/>
                  </a:cubicBezTo>
                  <a:cubicBezTo>
                    <a:pt x="1625" y="774"/>
                    <a:pt x="1625" y="775"/>
                    <a:pt x="1627" y="777"/>
                  </a:cubicBezTo>
                  <a:cubicBezTo>
                    <a:pt x="1631" y="778"/>
                    <a:pt x="1629" y="774"/>
                    <a:pt x="1626" y="772"/>
                  </a:cubicBezTo>
                  <a:cubicBezTo>
                    <a:pt x="1629" y="771"/>
                    <a:pt x="1632" y="770"/>
                    <a:pt x="1635" y="767"/>
                  </a:cubicBezTo>
                  <a:cubicBezTo>
                    <a:pt x="1638" y="768"/>
                    <a:pt x="1649" y="772"/>
                    <a:pt x="1644" y="763"/>
                  </a:cubicBezTo>
                  <a:cubicBezTo>
                    <a:pt x="1641" y="766"/>
                    <a:pt x="1636" y="769"/>
                    <a:pt x="1632" y="764"/>
                  </a:cubicBezTo>
                  <a:cubicBezTo>
                    <a:pt x="1622" y="766"/>
                    <a:pt x="1621" y="778"/>
                    <a:pt x="1613" y="776"/>
                  </a:cubicBezTo>
                  <a:cubicBezTo>
                    <a:pt x="1617" y="773"/>
                    <a:pt x="1620" y="770"/>
                    <a:pt x="1620" y="766"/>
                  </a:cubicBezTo>
                  <a:cubicBezTo>
                    <a:pt x="1615" y="767"/>
                    <a:pt x="1618" y="772"/>
                    <a:pt x="1613" y="773"/>
                  </a:cubicBezTo>
                  <a:cubicBezTo>
                    <a:pt x="1612" y="771"/>
                    <a:pt x="1614" y="770"/>
                    <a:pt x="1613" y="769"/>
                  </a:cubicBezTo>
                  <a:cubicBezTo>
                    <a:pt x="1609" y="773"/>
                    <a:pt x="1601" y="779"/>
                    <a:pt x="1597" y="775"/>
                  </a:cubicBezTo>
                  <a:cubicBezTo>
                    <a:pt x="1605" y="769"/>
                    <a:pt x="1612" y="764"/>
                    <a:pt x="1618" y="759"/>
                  </a:cubicBezTo>
                  <a:cubicBezTo>
                    <a:pt x="1619" y="761"/>
                    <a:pt x="1620" y="764"/>
                    <a:pt x="1620" y="761"/>
                  </a:cubicBezTo>
                  <a:cubicBezTo>
                    <a:pt x="1619" y="759"/>
                    <a:pt x="1619" y="759"/>
                    <a:pt x="1619" y="759"/>
                  </a:cubicBezTo>
                  <a:cubicBezTo>
                    <a:pt x="1607" y="758"/>
                    <a:pt x="1607" y="770"/>
                    <a:pt x="1597" y="765"/>
                  </a:cubicBezTo>
                  <a:cubicBezTo>
                    <a:pt x="1602" y="763"/>
                    <a:pt x="1605" y="757"/>
                    <a:pt x="1610" y="759"/>
                  </a:cubicBezTo>
                  <a:cubicBezTo>
                    <a:pt x="1609" y="752"/>
                    <a:pt x="1619" y="746"/>
                    <a:pt x="1625" y="745"/>
                  </a:cubicBezTo>
                  <a:cubicBezTo>
                    <a:pt x="1606" y="743"/>
                    <a:pt x="1602" y="762"/>
                    <a:pt x="1589" y="770"/>
                  </a:cubicBezTo>
                  <a:cubicBezTo>
                    <a:pt x="1586" y="766"/>
                    <a:pt x="1594" y="762"/>
                    <a:pt x="1588" y="760"/>
                  </a:cubicBezTo>
                  <a:cubicBezTo>
                    <a:pt x="1577" y="774"/>
                    <a:pt x="1552" y="772"/>
                    <a:pt x="1538" y="779"/>
                  </a:cubicBezTo>
                  <a:cubicBezTo>
                    <a:pt x="1549" y="769"/>
                    <a:pt x="1559" y="762"/>
                    <a:pt x="1571" y="759"/>
                  </a:cubicBezTo>
                  <a:cubicBezTo>
                    <a:pt x="1574" y="758"/>
                    <a:pt x="1567" y="757"/>
                    <a:pt x="1570" y="756"/>
                  </a:cubicBezTo>
                  <a:cubicBezTo>
                    <a:pt x="1581" y="756"/>
                    <a:pt x="1597" y="744"/>
                    <a:pt x="1609" y="735"/>
                  </a:cubicBezTo>
                  <a:cubicBezTo>
                    <a:pt x="1609" y="737"/>
                    <a:pt x="1608" y="738"/>
                    <a:pt x="1610" y="739"/>
                  </a:cubicBezTo>
                  <a:cubicBezTo>
                    <a:pt x="1613" y="727"/>
                    <a:pt x="1628" y="728"/>
                    <a:pt x="1634" y="722"/>
                  </a:cubicBezTo>
                  <a:cubicBezTo>
                    <a:pt x="1633" y="722"/>
                    <a:pt x="1632" y="723"/>
                    <a:pt x="1631" y="722"/>
                  </a:cubicBezTo>
                  <a:cubicBezTo>
                    <a:pt x="1648" y="717"/>
                    <a:pt x="1670" y="708"/>
                    <a:pt x="1682" y="695"/>
                  </a:cubicBezTo>
                  <a:cubicBezTo>
                    <a:pt x="1684" y="699"/>
                    <a:pt x="1684" y="699"/>
                    <a:pt x="1684" y="699"/>
                  </a:cubicBezTo>
                  <a:cubicBezTo>
                    <a:pt x="1699" y="687"/>
                    <a:pt x="1721" y="671"/>
                    <a:pt x="1742" y="668"/>
                  </a:cubicBezTo>
                  <a:cubicBezTo>
                    <a:pt x="1741" y="666"/>
                    <a:pt x="1741" y="664"/>
                    <a:pt x="1744" y="663"/>
                  </a:cubicBezTo>
                  <a:cubicBezTo>
                    <a:pt x="1791" y="645"/>
                    <a:pt x="1838" y="609"/>
                    <a:pt x="1883" y="593"/>
                  </a:cubicBezTo>
                  <a:cubicBezTo>
                    <a:pt x="1882" y="593"/>
                    <a:pt x="1880" y="593"/>
                    <a:pt x="1880" y="591"/>
                  </a:cubicBezTo>
                  <a:cubicBezTo>
                    <a:pt x="1903" y="589"/>
                    <a:pt x="1919" y="578"/>
                    <a:pt x="1937" y="569"/>
                  </a:cubicBezTo>
                  <a:cubicBezTo>
                    <a:pt x="1940" y="569"/>
                    <a:pt x="1943" y="572"/>
                    <a:pt x="1946" y="573"/>
                  </a:cubicBezTo>
                  <a:cubicBezTo>
                    <a:pt x="1943" y="568"/>
                    <a:pt x="1943" y="571"/>
                    <a:pt x="1939" y="566"/>
                  </a:cubicBezTo>
                  <a:cubicBezTo>
                    <a:pt x="1950" y="567"/>
                    <a:pt x="1961" y="561"/>
                    <a:pt x="1969" y="555"/>
                  </a:cubicBezTo>
                  <a:cubicBezTo>
                    <a:pt x="1971" y="558"/>
                    <a:pt x="1971" y="558"/>
                    <a:pt x="1971" y="558"/>
                  </a:cubicBezTo>
                  <a:cubicBezTo>
                    <a:pt x="1975" y="550"/>
                    <a:pt x="1983" y="545"/>
                    <a:pt x="1991" y="546"/>
                  </a:cubicBezTo>
                  <a:cubicBezTo>
                    <a:pt x="1989" y="546"/>
                    <a:pt x="1989" y="544"/>
                    <a:pt x="1988" y="543"/>
                  </a:cubicBezTo>
                  <a:cubicBezTo>
                    <a:pt x="1993" y="539"/>
                    <a:pt x="1997" y="536"/>
                    <a:pt x="2000" y="540"/>
                  </a:cubicBezTo>
                  <a:cubicBezTo>
                    <a:pt x="2002" y="537"/>
                    <a:pt x="2006" y="536"/>
                    <a:pt x="2010" y="539"/>
                  </a:cubicBezTo>
                  <a:cubicBezTo>
                    <a:pt x="2014" y="536"/>
                    <a:pt x="2007" y="534"/>
                    <a:pt x="2009" y="531"/>
                  </a:cubicBezTo>
                  <a:cubicBezTo>
                    <a:pt x="2030" y="524"/>
                    <a:pt x="2054" y="514"/>
                    <a:pt x="2079" y="502"/>
                  </a:cubicBezTo>
                  <a:cubicBezTo>
                    <a:pt x="2103" y="490"/>
                    <a:pt x="2127" y="476"/>
                    <a:pt x="2148" y="464"/>
                  </a:cubicBezTo>
                  <a:cubicBezTo>
                    <a:pt x="2111" y="480"/>
                    <a:pt x="2074" y="496"/>
                    <a:pt x="2039" y="518"/>
                  </a:cubicBezTo>
                  <a:cubicBezTo>
                    <a:pt x="2037" y="515"/>
                    <a:pt x="2033" y="523"/>
                    <a:pt x="2032" y="517"/>
                  </a:cubicBezTo>
                  <a:cubicBezTo>
                    <a:pt x="2013" y="531"/>
                    <a:pt x="1982" y="534"/>
                    <a:pt x="1965" y="549"/>
                  </a:cubicBezTo>
                  <a:cubicBezTo>
                    <a:pt x="1964" y="548"/>
                    <a:pt x="1964" y="546"/>
                    <a:pt x="1962" y="546"/>
                  </a:cubicBezTo>
                  <a:cubicBezTo>
                    <a:pt x="1965" y="550"/>
                    <a:pt x="1962" y="552"/>
                    <a:pt x="1961" y="554"/>
                  </a:cubicBezTo>
                  <a:cubicBezTo>
                    <a:pt x="1956" y="550"/>
                    <a:pt x="1951" y="559"/>
                    <a:pt x="1943" y="556"/>
                  </a:cubicBezTo>
                  <a:cubicBezTo>
                    <a:pt x="1944" y="561"/>
                    <a:pt x="1929" y="562"/>
                    <a:pt x="1926" y="563"/>
                  </a:cubicBezTo>
                  <a:cubicBezTo>
                    <a:pt x="1925" y="565"/>
                    <a:pt x="1927" y="567"/>
                    <a:pt x="1925" y="569"/>
                  </a:cubicBezTo>
                  <a:cubicBezTo>
                    <a:pt x="1922" y="565"/>
                    <a:pt x="1920" y="572"/>
                    <a:pt x="1916" y="569"/>
                  </a:cubicBezTo>
                  <a:cubicBezTo>
                    <a:pt x="1915" y="575"/>
                    <a:pt x="1908" y="575"/>
                    <a:pt x="1904" y="579"/>
                  </a:cubicBezTo>
                  <a:cubicBezTo>
                    <a:pt x="1899" y="572"/>
                    <a:pt x="1895" y="579"/>
                    <a:pt x="1889" y="581"/>
                  </a:cubicBezTo>
                  <a:cubicBezTo>
                    <a:pt x="1888" y="584"/>
                    <a:pt x="1892" y="584"/>
                    <a:pt x="1890" y="585"/>
                  </a:cubicBezTo>
                  <a:cubicBezTo>
                    <a:pt x="1861" y="595"/>
                    <a:pt x="1837" y="610"/>
                    <a:pt x="1805" y="619"/>
                  </a:cubicBezTo>
                  <a:cubicBezTo>
                    <a:pt x="1805" y="619"/>
                    <a:pt x="1807" y="618"/>
                    <a:pt x="1806" y="617"/>
                  </a:cubicBezTo>
                  <a:cubicBezTo>
                    <a:pt x="1802" y="618"/>
                    <a:pt x="1806" y="621"/>
                    <a:pt x="1802" y="622"/>
                  </a:cubicBezTo>
                  <a:cubicBezTo>
                    <a:pt x="1801" y="619"/>
                    <a:pt x="1799" y="621"/>
                    <a:pt x="1800" y="617"/>
                  </a:cubicBezTo>
                  <a:cubicBezTo>
                    <a:pt x="1796" y="622"/>
                    <a:pt x="1788" y="623"/>
                    <a:pt x="1782" y="624"/>
                  </a:cubicBezTo>
                  <a:cubicBezTo>
                    <a:pt x="1783" y="628"/>
                    <a:pt x="1785" y="626"/>
                    <a:pt x="1787" y="628"/>
                  </a:cubicBezTo>
                  <a:cubicBezTo>
                    <a:pt x="1784" y="629"/>
                    <a:pt x="1785" y="631"/>
                    <a:pt x="1782" y="631"/>
                  </a:cubicBezTo>
                  <a:cubicBezTo>
                    <a:pt x="1781" y="629"/>
                    <a:pt x="1784" y="629"/>
                    <a:pt x="1782" y="626"/>
                  </a:cubicBezTo>
                  <a:cubicBezTo>
                    <a:pt x="1776" y="627"/>
                    <a:pt x="1780" y="631"/>
                    <a:pt x="1774" y="632"/>
                  </a:cubicBezTo>
                  <a:cubicBezTo>
                    <a:pt x="1772" y="626"/>
                    <a:pt x="1768" y="633"/>
                    <a:pt x="1763" y="631"/>
                  </a:cubicBezTo>
                  <a:cubicBezTo>
                    <a:pt x="1763" y="637"/>
                    <a:pt x="1763" y="637"/>
                    <a:pt x="1765" y="639"/>
                  </a:cubicBezTo>
                  <a:cubicBezTo>
                    <a:pt x="1761" y="640"/>
                    <a:pt x="1759" y="640"/>
                    <a:pt x="1759" y="644"/>
                  </a:cubicBezTo>
                  <a:cubicBezTo>
                    <a:pt x="1757" y="640"/>
                    <a:pt x="1757" y="640"/>
                    <a:pt x="1757" y="640"/>
                  </a:cubicBezTo>
                  <a:cubicBezTo>
                    <a:pt x="1756" y="642"/>
                    <a:pt x="1749" y="650"/>
                    <a:pt x="1746" y="646"/>
                  </a:cubicBezTo>
                  <a:cubicBezTo>
                    <a:pt x="1751" y="645"/>
                    <a:pt x="1752" y="636"/>
                    <a:pt x="1760" y="639"/>
                  </a:cubicBezTo>
                  <a:cubicBezTo>
                    <a:pt x="1755" y="629"/>
                    <a:pt x="1740" y="650"/>
                    <a:pt x="1733" y="643"/>
                  </a:cubicBezTo>
                  <a:cubicBezTo>
                    <a:pt x="1755" y="631"/>
                    <a:pt x="1774" y="624"/>
                    <a:pt x="1799" y="613"/>
                  </a:cubicBezTo>
                  <a:cubicBezTo>
                    <a:pt x="1798" y="611"/>
                    <a:pt x="1796" y="611"/>
                    <a:pt x="1797" y="610"/>
                  </a:cubicBezTo>
                  <a:cubicBezTo>
                    <a:pt x="1800" y="610"/>
                    <a:pt x="1803" y="606"/>
                    <a:pt x="1804" y="608"/>
                  </a:cubicBezTo>
                  <a:cubicBezTo>
                    <a:pt x="1804" y="612"/>
                    <a:pt x="1798" y="607"/>
                    <a:pt x="1801" y="612"/>
                  </a:cubicBezTo>
                  <a:cubicBezTo>
                    <a:pt x="1807" y="610"/>
                    <a:pt x="1816" y="605"/>
                    <a:pt x="1819" y="603"/>
                  </a:cubicBezTo>
                  <a:cubicBezTo>
                    <a:pt x="1816" y="604"/>
                    <a:pt x="1810" y="603"/>
                    <a:pt x="1813" y="599"/>
                  </a:cubicBezTo>
                  <a:cubicBezTo>
                    <a:pt x="1834" y="595"/>
                    <a:pt x="1855" y="581"/>
                    <a:pt x="1872" y="574"/>
                  </a:cubicBezTo>
                  <a:cubicBezTo>
                    <a:pt x="1897" y="563"/>
                    <a:pt x="1923" y="554"/>
                    <a:pt x="1950" y="544"/>
                  </a:cubicBezTo>
                  <a:cubicBezTo>
                    <a:pt x="1951" y="546"/>
                    <a:pt x="1951" y="546"/>
                    <a:pt x="1951" y="546"/>
                  </a:cubicBezTo>
                  <a:cubicBezTo>
                    <a:pt x="1959" y="536"/>
                    <a:pt x="1971" y="540"/>
                    <a:pt x="1976" y="530"/>
                  </a:cubicBezTo>
                  <a:cubicBezTo>
                    <a:pt x="1980" y="529"/>
                    <a:pt x="1983" y="529"/>
                    <a:pt x="1985" y="532"/>
                  </a:cubicBezTo>
                  <a:cubicBezTo>
                    <a:pt x="1987" y="531"/>
                    <a:pt x="1992" y="531"/>
                    <a:pt x="1991" y="528"/>
                  </a:cubicBezTo>
                  <a:cubicBezTo>
                    <a:pt x="1987" y="531"/>
                    <a:pt x="1983" y="530"/>
                    <a:pt x="1981" y="526"/>
                  </a:cubicBezTo>
                  <a:cubicBezTo>
                    <a:pt x="1986" y="523"/>
                    <a:pt x="2002" y="516"/>
                    <a:pt x="2010" y="515"/>
                  </a:cubicBezTo>
                  <a:cubicBezTo>
                    <a:pt x="2018" y="505"/>
                    <a:pt x="2035" y="502"/>
                    <a:pt x="2042" y="494"/>
                  </a:cubicBezTo>
                  <a:cubicBezTo>
                    <a:pt x="2034" y="493"/>
                    <a:pt x="2024" y="508"/>
                    <a:pt x="2017" y="497"/>
                  </a:cubicBezTo>
                  <a:cubicBezTo>
                    <a:pt x="2025" y="496"/>
                    <a:pt x="2026" y="486"/>
                    <a:pt x="2035" y="487"/>
                  </a:cubicBezTo>
                  <a:cubicBezTo>
                    <a:pt x="2033" y="483"/>
                    <a:pt x="2036" y="482"/>
                    <a:pt x="2041" y="481"/>
                  </a:cubicBezTo>
                  <a:cubicBezTo>
                    <a:pt x="2041" y="470"/>
                    <a:pt x="2062" y="472"/>
                    <a:pt x="2067" y="461"/>
                  </a:cubicBezTo>
                  <a:cubicBezTo>
                    <a:pt x="2071" y="463"/>
                    <a:pt x="2075" y="463"/>
                    <a:pt x="2079" y="462"/>
                  </a:cubicBezTo>
                  <a:cubicBezTo>
                    <a:pt x="2078" y="458"/>
                    <a:pt x="2075" y="463"/>
                    <a:pt x="2076" y="458"/>
                  </a:cubicBezTo>
                  <a:cubicBezTo>
                    <a:pt x="2074" y="458"/>
                    <a:pt x="2071" y="463"/>
                    <a:pt x="2069" y="460"/>
                  </a:cubicBezTo>
                  <a:cubicBezTo>
                    <a:pt x="2091" y="447"/>
                    <a:pt x="2105" y="436"/>
                    <a:pt x="2124" y="425"/>
                  </a:cubicBezTo>
                  <a:cubicBezTo>
                    <a:pt x="2118" y="414"/>
                    <a:pt x="2134" y="417"/>
                    <a:pt x="2136" y="413"/>
                  </a:cubicBezTo>
                  <a:cubicBezTo>
                    <a:pt x="2129" y="410"/>
                    <a:pt x="2145" y="408"/>
                    <a:pt x="2148" y="406"/>
                  </a:cubicBezTo>
                  <a:cubicBezTo>
                    <a:pt x="2158" y="401"/>
                    <a:pt x="2166" y="392"/>
                    <a:pt x="2170" y="387"/>
                  </a:cubicBezTo>
                  <a:cubicBezTo>
                    <a:pt x="2162" y="384"/>
                    <a:pt x="2161" y="395"/>
                    <a:pt x="2153" y="395"/>
                  </a:cubicBezTo>
                  <a:cubicBezTo>
                    <a:pt x="2152" y="392"/>
                    <a:pt x="2151" y="389"/>
                    <a:pt x="2153" y="387"/>
                  </a:cubicBezTo>
                  <a:cubicBezTo>
                    <a:pt x="2155" y="389"/>
                    <a:pt x="2160" y="384"/>
                    <a:pt x="2157" y="381"/>
                  </a:cubicBezTo>
                  <a:cubicBezTo>
                    <a:pt x="2152" y="385"/>
                    <a:pt x="2148" y="385"/>
                    <a:pt x="2143" y="385"/>
                  </a:cubicBezTo>
                  <a:cubicBezTo>
                    <a:pt x="2147" y="379"/>
                    <a:pt x="2151" y="368"/>
                    <a:pt x="2161" y="371"/>
                  </a:cubicBezTo>
                  <a:cubicBezTo>
                    <a:pt x="2163" y="364"/>
                    <a:pt x="2172" y="363"/>
                    <a:pt x="2180" y="356"/>
                  </a:cubicBezTo>
                  <a:cubicBezTo>
                    <a:pt x="2174" y="351"/>
                    <a:pt x="2185" y="348"/>
                    <a:pt x="2192" y="345"/>
                  </a:cubicBezTo>
                  <a:cubicBezTo>
                    <a:pt x="2194" y="337"/>
                    <a:pt x="2188" y="337"/>
                    <a:pt x="2195" y="331"/>
                  </a:cubicBezTo>
                  <a:cubicBezTo>
                    <a:pt x="2191" y="330"/>
                    <a:pt x="2191" y="335"/>
                    <a:pt x="2188" y="333"/>
                  </a:cubicBezTo>
                  <a:cubicBezTo>
                    <a:pt x="2187" y="327"/>
                    <a:pt x="2186" y="321"/>
                    <a:pt x="2194" y="317"/>
                  </a:cubicBezTo>
                  <a:cubicBezTo>
                    <a:pt x="2194" y="319"/>
                    <a:pt x="2193" y="320"/>
                    <a:pt x="2194" y="322"/>
                  </a:cubicBezTo>
                  <a:cubicBezTo>
                    <a:pt x="2199" y="318"/>
                    <a:pt x="2203" y="312"/>
                    <a:pt x="2203" y="310"/>
                  </a:cubicBezTo>
                  <a:cubicBezTo>
                    <a:pt x="2209" y="310"/>
                    <a:pt x="2206" y="307"/>
                    <a:pt x="2209" y="305"/>
                  </a:cubicBezTo>
                  <a:cubicBezTo>
                    <a:pt x="2214" y="301"/>
                    <a:pt x="2224" y="300"/>
                    <a:pt x="2223" y="293"/>
                  </a:cubicBezTo>
                  <a:cubicBezTo>
                    <a:pt x="2218" y="292"/>
                    <a:pt x="2216" y="299"/>
                    <a:pt x="2211" y="293"/>
                  </a:cubicBezTo>
                  <a:cubicBezTo>
                    <a:pt x="2213" y="288"/>
                    <a:pt x="2219" y="293"/>
                    <a:pt x="2217" y="289"/>
                  </a:cubicBezTo>
                  <a:cubicBezTo>
                    <a:pt x="2213" y="287"/>
                    <a:pt x="2205" y="297"/>
                    <a:pt x="2202" y="291"/>
                  </a:cubicBezTo>
                  <a:cubicBezTo>
                    <a:pt x="2208" y="288"/>
                    <a:pt x="2208" y="288"/>
                    <a:pt x="2208" y="288"/>
                  </a:cubicBezTo>
                  <a:cubicBezTo>
                    <a:pt x="2206" y="284"/>
                    <a:pt x="2201" y="287"/>
                    <a:pt x="2202" y="282"/>
                  </a:cubicBezTo>
                  <a:cubicBezTo>
                    <a:pt x="2201" y="284"/>
                    <a:pt x="2196" y="284"/>
                    <a:pt x="2197" y="286"/>
                  </a:cubicBezTo>
                  <a:cubicBezTo>
                    <a:pt x="2199" y="285"/>
                    <a:pt x="2201" y="285"/>
                    <a:pt x="2202" y="288"/>
                  </a:cubicBezTo>
                  <a:cubicBezTo>
                    <a:pt x="2200" y="289"/>
                    <a:pt x="2194" y="291"/>
                    <a:pt x="2190" y="293"/>
                  </a:cubicBezTo>
                  <a:cubicBezTo>
                    <a:pt x="2193" y="282"/>
                    <a:pt x="2210" y="274"/>
                    <a:pt x="2219" y="270"/>
                  </a:cubicBezTo>
                  <a:cubicBezTo>
                    <a:pt x="2218" y="268"/>
                    <a:pt x="2217" y="265"/>
                    <a:pt x="2219" y="263"/>
                  </a:cubicBezTo>
                  <a:cubicBezTo>
                    <a:pt x="2214" y="265"/>
                    <a:pt x="2209" y="268"/>
                    <a:pt x="2216" y="267"/>
                  </a:cubicBezTo>
                  <a:cubicBezTo>
                    <a:pt x="2212" y="270"/>
                    <a:pt x="2210" y="267"/>
                    <a:pt x="2207" y="266"/>
                  </a:cubicBezTo>
                  <a:cubicBezTo>
                    <a:pt x="2211" y="257"/>
                    <a:pt x="2214" y="264"/>
                    <a:pt x="2219" y="259"/>
                  </a:cubicBezTo>
                  <a:cubicBezTo>
                    <a:pt x="2215" y="261"/>
                    <a:pt x="2213" y="259"/>
                    <a:pt x="2214" y="255"/>
                  </a:cubicBezTo>
                  <a:cubicBezTo>
                    <a:pt x="2204" y="258"/>
                    <a:pt x="2191" y="262"/>
                    <a:pt x="2186" y="267"/>
                  </a:cubicBezTo>
                  <a:cubicBezTo>
                    <a:pt x="2177" y="261"/>
                    <a:pt x="2166" y="281"/>
                    <a:pt x="2158" y="269"/>
                  </a:cubicBezTo>
                  <a:cubicBezTo>
                    <a:pt x="2153" y="270"/>
                    <a:pt x="2160" y="276"/>
                    <a:pt x="2155" y="278"/>
                  </a:cubicBezTo>
                  <a:cubicBezTo>
                    <a:pt x="2151" y="278"/>
                    <a:pt x="2147" y="276"/>
                    <a:pt x="2142" y="277"/>
                  </a:cubicBezTo>
                  <a:cubicBezTo>
                    <a:pt x="2142" y="282"/>
                    <a:pt x="2134" y="283"/>
                    <a:pt x="2131" y="279"/>
                  </a:cubicBezTo>
                  <a:cubicBezTo>
                    <a:pt x="2132" y="279"/>
                    <a:pt x="2131" y="277"/>
                    <a:pt x="2132" y="276"/>
                  </a:cubicBezTo>
                  <a:cubicBezTo>
                    <a:pt x="2138" y="278"/>
                    <a:pt x="2147" y="272"/>
                    <a:pt x="2150" y="267"/>
                  </a:cubicBezTo>
                  <a:cubicBezTo>
                    <a:pt x="2143" y="270"/>
                    <a:pt x="2132" y="273"/>
                    <a:pt x="2127" y="279"/>
                  </a:cubicBezTo>
                  <a:cubicBezTo>
                    <a:pt x="2128" y="278"/>
                    <a:pt x="2129" y="277"/>
                    <a:pt x="2130" y="278"/>
                  </a:cubicBezTo>
                  <a:cubicBezTo>
                    <a:pt x="2127" y="280"/>
                    <a:pt x="2129" y="282"/>
                    <a:pt x="2125" y="284"/>
                  </a:cubicBezTo>
                  <a:cubicBezTo>
                    <a:pt x="2123" y="282"/>
                    <a:pt x="2126" y="279"/>
                    <a:pt x="2122" y="281"/>
                  </a:cubicBezTo>
                  <a:cubicBezTo>
                    <a:pt x="2122" y="283"/>
                    <a:pt x="2122" y="285"/>
                    <a:pt x="2120" y="286"/>
                  </a:cubicBezTo>
                  <a:cubicBezTo>
                    <a:pt x="2112" y="286"/>
                    <a:pt x="2100" y="290"/>
                    <a:pt x="2095" y="296"/>
                  </a:cubicBezTo>
                  <a:cubicBezTo>
                    <a:pt x="2081" y="291"/>
                    <a:pt x="2068" y="313"/>
                    <a:pt x="2058" y="299"/>
                  </a:cubicBezTo>
                  <a:cubicBezTo>
                    <a:pt x="2051" y="306"/>
                    <a:pt x="2043" y="310"/>
                    <a:pt x="2032" y="309"/>
                  </a:cubicBezTo>
                  <a:cubicBezTo>
                    <a:pt x="2030" y="310"/>
                    <a:pt x="2034" y="313"/>
                    <a:pt x="2031" y="314"/>
                  </a:cubicBezTo>
                  <a:cubicBezTo>
                    <a:pt x="2019" y="311"/>
                    <a:pt x="2012" y="328"/>
                    <a:pt x="2000" y="330"/>
                  </a:cubicBezTo>
                  <a:cubicBezTo>
                    <a:pt x="1999" y="325"/>
                    <a:pt x="2011" y="325"/>
                    <a:pt x="2005" y="321"/>
                  </a:cubicBezTo>
                  <a:cubicBezTo>
                    <a:pt x="1993" y="333"/>
                    <a:pt x="1976" y="330"/>
                    <a:pt x="1964" y="336"/>
                  </a:cubicBezTo>
                  <a:cubicBezTo>
                    <a:pt x="1963" y="333"/>
                    <a:pt x="1968" y="332"/>
                    <a:pt x="1966" y="329"/>
                  </a:cubicBezTo>
                  <a:cubicBezTo>
                    <a:pt x="1963" y="331"/>
                    <a:pt x="1955" y="332"/>
                    <a:pt x="1952" y="336"/>
                  </a:cubicBezTo>
                  <a:cubicBezTo>
                    <a:pt x="1951" y="335"/>
                    <a:pt x="1949" y="334"/>
                    <a:pt x="1948" y="332"/>
                  </a:cubicBezTo>
                  <a:cubicBezTo>
                    <a:pt x="1942" y="338"/>
                    <a:pt x="1933" y="336"/>
                    <a:pt x="1923" y="338"/>
                  </a:cubicBezTo>
                  <a:cubicBezTo>
                    <a:pt x="1923" y="342"/>
                    <a:pt x="1928" y="341"/>
                    <a:pt x="1925" y="343"/>
                  </a:cubicBezTo>
                  <a:cubicBezTo>
                    <a:pt x="1919" y="346"/>
                    <a:pt x="1919" y="346"/>
                    <a:pt x="1919" y="346"/>
                  </a:cubicBezTo>
                  <a:cubicBezTo>
                    <a:pt x="1920" y="344"/>
                    <a:pt x="1918" y="341"/>
                    <a:pt x="1916" y="342"/>
                  </a:cubicBezTo>
                  <a:cubicBezTo>
                    <a:pt x="1908" y="348"/>
                    <a:pt x="1895" y="350"/>
                    <a:pt x="1890" y="359"/>
                  </a:cubicBezTo>
                  <a:cubicBezTo>
                    <a:pt x="1891" y="353"/>
                    <a:pt x="1886" y="359"/>
                    <a:pt x="1886" y="359"/>
                  </a:cubicBezTo>
                  <a:cubicBezTo>
                    <a:pt x="1886" y="359"/>
                    <a:pt x="1885" y="357"/>
                    <a:pt x="1885" y="357"/>
                  </a:cubicBezTo>
                  <a:cubicBezTo>
                    <a:pt x="1866" y="359"/>
                    <a:pt x="1840" y="385"/>
                    <a:pt x="1829" y="382"/>
                  </a:cubicBezTo>
                  <a:cubicBezTo>
                    <a:pt x="1832" y="384"/>
                    <a:pt x="1828" y="392"/>
                    <a:pt x="1823" y="390"/>
                  </a:cubicBezTo>
                  <a:cubicBezTo>
                    <a:pt x="1820" y="387"/>
                    <a:pt x="1824" y="386"/>
                    <a:pt x="1822" y="384"/>
                  </a:cubicBezTo>
                  <a:cubicBezTo>
                    <a:pt x="1798" y="398"/>
                    <a:pt x="1769" y="408"/>
                    <a:pt x="1739" y="423"/>
                  </a:cubicBezTo>
                  <a:cubicBezTo>
                    <a:pt x="1740" y="423"/>
                    <a:pt x="1742" y="422"/>
                    <a:pt x="1742" y="423"/>
                  </a:cubicBezTo>
                  <a:cubicBezTo>
                    <a:pt x="1727" y="428"/>
                    <a:pt x="1720" y="427"/>
                    <a:pt x="1709" y="435"/>
                  </a:cubicBezTo>
                  <a:cubicBezTo>
                    <a:pt x="1698" y="438"/>
                    <a:pt x="1679" y="449"/>
                    <a:pt x="1673" y="451"/>
                  </a:cubicBezTo>
                  <a:cubicBezTo>
                    <a:pt x="1674" y="451"/>
                    <a:pt x="1680" y="451"/>
                    <a:pt x="1678" y="453"/>
                  </a:cubicBezTo>
                  <a:cubicBezTo>
                    <a:pt x="1663" y="451"/>
                    <a:pt x="1653" y="455"/>
                    <a:pt x="1638" y="463"/>
                  </a:cubicBezTo>
                  <a:cubicBezTo>
                    <a:pt x="1634" y="458"/>
                    <a:pt x="1622" y="463"/>
                    <a:pt x="1625" y="469"/>
                  </a:cubicBezTo>
                  <a:cubicBezTo>
                    <a:pt x="1629" y="468"/>
                    <a:pt x="1630" y="466"/>
                    <a:pt x="1630" y="464"/>
                  </a:cubicBezTo>
                  <a:cubicBezTo>
                    <a:pt x="1632" y="465"/>
                    <a:pt x="1636" y="461"/>
                    <a:pt x="1637" y="466"/>
                  </a:cubicBezTo>
                  <a:cubicBezTo>
                    <a:pt x="1631" y="469"/>
                    <a:pt x="1615" y="478"/>
                    <a:pt x="1621" y="469"/>
                  </a:cubicBezTo>
                  <a:cubicBezTo>
                    <a:pt x="1607" y="481"/>
                    <a:pt x="1598" y="475"/>
                    <a:pt x="1584" y="485"/>
                  </a:cubicBezTo>
                  <a:cubicBezTo>
                    <a:pt x="1583" y="483"/>
                    <a:pt x="1582" y="482"/>
                    <a:pt x="1580" y="482"/>
                  </a:cubicBezTo>
                  <a:cubicBezTo>
                    <a:pt x="1578" y="480"/>
                    <a:pt x="1577" y="479"/>
                    <a:pt x="1576" y="480"/>
                  </a:cubicBezTo>
                  <a:cubicBezTo>
                    <a:pt x="1576" y="477"/>
                    <a:pt x="1578" y="477"/>
                    <a:pt x="1580" y="477"/>
                  </a:cubicBezTo>
                  <a:cubicBezTo>
                    <a:pt x="1577" y="473"/>
                    <a:pt x="1581" y="474"/>
                    <a:pt x="1580" y="471"/>
                  </a:cubicBezTo>
                  <a:cubicBezTo>
                    <a:pt x="1578" y="472"/>
                    <a:pt x="1577" y="472"/>
                    <a:pt x="1575" y="470"/>
                  </a:cubicBezTo>
                  <a:cubicBezTo>
                    <a:pt x="1576" y="469"/>
                    <a:pt x="1577" y="468"/>
                    <a:pt x="1578" y="466"/>
                  </a:cubicBezTo>
                  <a:cubicBezTo>
                    <a:pt x="1572" y="459"/>
                    <a:pt x="1572" y="456"/>
                    <a:pt x="1566" y="447"/>
                  </a:cubicBezTo>
                  <a:cubicBezTo>
                    <a:pt x="1564" y="446"/>
                    <a:pt x="1562" y="448"/>
                    <a:pt x="1559" y="445"/>
                  </a:cubicBezTo>
                  <a:cubicBezTo>
                    <a:pt x="1559" y="443"/>
                    <a:pt x="1559" y="441"/>
                    <a:pt x="1558" y="440"/>
                  </a:cubicBezTo>
                  <a:cubicBezTo>
                    <a:pt x="1565" y="437"/>
                    <a:pt x="1572" y="434"/>
                    <a:pt x="1570" y="431"/>
                  </a:cubicBezTo>
                  <a:cubicBezTo>
                    <a:pt x="1574" y="432"/>
                    <a:pt x="1582" y="431"/>
                    <a:pt x="1582" y="434"/>
                  </a:cubicBezTo>
                  <a:cubicBezTo>
                    <a:pt x="1577" y="437"/>
                    <a:pt x="1563" y="440"/>
                    <a:pt x="1563" y="445"/>
                  </a:cubicBezTo>
                  <a:cubicBezTo>
                    <a:pt x="1570" y="442"/>
                    <a:pt x="1586" y="435"/>
                    <a:pt x="1592" y="427"/>
                  </a:cubicBezTo>
                  <a:cubicBezTo>
                    <a:pt x="1586" y="429"/>
                    <a:pt x="1586" y="430"/>
                    <a:pt x="1579" y="431"/>
                  </a:cubicBezTo>
                  <a:cubicBezTo>
                    <a:pt x="1575" y="427"/>
                    <a:pt x="1565" y="431"/>
                    <a:pt x="1558" y="436"/>
                  </a:cubicBezTo>
                  <a:cubicBezTo>
                    <a:pt x="1558" y="436"/>
                    <a:pt x="1558" y="436"/>
                    <a:pt x="1558" y="435"/>
                  </a:cubicBezTo>
                  <a:cubicBezTo>
                    <a:pt x="1557" y="430"/>
                    <a:pt x="1554" y="432"/>
                    <a:pt x="1552" y="428"/>
                  </a:cubicBezTo>
                  <a:cubicBezTo>
                    <a:pt x="1555" y="427"/>
                    <a:pt x="1557" y="425"/>
                    <a:pt x="1559" y="426"/>
                  </a:cubicBezTo>
                  <a:cubicBezTo>
                    <a:pt x="1557" y="424"/>
                    <a:pt x="1558" y="423"/>
                    <a:pt x="1557" y="421"/>
                  </a:cubicBezTo>
                  <a:cubicBezTo>
                    <a:pt x="1554" y="421"/>
                    <a:pt x="1555" y="427"/>
                    <a:pt x="1552" y="424"/>
                  </a:cubicBezTo>
                  <a:cubicBezTo>
                    <a:pt x="1550" y="421"/>
                    <a:pt x="1552" y="418"/>
                    <a:pt x="1554" y="419"/>
                  </a:cubicBezTo>
                  <a:cubicBezTo>
                    <a:pt x="1552" y="412"/>
                    <a:pt x="1558" y="400"/>
                    <a:pt x="1547" y="398"/>
                  </a:cubicBezTo>
                  <a:cubicBezTo>
                    <a:pt x="1547" y="397"/>
                    <a:pt x="1547" y="396"/>
                    <a:pt x="1549" y="395"/>
                  </a:cubicBezTo>
                  <a:cubicBezTo>
                    <a:pt x="1545" y="391"/>
                    <a:pt x="1545" y="390"/>
                    <a:pt x="1541" y="388"/>
                  </a:cubicBezTo>
                  <a:cubicBezTo>
                    <a:pt x="1542" y="387"/>
                    <a:pt x="1541" y="385"/>
                    <a:pt x="1542" y="384"/>
                  </a:cubicBezTo>
                  <a:cubicBezTo>
                    <a:pt x="1544" y="382"/>
                    <a:pt x="1545" y="384"/>
                    <a:pt x="1546" y="383"/>
                  </a:cubicBezTo>
                  <a:cubicBezTo>
                    <a:pt x="1545" y="373"/>
                    <a:pt x="1532" y="360"/>
                    <a:pt x="1530" y="372"/>
                  </a:cubicBezTo>
                  <a:cubicBezTo>
                    <a:pt x="1528" y="369"/>
                    <a:pt x="1527" y="366"/>
                    <a:pt x="1528" y="364"/>
                  </a:cubicBezTo>
                  <a:cubicBezTo>
                    <a:pt x="1531" y="363"/>
                    <a:pt x="1535" y="364"/>
                    <a:pt x="1538" y="362"/>
                  </a:cubicBezTo>
                  <a:cubicBezTo>
                    <a:pt x="1550" y="369"/>
                    <a:pt x="1562" y="380"/>
                    <a:pt x="1560" y="394"/>
                  </a:cubicBezTo>
                  <a:cubicBezTo>
                    <a:pt x="1559" y="399"/>
                    <a:pt x="1555" y="398"/>
                    <a:pt x="1558" y="405"/>
                  </a:cubicBezTo>
                  <a:cubicBezTo>
                    <a:pt x="1561" y="403"/>
                    <a:pt x="1561" y="401"/>
                    <a:pt x="1565" y="402"/>
                  </a:cubicBezTo>
                  <a:cubicBezTo>
                    <a:pt x="1558" y="393"/>
                    <a:pt x="1573" y="395"/>
                    <a:pt x="1573" y="389"/>
                  </a:cubicBezTo>
                  <a:cubicBezTo>
                    <a:pt x="1575" y="390"/>
                    <a:pt x="1577" y="393"/>
                    <a:pt x="1579" y="392"/>
                  </a:cubicBezTo>
                  <a:cubicBezTo>
                    <a:pt x="1580" y="390"/>
                    <a:pt x="1579" y="388"/>
                    <a:pt x="1580" y="386"/>
                  </a:cubicBezTo>
                  <a:cubicBezTo>
                    <a:pt x="1585" y="388"/>
                    <a:pt x="1588" y="382"/>
                    <a:pt x="1595" y="379"/>
                  </a:cubicBezTo>
                  <a:cubicBezTo>
                    <a:pt x="1596" y="381"/>
                    <a:pt x="1595" y="381"/>
                    <a:pt x="1596" y="382"/>
                  </a:cubicBezTo>
                  <a:cubicBezTo>
                    <a:pt x="1602" y="375"/>
                    <a:pt x="1613" y="377"/>
                    <a:pt x="1616" y="366"/>
                  </a:cubicBezTo>
                  <a:cubicBezTo>
                    <a:pt x="1620" y="365"/>
                    <a:pt x="1623" y="367"/>
                    <a:pt x="1626" y="364"/>
                  </a:cubicBezTo>
                  <a:cubicBezTo>
                    <a:pt x="1628" y="368"/>
                    <a:pt x="1630" y="369"/>
                    <a:pt x="1632" y="371"/>
                  </a:cubicBezTo>
                  <a:cubicBezTo>
                    <a:pt x="1635" y="352"/>
                    <a:pt x="1612" y="324"/>
                    <a:pt x="1597" y="331"/>
                  </a:cubicBezTo>
                  <a:cubicBezTo>
                    <a:pt x="1584" y="327"/>
                    <a:pt x="1572" y="327"/>
                    <a:pt x="1563" y="334"/>
                  </a:cubicBezTo>
                  <a:cubicBezTo>
                    <a:pt x="1560" y="332"/>
                    <a:pt x="1561" y="330"/>
                    <a:pt x="1558" y="328"/>
                  </a:cubicBezTo>
                  <a:cubicBezTo>
                    <a:pt x="1553" y="332"/>
                    <a:pt x="1548" y="331"/>
                    <a:pt x="1544" y="328"/>
                  </a:cubicBezTo>
                  <a:cubicBezTo>
                    <a:pt x="1545" y="331"/>
                    <a:pt x="1542" y="328"/>
                    <a:pt x="1541" y="330"/>
                  </a:cubicBezTo>
                  <a:cubicBezTo>
                    <a:pt x="1543" y="331"/>
                    <a:pt x="1546" y="332"/>
                    <a:pt x="1550" y="336"/>
                  </a:cubicBezTo>
                  <a:cubicBezTo>
                    <a:pt x="1542" y="340"/>
                    <a:pt x="1543" y="349"/>
                    <a:pt x="1534" y="349"/>
                  </a:cubicBezTo>
                  <a:cubicBezTo>
                    <a:pt x="1531" y="338"/>
                    <a:pt x="1535" y="332"/>
                    <a:pt x="1528" y="320"/>
                  </a:cubicBezTo>
                  <a:cubicBezTo>
                    <a:pt x="1525" y="317"/>
                    <a:pt x="1522" y="319"/>
                    <a:pt x="1520" y="314"/>
                  </a:cubicBezTo>
                  <a:cubicBezTo>
                    <a:pt x="1518" y="315"/>
                    <a:pt x="1518" y="316"/>
                    <a:pt x="1517" y="317"/>
                  </a:cubicBezTo>
                  <a:cubicBezTo>
                    <a:pt x="1511" y="310"/>
                    <a:pt x="1505" y="314"/>
                    <a:pt x="1501" y="320"/>
                  </a:cubicBezTo>
                  <a:cubicBezTo>
                    <a:pt x="1498" y="316"/>
                    <a:pt x="1498" y="314"/>
                    <a:pt x="1496" y="316"/>
                  </a:cubicBezTo>
                  <a:cubicBezTo>
                    <a:pt x="1493" y="312"/>
                    <a:pt x="1497" y="313"/>
                    <a:pt x="1494" y="310"/>
                  </a:cubicBezTo>
                  <a:cubicBezTo>
                    <a:pt x="1494" y="310"/>
                    <a:pt x="1493" y="310"/>
                    <a:pt x="1492" y="308"/>
                  </a:cubicBezTo>
                  <a:cubicBezTo>
                    <a:pt x="1491" y="309"/>
                    <a:pt x="1490" y="310"/>
                    <a:pt x="1490" y="311"/>
                  </a:cubicBezTo>
                  <a:cubicBezTo>
                    <a:pt x="1482" y="304"/>
                    <a:pt x="1464" y="313"/>
                    <a:pt x="1465" y="295"/>
                  </a:cubicBezTo>
                  <a:cubicBezTo>
                    <a:pt x="1468" y="294"/>
                    <a:pt x="1470" y="291"/>
                    <a:pt x="1473" y="292"/>
                  </a:cubicBezTo>
                  <a:cubicBezTo>
                    <a:pt x="1470" y="284"/>
                    <a:pt x="1479" y="288"/>
                    <a:pt x="1479" y="282"/>
                  </a:cubicBezTo>
                  <a:cubicBezTo>
                    <a:pt x="1473" y="285"/>
                    <a:pt x="1470" y="283"/>
                    <a:pt x="1469" y="289"/>
                  </a:cubicBezTo>
                  <a:cubicBezTo>
                    <a:pt x="1466" y="282"/>
                    <a:pt x="1461" y="283"/>
                    <a:pt x="1463" y="278"/>
                  </a:cubicBezTo>
                  <a:cubicBezTo>
                    <a:pt x="1459" y="279"/>
                    <a:pt x="1457" y="279"/>
                    <a:pt x="1454" y="277"/>
                  </a:cubicBezTo>
                  <a:cubicBezTo>
                    <a:pt x="1456" y="275"/>
                    <a:pt x="1452" y="275"/>
                    <a:pt x="1451" y="272"/>
                  </a:cubicBezTo>
                  <a:cubicBezTo>
                    <a:pt x="1455" y="271"/>
                    <a:pt x="1454" y="267"/>
                    <a:pt x="1454" y="264"/>
                  </a:cubicBezTo>
                  <a:cubicBezTo>
                    <a:pt x="1458" y="267"/>
                    <a:pt x="1462" y="266"/>
                    <a:pt x="1467" y="265"/>
                  </a:cubicBezTo>
                  <a:cubicBezTo>
                    <a:pt x="1466" y="264"/>
                    <a:pt x="1465" y="262"/>
                    <a:pt x="1465" y="261"/>
                  </a:cubicBezTo>
                  <a:cubicBezTo>
                    <a:pt x="1468" y="263"/>
                    <a:pt x="1471" y="263"/>
                    <a:pt x="1475" y="260"/>
                  </a:cubicBezTo>
                  <a:cubicBezTo>
                    <a:pt x="1471" y="255"/>
                    <a:pt x="1471" y="251"/>
                    <a:pt x="1467" y="248"/>
                  </a:cubicBezTo>
                  <a:cubicBezTo>
                    <a:pt x="1472" y="242"/>
                    <a:pt x="1462" y="236"/>
                    <a:pt x="1462" y="229"/>
                  </a:cubicBezTo>
                  <a:cubicBezTo>
                    <a:pt x="1460" y="233"/>
                    <a:pt x="1453" y="231"/>
                    <a:pt x="1454" y="237"/>
                  </a:cubicBezTo>
                  <a:cubicBezTo>
                    <a:pt x="1451" y="235"/>
                    <a:pt x="1447" y="232"/>
                    <a:pt x="1444" y="232"/>
                  </a:cubicBezTo>
                  <a:cubicBezTo>
                    <a:pt x="1449" y="241"/>
                    <a:pt x="1437" y="241"/>
                    <a:pt x="1433" y="235"/>
                  </a:cubicBezTo>
                  <a:cubicBezTo>
                    <a:pt x="1432" y="238"/>
                    <a:pt x="1431" y="241"/>
                    <a:pt x="1429" y="244"/>
                  </a:cubicBezTo>
                  <a:cubicBezTo>
                    <a:pt x="1429" y="243"/>
                    <a:pt x="1428" y="243"/>
                    <a:pt x="1427" y="242"/>
                  </a:cubicBezTo>
                  <a:cubicBezTo>
                    <a:pt x="1426" y="237"/>
                    <a:pt x="1427" y="235"/>
                    <a:pt x="1429" y="234"/>
                  </a:cubicBezTo>
                  <a:cubicBezTo>
                    <a:pt x="1428" y="234"/>
                    <a:pt x="1427" y="234"/>
                    <a:pt x="1426" y="231"/>
                  </a:cubicBezTo>
                  <a:cubicBezTo>
                    <a:pt x="1424" y="233"/>
                    <a:pt x="1423" y="237"/>
                    <a:pt x="1420" y="233"/>
                  </a:cubicBezTo>
                  <a:cubicBezTo>
                    <a:pt x="1421" y="231"/>
                    <a:pt x="1426" y="230"/>
                    <a:pt x="1423" y="228"/>
                  </a:cubicBezTo>
                  <a:cubicBezTo>
                    <a:pt x="1420" y="233"/>
                    <a:pt x="1421" y="224"/>
                    <a:pt x="1417" y="223"/>
                  </a:cubicBezTo>
                  <a:cubicBezTo>
                    <a:pt x="1417" y="219"/>
                    <a:pt x="1421" y="220"/>
                    <a:pt x="1423" y="219"/>
                  </a:cubicBezTo>
                  <a:cubicBezTo>
                    <a:pt x="1423" y="215"/>
                    <a:pt x="1421" y="216"/>
                    <a:pt x="1421" y="214"/>
                  </a:cubicBezTo>
                  <a:cubicBezTo>
                    <a:pt x="1430" y="211"/>
                    <a:pt x="1433" y="205"/>
                    <a:pt x="1438" y="203"/>
                  </a:cubicBezTo>
                  <a:cubicBezTo>
                    <a:pt x="1435" y="204"/>
                    <a:pt x="1435" y="198"/>
                    <a:pt x="1437" y="196"/>
                  </a:cubicBezTo>
                  <a:cubicBezTo>
                    <a:pt x="1440" y="200"/>
                    <a:pt x="1440" y="193"/>
                    <a:pt x="1443" y="195"/>
                  </a:cubicBezTo>
                  <a:cubicBezTo>
                    <a:pt x="1443" y="199"/>
                    <a:pt x="1442" y="199"/>
                    <a:pt x="1439" y="200"/>
                  </a:cubicBezTo>
                  <a:cubicBezTo>
                    <a:pt x="1440" y="204"/>
                    <a:pt x="1442" y="203"/>
                    <a:pt x="1442" y="207"/>
                  </a:cubicBezTo>
                  <a:cubicBezTo>
                    <a:pt x="1446" y="207"/>
                    <a:pt x="1440" y="202"/>
                    <a:pt x="1442" y="201"/>
                  </a:cubicBezTo>
                  <a:cubicBezTo>
                    <a:pt x="1443" y="200"/>
                    <a:pt x="1444" y="199"/>
                    <a:pt x="1445" y="200"/>
                  </a:cubicBezTo>
                  <a:cubicBezTo>
                    <a:pt x="1446" y="202"/>
                    <a:pt x="1444" y="202"/>
                    <a:pt x="1446" y="204"/>
                  </a:cubicBezTo>
                  <a:cubicBezTo>
                    <a:pt x="1449" y="202"/>
                    <a:pt x="1451" y="205"/>
                    <a:pt x="1453" y="209"/>
                  </a:cubicBezTo>
                  <a:cubicBezTo>
                    <a:pt x="1455" y="208"/>
                    <a:pt x="1455" y="209"/>
                    <a:pt x="1458" y="210"/>
                  </a:cubicBezTo>
                  <a:cubicBezTo>
                    <a:pt x="1457" y="208"/>
                    <a:pt x="1456" y="208"/>
                    <a:pt x="1455" y="206"/>
                  </a:cubicBezTo>
                  <a:cubicBezTo>
                    <a:pt x="1455" y="205"/>
                    <a:pt x="1457" y="204"/>
                    <a:pt x="1457" y="202"/>
                  </a:cubicBezTo>
                  <a:cubicBezTo>
                    <a:pt x="1456" y="205"/>
                    <a:pt x="1463" y="207"/>
                    <a:pt x="1463" y="203"/>
                  </a:cubicBezTo>
                  <a:cubicBezTo>
                    <a:pt x="1461" y="202"/>
                    <a:pt x="1460" y="202"/>
                    <a:pt x="1459" y="201"/>
                  </a:cubicBezTo>
                  <a:cubicBezTo>
                    <a:pt x="1463" y="198"/>
                    <a:pt x="1467" y="203"/>
                    <a:pt x="1467" y="199"/>
                  </a:cubicBezTo>
                  <a:cubicBezTo>
                    <a:pt x="1466" y="199"/>
                    <a:pt x="1465" y="197"/>
                    <a:pt x="1464" y="196"/>
                  </a:cubicBezTo>
                  <a:cubicBezTo>
                    <a:pt x="1467" y="197"/>
                    <a:pt x="1469" y="194"/>
                    <a:pt x="1468" y="191"/>
                  </a:cubicBezTo>
                  <a:cubicBezTo>
                    <a:pt x="1466" y="192"/>
                    <a:pt x="1466" y="195"/>
                    <a:pt x="1463" y="192"/>
                  </a:cubicBezTo>
                  <a:cubicBezTo>
                    <a:pt x="1465" y="187"/>
                    <a:pt x="1454" y="179"/>
                    <a:pt x="1456" y="186"/>
                  </a:cubicBezTo>
                  <a:cubicBezTo>
                    <a:pt x="1461" y="182"/>
                    <a:pt x="1462" y="196"/>
                    <a:pt x="1459" y="187"/>
                  </a:cubicBezTo>
                  <a:cubicBezTo>
                    <a:pt x="1456" y="188"/>
                    <a:pt x="1460" y="192"/>
                    <a:pt x="1458" y="192"/>
                  </a:cubicBezTo>
                  <a:cubicBezTo>
                    <a:pt x="1449" y="181"/>
                    <a:pt x="1459" y="184"/>
                    <a:pt x="1456" y="175"/>
                  </a:cubicBezTo>
                  <a:cubicBezTo>
                    <a:pt x="1456" y="178"/>
                    <a:pt x="1454" y="181"/>
                    <a:pt x="1450" y="179"/>
                  </a:cubicBezTo>
                  <a:cubicBezTo>
                    <a:pt x="1443" y="168"/>
                    <a:pt x="1433" y="165"/>
                    <a:pt x="1428" y="169"/>
                  </a:cubicBezTo>
                  <a:cubicBezTo>
                    <a:pt x="1431" y="167"/>
                    <a:pt x="1428" y="163"/>
                    <a:pt x="1427" y="160"/>
                  </a:cubicBezTo>
                  <a:cubicBezTo>
                    <a:pt x="1424" y="162"/>
                    <a:pt x="1423" y="159"/>
                    <a:pt x="1419" y="154"/>
                  </a:cubicBezTo>
                  <a:cubicBezTo>
                    <a:pt x="1418" y="157"/>
                    <a:pt x="1418" y="158"/>
                    <a:pt x="1414" y="157"/>
                  </a:cubicBezTo>
                  <a:cubicBezTo>
                    <a:pt x="1414" y="159"/>
                    <a:pt x="1417" y="163"/>
                    <a:pt x="1415" y="164"/>
                  </a:cubicBezTo>
                  <a:cubicBezTo>
                    <a:pt x="1413" y="165"/>
                    <a:pt x="1408" y="166"/>
                    <a:pt x="1408" y="161"/>
                  </a:cubicBezTo>
                  <a:cubicBezTo>
                    <a:pt x="1406" y="164"/>
                    <a:pt x="1400" y="164"/>
                    <a:pt x="1403" y="171"/>
                  </a:cubicBezTo>
                  <a:cubicBezTo>
                    <a:pt x="1404" y="171"/>
                    <a:pt x="1405" y="171"/>
                    <a:pt x="1406" y="171"/>
                  </a:cubicBezTo>
                  <a:cubicBezTo>
                    <a:pt x="1404" y="173"/>
                    <a:pt x="1404" y="173"/>
                    <a:pt x="1404" y="173"/>
                  </a:cubicBezTo>
                  <a:cubicBezTo>
                    <a:pt x="1414" y="179"/>
                    <a:pt x="1408" y="193"/>
                    <a:pt x="1400" y="186"/>
                  </a:cubicBezTo>
                  <a:cubicBezTo>
                    <a:pt x="1401" y="186"/>
                    <a:pt x="1405" y="183"/>
                    <a:pt x="1402" y="183"/>
                  </a:cubicBezTo>
                  <a:cubicBezTo>
                    <a:pt x="1401" y="185"/>
                    <a:pt x="1399" y="184"/>
                    <a:pt x="1398" y="181"/>
                  </a:cubicBezTo>
                  <a:cubicBezTo>
                    <a:pt x="1400" y="182"/>
                    <a:pt x="1401" y="179"/>
                    <a:pt x="1400" y="176"/>
                  </a:cubicBezTo>
                  <a:cubicBezTo>
                    <a:pt x="1397" y="179"/>
                    <a:pt x="1395" y="176"/>
                    <a:pt x="1393" y="175"/>
                  </a:cubicBezTo>
                  <a:cubicBezTo>
                    <a:pt x="1393" y="182"/>
                    <a:pt x="1384" y="184"/>
                    <a:pt x="1382" y="191"/>
                  </a:cubicBezTo>
                  <a:cubicBezTo>
                    <a:pt x="1381" y="190"/>
                    <a:pt x="1380" y="190"/>
                    <a:pt x="1379" y="189"/>
                  </a:cubicBezTo>
                  <a:cubicBezTo>
                    <a:pt x="1380" y="188"/>
                    <a:pt x="1381" y="187"/>
                    <a:pt x="1380" y="185"/>
                  </a:cubicBezTo>
                  <a:cubicBezTo>
                    <a:pt x="1375" y="187"/>
                    <a:pt x="1377" y="191"/>
                    <a:pt x="1374" y="194"/>
                  </a:cubicBezTo>
                  <a:cubicBezTo>
                    <a:pt x="1371" y="191"/>
                    <a:pt x="1368" y="191"/>
                    <a:pt x="1372" y="195"/>
                  </a:cubicBezTo>
                  <a:cubicBezTo>
                    <a:pt x="1369" y="197"/>
                    <a:pt x="1367" y="197"/>
                    <a:pt x="1364" y="192"/>
                  </a:cubicBezTo>
                  <a:cubicBezTo>
                    <a:pt x="1364" y="195"/>
                    <a:pt x="1363" y="193"/>
                    <a:pt x="1361" y="194"/>
                  </a:cubicBezTo>
                  <a:cubicBezTo>
                    <a:pt x="1360" y="193"/>
                    <a:pt x="1360" y="191"/>
                    <a:pt x="1362" y="190"/>
                  </a:cubicBezTo>
                  <a:cubicBezTo>
                    <a:pt x="1361" y="189"/>
                    <a:pt x="1361" y="190"/>
                    <a:pt x="1360" y="190"/>
                  </a:cubicBezTo>
                  <a:cubicBezTo>
                    <a:pt x="1360" y="189"/>
                    <a:pt x="1360" y="189"/>
                    <a:pt x="1360" y="188"/>
                  </a:cubicBezTo>
                  <a:cubicBezTo>
                    <a:pt x="1362" y="187"/>
                    <a:pt x="1362" y="187"/>
                    <a:pt x="1362" y="187"/>
                  </a:cubicBezTo>
                  <a:cubicBezTo>
                    <a:pt x="1362" y="190"/>
                    <a:pt x="1363" y="189"/>
                    <a:pt x="1364" y="192"/>
                  </a:cubicBezTo>
                  <a:cubicBezTo>
                    <a:pt x="1368" y="187"/>
                    <a:pt x="1365" y="188"/>
                    <a:pt x="1368" y="185"/>
                  </a:cubicBezTo>
                  <a:cubicBezTo>
                    <a:pt x="1365" y="186"/>
                    <a:pt x="1363" y="183"/>
                    <a:pt x="1361" y="184"/>
                  </a:cubicBezTo>
                  <a:cubicBezTo>
                    <a:pt x="1360" y="182"/>
                    <a:pt x="1362" y="182"/>
                    <a:pt x="1361" y="180"/>
                  </a:cubicBezTo>
                  <a:cubicBezTo>
                    <a:pt x="1356" y="178"/>
                    <a:pt x="1360" y="185"/>
                    <a:pt x="1359" y="188"/>
                  </a:cubicBezTo>
                  <a:cubicBezTo>
                    <a:pt x="1355" y="190"/>
                    <a:pt x="1355" y="190"/>
                    <a:pt x="1355" y="190"/>
                  </a:cubicBezTo>
                  <a:cubicBezTo>
                    <a:pt x="1354" y="188"/>
                    <a:pt x="1353" y="186"/>
                    <a:pt x="1352" y="186"/>
                  </a:cubicBezTo>
                  <a:cubicBezTo>
                    <a:pt x="1354" y="190"/>
                    <a:pt x="1355" y="192"/>
                    <a:pt x="1355" y="195"/>
                  </a:cubicBezTo>
                  <a:cubicBezTo>
                    <a:pt x="1354" y="196"/>
                    <a:pt x="1352" y="192"/>
                    <a:pt x="1351" y="193"/>
                  </a:cubicBezTo>
                  <a:cubicBezTo>
                    <a:pt x="1352" y="194"/>
                    <a:pt x="1351" y="195"/>
                    <a:pt x="1350" y="195"/>
                  </a:cubicBezTo>
                  <a:cubicBezTo>
                    <a:pt x="1350" y="198"/>
                    <a:pt x="1351" y="204"/>
                    <a:pt x="1354" y="201"/>
                  </a:cubicBezTo>
                  <a:cubicBezTo>
                    <a:pt x="1354" y="198"/>
                    <a:pt x="1350" y="198"/>
                    <a:pt x="1352" y="197"/>
                  </a:cubicBezTo>
                  <a:cubicBezTo>
                    <a:pt x="1354" y="195"/>
                    <a:pt x="1355" y="198"/>
                    <a:pt x="1357" y="200"/>
                  </a:cubicBezTo>
                  <a:cubicBezTo>
                    <a:pt x="1357" y="203"/>
                    <a:pt x="1350" y="203"/>
                    <a:pt x="1348" y="205"/>
                  </a:cubicBezTo>
                  <a:cubicBezTo>
                    <a:pt x="1349" y="205"/>
                    <a:pt x="1351" y="207"/>
                    <a:pt x="1349" y="208"/>
                  </a:cubicBezTo>
                  <a:cubicBezTo>
                    <a:pt x="1346" y="205"/>
                    <a:pt x="1348" y="204"/>
                    <a:pt x="1346" y="201"/>
                  </a:cubicBezTo>
                  <a:cubicBezTo>
                    <a:pt x="1342" y="202"/>
                    <a:pt x="1343" y="205"/>
                    <a:pt x="1341" y="207"/>
                  </a:cubicBezTo>
                  <a:cubicBezTo>
                    <a:pt x="1340" y="206"/>
                    <a:pt x="1339" y="206"/>
                    <a:pt x="1338" y="204"/>
                  </a:cubicBezTo>
                  <a:cubicBezTo>
                    <a:pt x="1339" y="201"/>
                    <a:pt x="1332" y="213"/>
                    <a:pt x="1331" y="216"/>
                  </a:cubicBezTo>
                  <a:cubicBezTo>
                    <a:pt x="1330" y="215"/>
                    <a:pt x="1330" y="215"/>
                    <a:pt x="1329" y="214"/>
                  </a:cubicBezTo>
                  <a:cubicBezTo>
                    <a:pt x="1330" y="212"/>
                    <a:pt x="1328" y="208"/>
                    <a:pt x="1328" y="206"/>
                  </a:cubicBezTo>
                  <a:cubicBezTo>
                    <a:pt x="1329" y="204"/>
                    <a:pt x="1334" y="207"/>
                    <a:pt x="1333" y="203"/>
                  </a:cubicBezTo>
                  <a:cubicBezTo>
                    <a:pt x="1330" y="205"/>
                    <a:pt x="1327" y="203"/>
                    <a:pt x="1325" y="202"/>
                  </a:cubicBezTo>
                  <a:cubicBezTo>
                    <a:pt x="1328" y="200"/>
                    <a:pt x="1323" y="196"/>
                    <a:pt x="1324" y="191"/>
                  </a:cubicBezTo>
                  <a:cubicBezTo>
                    <a:pt x="1326" y="191"/>
                    <a:pt x="1335" y="196"/>
                    <a:pt x="1333" y="194"/>
                  </a:cubicBezTo>
                  <a:cubicBezTo>
                    <a:pt x="1332" y="194"/>
                    <a:pt x="1331" y="193"/>
                    <a:pt x="1331" y="192"/>
                  </a:cubicBezTo>
                  <a:cubicBezTo>
                    <a:pt x="1334" y="189"/>
                    <a:pt x="1341" y="192"/>
                    <a:pt x="1339" y="185"/>
                  </a:cubicBezTo>
                  <a:cubicBezTo>
                    <a:pt x="1337" y="187"/>
                    <a:pt x="1334" y="189"/>
                    <a:pt x="1331" y="189"/>
                  </a:cubicBezTo>
                  <a:cubicBezTo>
                    <a:pt x="1330" y="186"/>
                    <a:pt x="1331" y="184"/>
                    <a:pt x="1333" y="183"/>
                  </a:cubicBezTo>
                  <a:cubicBezTo>
                    <a:pt x="1339" y="183"/>
                    <a:pt x="1339" y="183"/>
                    <a:pt x="1339" y="183"/>
                  </a:cubicBezTo>
                  <a:cubicBezTo>
                    <a:pt x="1339" y="179"/>
                    <a:pt x="1332" y="174"/>
                    <a:pt x="1334" y="170"/>
                  </a:cubicBezTo>
                  <a:cubicBezTo>
                    <a:pt x="1331" y="171"/>
                    <a:pt x="1326" y="170"/>
                    <a:pt x="1326" y="173"/>
                  </a:cubicBezTo>
                  <a:cubicBezTo>
                    <a:pt x="1328" y="172"/>
                    <a:pt x="1329" y="174"/>
                    <a:pt x="1331" y="175"/>
                  </a:cubicBezTo>
                  <a:cubicBezTo>
                    <a:pt x="1328" y="186"/>
                    <a:pt x="1318" y="171"/>
                    <a:pt x="1315" y="166"/>
                  </a:cubicBezTo>
                  <a:cubicBezTo>
                    <a:pt x="1313" y="166"/>
                    <a:pt x="1311" y="166"/>
                    <a:pt x="1308" y="165"/>
                  </a:cubicBezTo>
                  <a:cubicBezTo>
                    <a:pt x="1306" y="160"/>
                    <a:pt x="1313" y="160"/>
                    <a:pt x="1310" y="155"/>
                  </a:cubicBezTo>
                  <a:cubicBezTo>
                    <a:pt x="1307" y="154"/>
                    <a:pt x="1310" y="160"/>
                    <a:pt x="1307" y="158"/>
                  </a:cubicBezTo>
                  <a:cubicBezTo>
                    <a:pt x="1309" y="154"/>
                    <a:pt x="1302" y="151"/>
                    <a:pt x="1306" y="148"/>
                  </a:cubicBezTo>
                  <a:cubicBezTo>
                    <a:pt x="1308" y="152"/>
                    <a:pt x="1308" y="152"/>
                    <a:pt x="1308" y="152"/>
                  </a:cubicBezTo>
                  <a:cubicBezTo>
                    <a:pt x="1313" y="151"/>
                    <a:pt x="1304" y="143"/>
                    <a:pt x="1306" y="140"/>
                  </a:cubicBezTo>
                  <a:cubicBezTo>
                    <a:pt x="1307" y="140"/>
                    <a:pt x="1311" y="140"/>
                    <a:pt x="1309" y="137"/>
                  </a:cubicBezTo>
                  <a:cubicBezTo>
                    <a:pt x="1307" y="134"/>
                    <a:pt x="1305" y="140"/>
                    <a:pt x="1304" y="135"/>
                  </a:cubicBezTo>
                  <a:cubicBezTo>
                    <a:pt x="1303" y="133"/>
                    <a:pt x="1306" y="133"/>
                    <a:pt x="1305" y="132"/>
                  </a:cubicBezTo>
                  <a:cubicBezTo>
                    <a:pt x="1302" y="132"/>
                    <a:pt x="1304" y="128"/>
                    <a:pt x="1302" y="126"/>
                  </a:cubicBezTo>
                  <a:cubicBezTo>
                    <a:pt x="1299" y="127"/>
                    <a:pt x="1297" y="129"/>
                    <a:pt x="1294" y="125"/>
                  </a:cubicBezTo>
                  <a:cubicBezTo>
                    <a:pt x="1298" y="131"/>
                    <a:pt x="1294" y="130"/>
                    <a:pt x="1298" y="133"/>
                  </a:cubicBezTo>
                  <a:cubicBezTo>
                    <a:pt x="1296" y="132"/>
                    <a:pt x="1293" y="132"/>
                    <a:pt x="1293" y="128"/>
                  </a:cubicBezTo>
                  <a:cubicBezTo>
                    <a:pt x="1286" y="133"/>
                    <a:pt x="1279" y="134"/>
                    <a:pt x="1274" y="139"/>
                  </a:cubicBezTo>
                  <a:cubicBezTo>
                    <a:pt x="1271" y="136"/>
                    <a:pt x="1268" y="136"/>
                    <a:pt x="1265" y="132"/>
                  </a:cubicBezTo>
                  <a:cubicBezTo>
                    <a:pt x="1263" y="129"/>
                    <a:pt x="1267" y="129"/>
                    <a:pt x="1266" y="127"/>
                  </a:cubicBezTo>
                  <a:cubicBezTo>
                    <a:pt x="1265" y="127"/>
                    <a:pt x="1265" y="126"/>
                    <a:pt x="1265" y="125"/>
                  </a:cubicBezTo>
                  <a:cubicBezTo>
                    <a:pt x="1262" y="125"/>
                    <a:pt x="1258" y="123"/>
                    <a:pt x="1255" y="122"/>
                  </a:cubicBezTo>
                  <a:cubicBezTo>
                    <a:pt x="1261" y="122"/>
                    <a:pt x="1255" y="116"/>
                    <a:pt x="1259" y="113"/>
                  </a:cubicBezTo>
                  <a:cubicBezTo>
                    <a:pt x="1261" y="117"/>
                    <a:pt x="1267" y="114"/>
                    <a:pt x="1267" y="111"/>
                  </a:cubicBezTo>
                  <a:cubicBezTo>
                    <a:pt x="1262" y="109"/>
                    <a:pt x="1260" y="114"/>
                    <a:pt x="1257" y="110"/>
                  </a:cubicBezTo>
                  <a:cubicBezTo>
                    <a:pt x="1259" y="109"/>
                    <a:pt x="1263" y="107"/>
                    <a:pt x="1261" y="103"/>
                  </a:cubicBezTo>
                  <a:cubicBezTo>
                    <a:pt x="1257" y="105"/>
                    <a:pt x="1253" y="102"/>
                    <a:pt x="1250" y="101"/>
                  </a:cubicBezTo>
                  <a:cubicBezTo>
                    <a:pt x="1251" y="99"/>
                    <a:pt x="1264" y="100"/>
                    <a:pt x="1263" y="95"/>
                  </a:cubicBezTo>
                  <a:cubicBezTo>
                    <a:pt x="1257" y="96"/>
                    <a:pt x="1252" y="93"/>
                    <a:pt x="1247" y="87"/>
                  </a:cubicBezTo>
                  <a:cubicBezTo>
                    <a:pt x="1244" y="87"/>
                    <a:pt x="1245" y="92"/>
                    <a:pt x="1243" y="90"/>
                  </a:cubicBezTo>
                  <a:cubicBezTo>
                    <a:pt x="1247" y="88"/>
                    <a:pt x="1237" y="85"/>
                    <a:pt x="1239" y="89"/>
                  </a:cubicBezTo>
                  <a:cubicBezTo>
                    <a:pt x="1241" y="88"/>
                    <a:pt x="1244" y="94"/>
                    <a:pt x="1241" y="95"/>
                  </a:cubicBezTo>
                  <a:cubicBezTo>
                    <a:pt x="1241" y="92"/>
                    <a:pt x="1238" y="90"/>
                    <a:pt x="1236" y="88"/>
                  </a:cubicBezTo>
                  <a:cubicBezTo>
                    <a:pt x="1231" y="91"/>
                    <a:pt x="1227" y="94"/>
                    <a:pt x="1226" y="99"/>
                  </a:cubicBezTo>
                  <a:cubicBezTo>
                    <a:pt x="1228" y="97"/>
                    <a:pt x="1230" y="100"/>
                    <a:pt x="1230" y="96"/>
                  </a:cubicBezTo>
                  <a:cubicBezTo>
                    <a:pt x="1235" y="100"/>
                    <a:pt x="1236" y="104"/>
                    <a:pt x="1241" y="105"/>
                  </a:cubicBezTo>
                  <a:cubicBezTo>
                    <a:pt x="1238" y="107"/>
                    <a:pt x="1238" y="106"/>
                    <a:pt x="1237" y="110"/>
                  </a:cubicBezTo>
                  <a:cubicBezTo>
                    <a:pt x="1235" y="108"/>
                    <a:pt x="1237" y="105"/>
                    <a:pt x="1235" y="107"/>
                  </a:cubicBezTo>
                  <a:cubicBezTo>
                    <a:pt x="1235" y="114"/>
                    <a:pt x="1229" y="114"/>
                    <a:pt x="1225" y="112"/>
                  </a:cubicBezTo>
                  <a:cubicBezTo>
                    <a:pt x="1222" y="116"/>
                    <a:pt x="1214" y="131"/>
                    <a:pt x="1208" y="122"/>
                  </a:cubicBezTo>
                  <a:cubicBezTo>
                    <a:pt x="1207" y="123"/>
                    <a:pt x="1207" y="124"/>
                    <a:pt x="1207" y="125"/>
                  </a:cubicBezTo>
                  <a:cubicBezTo>
                    <a:pt x="1205" y="127"/>
                    <a:pt x="1209" y="124"/>
                    <a:pt x="1210" y="128"/>
                  </a:cubicBezTo>
                  <a:cubicBezTo>
                    <a:pt x="1209" y="128"/>
                    <a:pt x="1209" y="129"/>
                    <a:pt x="1209" y="130"/>
                  </a:cubicBezTo>
                  <a:cubicBezTo>
                    <a:pt x="1207" y="129"/>
                    <a:pt x="1202" y="125"/>
                    <a:pt x="1203" y="127"/>
                  </a:cubicBezTo>
                  <a:cubicBezTo>
                    <a:pt x="1204" y="134"/>
                    <a:pt x="1192" y="140"/>
                    <a:pt x="1190" y="147"/>
                  </a:cubicBezTo>
                  <a:cubicBezTo>
                    <a:pt x="1188" y="145"/>
                    <a:pt x="1183" y="146"/>
                    <a:pt x="1183" y="148"/>
                  </a:cubicBezTo>
                  <a:cubicBezTo>
                    <a:pt x="1183" y="148"/>
                    <a:pt x="1187" y="150"/>
                    <a:pt x="1185" y="151"/>
                  </a:cubicBezTo>
                  <a:cubicBezTo>
                    <a:pt x="1184" y="153"/>
                    <a:pt x="1180" y="149"/>
                    <a:pt x="1182" y="153"/>
                  </a:cubicBezTo>
                  <a:cubicBezTo>
                    <a:pt x="1182" y="153"/>
                    <a:pt x="1183" y="153"/>
                    <a:pt x="1182" y="154"/>
                  </a:cubicBezTo>
                  <a:cubicBezTo>
                    <a:pt x="1179" y="155"/>
                    <a:pt x="1176" y="150"/>
                    <a:pt x="1173" y="148"/>
                  </a:cubicBezTo>
                  <a:cubicBezTo>
                    <a:pt x="1171" y="145"/>
                    <a:pt x="1173" y="140"/>
                    <a:pt x="1170" y="139"/>
                  </a:cubicBezTo>
                  <a:cubicBezTo>
                    <a:pt x="1170" y="144"/>
                    <a:pt x="1159" y="141"/>
                    <a:pt x="1155" y="138"/>
                  </a:cubicBezTo>
                  <a:cubicBezTo>
                    <a:pt x="1157" y="135"/>
                    <a:pt x="1156" y="128"/>
                    <a:pt x="1162" y="129"/>
                  </a:cubicBezTo>
                  <a:cubicBezTo>
                    <a:pt x="1160" y="124"/>
                    <a:pt x="1161" y="122"/>
                    <a:pt x="1163" y="120"/>
                  </a:cubicBezTo>
                  <a:cubicBezTo>
                    <a:pt x="1163" y="123"/>
                    <a:pt x="1166" y="124"/>
                    <a:pt x="1167" y="124"/>
                  </a:cubicBezTo>
                  <a:cubicBezTo>
                    <a:pt x="1164" y="119"/>
                    <a:pt x="1164" y="117"/>
                    <a:pt x="1166" y="120"/>
                  </a:cubicBezTo>
                  <a:cubicBezTo>
                    <a:pt x="1163" y="115"/>
                    <a:pt x="1169" y="117"/>
                    <a:pt x="1166" y="114"/>
                  </a:cubicBezTo>
                  <a:cubicBezTo>
                    <a:pt x="1161" y="113"/>
                    <a:pt x="1164" y="119"/>
                    <a:pt x="1159" y="118"/>
                  </a:cubicBezTo>
                  <a:cubicBezTo>
                    <a:pt x="1160" y="111"/>
                    <a:pt x="1168" y="111"/>
                    <a:pt x="1164" y="101"/>
                  </a:cubicBezTo>
                  <a:cubicBezTo>
                    <a:pt x="1168" y="99"/>
                    <a:pt x="1170" y="99"/>
                    <a:pt x="1173" y="98"/>
                  </a:cubicBezTo>
                  <a:cubicBezTo>
                    <a:pt x="1169" y="96"/>
                    <a:pt x="1176" y="94"/>
                    <a:pt x="1176" y="92"/>
                  </a:cubicBezTo>
                  <a:cubicBezTo>
                    <a:pt x="1174" y="87"/>
                    <a:pt x="1172" y="90"/>
                    <a:pt x="1170" y="85"/>
                  </a:cubicBezTo>
                  <a:cubicBezTo>
                    <a:pt x="1168" y="87"/>
                    <a:pt x="1167" y="91"/>
                    <a:pt x="1165" y="87"/>
                  </a:cubicBezTo>
                  <a:cubicBezTo>
                    <a:pt x="1168" y="83"/>
                    <a:pt x="1172" y="84"/>
                    <a:pt x="1174" y="80"/>
                  </a:cubicBezTo>
                  <a:cubicBezTo>
                    <a:pt x="1172" y="79"/>
                    <a:pt x="1175" y="74"/>
                    <a:pt x="1175" y="72"/>
                  </a:cubicBezTo>
                  <a:cubicBezTo>
                    <a:pt x="1174" y="72"/>
                    <a:pt x="1173" y="71"/>
                    <a:pt x="1173" y="69"/>
                  </a:cubicBezTo>
                  <a:cubicBezTo>
                    <a:pt x="1171" y="70"/>
                    <a:pt x="1169" y="69"/>
                    <a:pt x="1168" y="68"/>
                  </a:cubicBezTo>
                  <a:cubicBezTo>
                    <a:pt x="1170" y="65"/>
                    <a:pt x="1165" y="66"/>
                    <a:pt x="1164" y="63"/>
                  </a:cubicBezTo>
                  <a:cubicBezTo>
                    <a:pt x="1163" y="61"/>
                    <a:pt x="1167" y="61"/>
                    <a:pt x="1164" y="58"/>
                  </a:cubicBezTo>
                  <a:cubicBezTo>
                    <a:pt x="1162" y="58"/>
                    <a:pt x="1157" y="58"/>
                    <a:pt x="1159" y="62"/>
                  </a:cubicBezTo>
                  <a:cubicBezTo>
                    <a:pt x="1163" y="60"/>
                    <a:pt x="1164" y="69"/>
                    <a:pt x="1163" y="73"/>
                  </a:cubicBezTo>
                  <a:cubicBezTo>
                    <a:pt x="1158" y="68"/>
                    <a:pt x="1155" y="77"/>
                    <a:pt x="1148" y="70"/>
                  </a:cubicBezTo>
                  <a:cubicBezTo>
                    <a:pt x="1149" y="72"/>
                    <a:pt x="1149" y="74"/>
                    <a:pt x="1149" y="76"/>
                  </a:cubicBezTo>
                  <a:cubicBezTo>
                    <a:pt x="1144" y="76"/>
                    <a:pt x="1141" y="76"/>
                    <a:pt x="1140" y="69"/>
                  </a:cubicBezTo>
                  <a:cubicBezTo>
                    <a:pt x="1138" y="70"/>
                    <a:pt x="1137" y="69"/>
                    <a:pt x="1135" y="68"/>
                  </a:cubicBezTo>
                  <a:cubicBezTo>
                    <a:pt x="1135" y="66"/>
                    <a:pt x="1140" y="63"/>
                    <a:pt x="1142" y="66"/>
                  </a:cubicBezTo>
                  <a:cubicBezTo>
                    <a:pt x="1144" y="65"/>
                    <a:pt x="1143" y="63"/>
                    <a:pt x="1146" y="64"/>
                  </a:cubicBezTo>
                  <a:cubicBezTo>
                    <a:pt x="1146" y="61"/>
                    <a:pt x="1145" y="58"/>
                    <a:pt x="1145" y="55"/>
                  </a:cubicBezTo>
                  <a:cubicBezTo>
                    <a:pt x="1150" y="55"/>
                    <a:pt x="1147" y="51"/>
                    <a:pt x="1151" y="51"/>
                  </a:cubicBezTo>
                  <a:cubicBezTo>
                    <a:pt x="1147" y="43"/>
                    <a:pt x="1147" y="43"/>
                    <a:pt x="1147" y="43"/>
                  </a:cubicBezTo>
                  <a:cubicBezTo>
                    <a:pt x="1144" y="43"/>
                    <a:pt x="1146" y="49"/>
                    <a:pt x="1143" y="46"/>
                  </a:cubicBezTo>
                  <a:cubicBezTo>
                    <a:pt x="1145" y="43"/>
                    <a:pt x="1143" y="37"/>
                    <a:pt x="1140" y="35"/>
                  </a:cubicBezTo>
                  <a:cubicBezTo>
                    <a:pt x="1140" y="33"/>
                    <a:pt x="1141" y="33"/>
                    <a:pt x="1143" y="34"/>
                  </a:cubicBezTo>
                  <a:cubicBezTo>
                    <a:pt x="1140" y="32"/>
                    <a:pt x="1137" y="28"/>
                    <a:pt x="1138" y="25"/>
                  </a:cubicBezTo>
                  <a:cubicBezTo>
                    <a:pt x="1136" y="26"/>
                    <a:pt x="1134" y="26"/>
                    <a:pt x="1133" y="23"/>
                  </a:cubicBezTo>
                  <a:cubicBezTo>
                    <a:pt x="1131" y="24"/>
                    <a:pt x="1132" y="25"/>
                    <a:pt x="1130" y="26"/>
                  </a:cubicBezTo>
                  <a:cubicBezTo>
                    <a:pt x="1129" y="24"/>
                    <a:pt x="1128" y="23"/>
                    <a:pt x="1127" y="22"/>
                  </a:cubicBezTo>
                  <a:cubicBezTo>
                    <a:pt x="1129" y="20"/>
                    <a:pt x="1127" y="15"/>
                    <a:pt x="1125" y="9"/>
                  </a:cubicBezTo>
                  <a:cubicBezTo>
                    <a:pt x="1125" y="9"/>
                    <a:pt x="1124" y="9"/>
                    <a:pt x="1123" y="8"/>
                  </a:cubicBezTo>
                  <a:cubicBezTo>
                    <a:pt x="1122" y="12"/>
                    <a:pt x="1118" y="6"/>
                    <a:pt x="1119" y="12"/>
                  </a:cubicBezTo>
                  <a:cubicBezTo>
                    <a:pt x="1115" y="8"/>
                    <a:pt x="1115" y="6"/>
                    <a:pt x="1114" y="3"/>
                  </a:cubicBezTo>
                  <a:cubicBezTo>
                    <a:pt x="1116" y="4"/>
                    <a:pt x="1117" y="3"/>
                    <a:pt x="1116" y="0"/>
                  </a:cubicBezTo>
                  <a:cubicBezTo>
                    <a:pt x="1113" y="2"/>
                    <a:pt x="1111" y="4"/>
                    <a:pt x="1111" y="9"/>
                  </a:cubicBezTo>
                  <a:cubicBezTo>
                    <a:pt x="1110" y="9"/>
                    <a:pt x="1105" y="9"/>
                    <a:pt x="1106" y="5"/>
                  </a:cubicBezTo>
                  <a:cubicBezTo>
                    <a:pt x="1103" y="3"/>
                    <a:pt x="1101" y="4"/>
                    <a:pt x="1100" y="7"/>
                  </a:cubicBezTo>
                  <a:cubicBezTo>
                    <a:pt x="1098" y="2"/>
                    <a:pt x="1094" y="7"/>
                    <a:pt x="1094" y="2"/>
                  </a:cubicBezTo>
                  <a:cubicBezTo>
                    <a:pt x="1091" y="2"/>
                    <a:pt x="1096" y="7"/>
                    <a:pt x="1094" y="8"/>
                  </a:cubicBezTo>
                  <a:cubicBezTo>
                    <a:pt x="1087" y="5"/>
                    <a:pt x="1077" y="13"/>
                    <a:pt x="1073" y="23"/>
                  </a:cubicBezTo>
                  <a:cubicBezTo>
                    <a:pt x="1073" y="22"/>
                    <a:pt x="1074" y="22"/>
                    <a:pt x="1075" y="23"/>
                  </a:cubicBezTo>
                  <a:cubicBezTo>
                    <a:pt x="1068" y="27"/>
                    <a:pt x="1054" y="22"/>
                    <a:pt x="1056" y="35"/>
                  </a:cubicBezTo>
                  <a:cubicBezTo>
                    <a:pt x="1053" y="35"/>
                    <a:pt x="1055" y="31"/>
                    <a:pt x="1053" y="31"/>
                  </a:cubicBezTo>
                  <a:cubicBezTo>
                    <a:pt x="1053" y="32"/>
                    <a:pt x="1052" y="33"/>
                    <a:pt x="1051" y="32"/>
                  </a:cubicBezTo>
                  <a:cubicBezTo>
                    <a:pt x="1051" y="31"/>
                    <a:pt x="1051" y="31"/>
                    <a:pt x="1050" y="29"/>
                  </a:cubicBezTo>
                  <a:cubicBezTo>
                    <a:pt x="1053" y="29"/>
                    <a:pt x="1054" y="29"/>
                    <a:pt x="1052" y="25"/>
                  </a:cubicBezTo>
                  <a:cubicBezTo>
                    <a:pt x="1041" y="30"/>
                    <a:pt x="1029" y="37"/>
                    <a:pt x="1020" y="41"/>
                  </a:cubicBezTo>
                  <a:cubicBezTo>
                    <a:pt x="1018" y="42"/>
                    <a:pt x="1018" y="47"/>
                    <a:pt x="1014" y="43"/>
                  </a:cubicBezTo>
                  <a:cubicBezTo>
                    <a:pt x="1015" y="46"/>
                    <a:pt x="1016" y="45"/>
                    <a:pt x="1017" y="46"/>
                  </a:cubicBezTo>
                  <a:cubicBezTo>
                    <a:pt x="1017" y="48"/>
                    <a:pt x="1017" y="50"/>
                    <a:pt x="1016" y="51"/>
                  </a:cubicBezTo>
                  <a:cubicBezTo>
                    <a:pt x="1012" y="48"/>
                    <a:pt x="1007" y="53"/>
                    <a:pt x="1006" y="58"/>
                  </a:cubicBezTo>
                  <a:cubicBezTo>
                    <a:pt x="994" y="59"/>
                    <a:pt x="992" y="71"/>
                    <a:pt x="983" y="69"/>
                  </a:cubicBezTo>
                  <a:cubicBezTo>
                    <a:pt x="980" y="76"/>
                    <a:pt x="961" y="75"/>
                    <a:pt x="960" y="87"/>
                  </a:cubicBezTo>
                  <a:cubicBezTo>
                    <a:pt x="959" y="87"/>
                    <a:pt x="958" y="88"/>
                    <a:pt x="957" y="86"/>
                  </a:cubicBezTo>
                  <a:cubicBezTo>
                    <a:pt x="954" y="87"/>
                    <a:pt x="959" y="92"/>
                    <a:pt x="955" y="93"/>
                  </a:cubicBezTo>
                  <a:cubicBezTo>
                    <a:pt x="954" y="94"/>
                    <a:pt x="953" y="90"/>
                    <a:pt x="951" y="91"/>
                  </a:cubicBezTo>
                  <a:cubicBezTo>
                    <a:pt x="951" y="95"/>
                    <a:pt x="949" y="96"/>
                    <a:pt x="951" y="97"/>
                  </a:cubicBezTo>
                  <a:cubicBezTo>
                    <a:pt x="948" y="97"/>
                    <a:pt x="946" y="94"/>
                    <a:pt x="943" y="94"/>
                  </a:cubicBezTo>
                  <a:cubicBezTo>
                    <a:pt x="945" y="101"/>
                    <a:pt x="939" y="97"/>
                    <a:pt x="937" y="97"/>
                  </a:cubicBezTo>
                  <a:cubicBezTo>
                    <a:pt x="930" y="106"/>
                    <a:pt x="915" y="111"/>
                    <a:pt x="908" y="126"/>
                  </a:cubicBezTo>
                  <a:cubicBezTo>
                    <a:pt x="911" y="125"/>
                    <a:pt x="915" y="122"/>
                    <a:pt x="914" y="128"/>
                  </a:cubicBezTo>
                  <a:cubicBezTo>
                    <a:pt x="914" y="121"/>
                    <a:pt x="920" y="122"/>
                    <a:pt x="919" y="114"/>
                  </a:cubicBezTo>
                  <a:cubicBezTo>
                    <a:pt x="923" y="117"/>
                    <a:pt x="927" y="112"/>
                    <a:pt x="927" y="107"/>
                  </a:cubicBezTo>
                  <a:cubicBezTo>
                    <a:pt x="931" y="108"/>
                    <a:pt x="931" y="108"/>
                    <a:pt x="933" y="105"/>
                  </a:cubicBezTo>
                  <a:cubicBezTo>
                    <a:pt x="934" y="108"/>
                    <a:pt x="935" y="107"/>
                    <a:pt x="937" y="108"/>
                  </a:cubicBezTo>
                  <a:cubicBezTo>
                    <a:pt x="936" y="117"/>
                    <a:pt x="928" y="116"/>
                    <a:pt x="923" y="123"/>
                  </a:cubicBezTo>
                  <a:cubicBezTo>
                    <a:pt x="933" y="122"/>
                    <a:pt x="937" y="118"/>
                    <a:pt x="944" y="112"/>
                  </a:cubicBezTo>
                  <a:cubicBezTo>
                    <a:pt x="945" y="115"/>
                    <a:pt x="947" y="116"/>
                    <a:pt x="948" y="116"/>
                  </a:cubicBezTo>
                  <a:cubicBezTo>
                    <a:pt x="947" y="106"/>
                    <a:pt x="963" y="102"/>
                    <a:pt x="968" y="105"/>
                  </a:cubicBezTo>
                  <a:cubicBezTo>
                    <a:pt x="972" y="99"/>
                    <a:pt x="974" y="91"/>
                    <a:pt x="981" y="95"/>
                  </a:cubicBezTo>
                  <a:cubicBezTo>
                    <a:pt x="979" y="93"/>
                    <a:pt x="986" y="82"/>
                    <a:pt x="990" y="88"/>
                  </a:cubicBezTo>
                  <a:cubicBezTo>
                    <a:pt x="991" y="89"/>
                    <a:pt x="989" y="90"/>
                    <a:pt x="989" y="91"/>
                  </a:cubicBezTo>
                  <a:cubicBezTo>
                    <a:pt x="992" y="92"/>
                    <a:pt x="993" y="84"/>
                    <a:pt x="998" y="89"/>
                  </a:cubicBezTo>
                  <a:cubicBezTo>
                    <a:pt x="995" y="79"/>
                    <a:pt x="1011" y="83"/>
                    <a:pt x="1011" y="72"/>
                  </a:cubicBezTo>
                  <a:cubicBezTo>
                    <a:pt x="1013" y="72"/>
                    <a:pt x="1015" y="74"/>
                    <a:pt x="1016" y="77"/>
                  </a:cubicBezTo>
                  <a:cubicBezTo>
                    <a:pt x="1018" y="73"/>
                    <a:pt x="1019" y="73"/>
                    <a:pt x="1022" y="67"/>
                  </a:cubicBezTo>
                  <a:cubicBezTo>
                    <a:pt x="1032" y="77"/>
                    <a:pt x="1039" y="55"/>
                    <a:pt x="1048" y="63"/>
                  </a:cubicBezTo>
                  <a:cubicBezTo>
                    <a:pt x="1041" y="70"/>
                    <a:pt x="1024" y="80"/>
                    <a:pt x="1017" y="94"/>
                  </a:cubicBezTo>
                  <a:cubicBezTo>
                    <a:pt x="1020" y="89"/>
                    <a:pt x="1028" y="92"/>
                    <a:pt x="1027" y="84"/>
                  </a:cubicBezTo>
                  <a:cubicBezTo>
                    <a:pt x="1030" y="91"/>
                    <a:pt x="1034" y="83"/>
                    <a:pt x="1037" y="88"/>
                  </a:cubicBezTo>
                  <a:cubicBezTo>
                    <a:pt x="1030" y="90"/>
                    <a:pt x="1024" y="103"/>
                    <a:pt x="1016" y="96"/>
                  </a:cubicBezTo>
                  <a:cubicBezTo>
                    <a:pt x="1018" y="100"/>
                    <a:pt x="1021" y="98"/>
                    <a:pt x="1023" y="101"/>
                  </a:cubicBezTo>
                  <a:cubicBezTo>
                    <a:pt x="1018" y="105"/>
                    <a:pt x="1009" y="98"/>
                    <a:pt x="1008" y="110"/>
                  </a:cubicBezTo>
                  <a:cubicBezTo>
                    <a:pt x="1007" y="106"/>
                    <a:pt x="1007" y="107"/>
                    <a:pt x="1004" y="105"/>
                  </a:cubicBezTo>
                  <a:cubicBezTo>
                    <a:pt x="999" y="110"/>
                    <a:pt x="991" y="113"/>
                    <a:pt x="987" y="114"/>
                  </a:cubicBezTo>
                  <a:cubicBezTo>
                    <a:pt x="984" y="115"/>
                    <a:pt x="979" y="113"/>
                    <a:pt x="977" y="114"/>
                  </a:cubicBezTo>
                  <a:cubicBezTo>
                    <a:pt x="975" y="116"/>
                    <a:pt x="975" y="119"/>
                    <a:pt x="973" y="120"/>
                  </a:cubicBezTo>
                  <a:cubicBezTo>
                    <a:pt x="971" y="121"/>
                    <a:pt x="963" y="121"/>
                    <a:pt x="966" y="120"/>
                  </a:cubicBezTo>
                  <a:cubicBezTo>
                    <a:pt x="962" y="121"/>
                    <a:pt x="957" y="122"/>
                    <a:pt x="956" y="128"/>
                  </a:cubicBezTo>
                  <a:cubicBezTo>
                    <a:pt x="954" y="122"/>
                    <a:pt x="950" y="132"/>
                    <a:pt x="948" y="127"/>
                  </a:cubicBezTo>
                  <a:cubicBezTo>
                    <a:pt x="945" y="129"/>
                    <a:pt x="948" y="133"/>
                    <a:pt x="943" y="134"/>
                  </a:cubicBezTo>
                  <a:cubicBezTo>
                    <a:pt x="941" y="132"/>
                    <a:pt x="938" y="130"/>
                    <a:pt x="936" y="131"/>
                  </a:cubicBezTo>
                  <a:cubicBezTo>
                    <a:pt x="931" y="137"/>
                    <a:pt x="928" y="145"/>
                    <a:pt x="918" y="146"/>
                  </a:cubicBezTo>
                  <a:cubicBezTo>
                    <a:pt x="918" y="147"/>
                    <a:pt x="920" y="149"/>
                    <a:pt x="919" y="150"/>
                  </a:cubicBezTo>
                  <a:cubicBezTo>
                    <a:pt x="913" y="154"/>
                    <a:pt x="912" y="164"/>
                    <a:pt x="904" y="158"/>
                  </a:cubicBezTo>
                  <a:cubicBezTo>
                    <a:pt x="905" y="166"/>
                    <a:pt x="898" y="161"/>
                    <a:pt x="895" y="163"/>
                  </a:cubicBezTo>
                  <a:cubicBezTo>
                    <a:pt x="892" y="165"/>
                    <a:pt x="888" y="177"/>
                    <a:pt x="883" y="169"/>
                  </a:cubicBezTo>
                  <a:cubicBezTo>
                    <a:pt x="883" y="171"/>
                    <a:pt x="885" y="174"/>
                    <a:pt x="883" y="176"/>
                  </a:cubicBezTo>
                  <a:cubicBezTo>
                    <a:pt x="881" y="172"/>
                    <a:pt x="879" y="174"/>
                    <a:pt x="877" y="173"/>
                  </a:cubicBezTo>
                  <a:cubicBezTo>
                    <a:pt x="880" y="183"/>
                    <a:pt x="868" y="180"/>
                    <a:pt x="868" y="185"/>
                  </a:cubicBezTo>
                  <a:cubicBezTo>
                    <a:pt x="857" y="182"/>
                    <a:pt x="855" y="197"/>
                    <a:pt x="846" y="197"/>
                  </a:cubicBezTo>
                  <a:cubicBezTo>
                    <a:pt x="845" y="196"/>
                    <a:pt x="844" y="193"/>
                    <a:pt x="843" y="195"/>
                  </a:cubicBezTo>
                  <a:cubicBezTo>
                    <a:pt x="844" y="197"/>
                    <a:pt x="847" y="199"/>
                    <a:pt x="845" y="201"/>
                  </a:cubicBezTo>
                  <a:cubicBezTo>
                    <a:pt x="842" y="204"/>
                    <a:pt x="840" y="201"/>
                    <a:pt x="837" y="202"/>
                  </a:cubicBezTo>
                  <a:cubicBezTo>
                    <a:pt x="838" y="204"/>
                    <a:pt x="840" y="204"/>
                    <a:pt x="839" y="207"/>
                  </a:cubicBezTo>
                  <a:cubicBezTo>
                    <a:pt x="836" y="206"/>
                    <a:pt x="826" y="207"/>
                    <a:pt x="828" y="212"/>
                  </a:cubicBezTo>
                  <a:cubicBezTo>
                    <a:pt x="818" y="217"/>
                    <a:pt x="810" y="220"/>
                    <a:pt x="805" y="226"/>
                  </a:cubicBezTo>
                  <a:cubicBezTo>
                    <a:pt x="801" y="222"/>
                    <a:pt x="796" y="230"/>
                    <a:pt x="792" y="231"/>
                  </a:cubicBezTo>
                  <a:cubicBezTo>
                    <a:pt x="789" y="232"/>
                    <a:pt x="787" y="229"/>
                    <a:pt x="784" y="229"/>
                  </a:cubicBezTo>
                  <a:cubicBezTo>
                    <a:pt x="781" y="229"/>
                    <a:pt x="778" y="234"/>
                    <a:pt x="774" y="235"/>
                  </a:cubicBezTo>
                  <a:cubicBezTo>
                    <a:pt x="765" y="238"/>
                    <a:pt x="764" y="242"/>
                    <a:pt x="756" y="245"/>
                  </a:cubicBezTo>
                  <a:cubicBezTo>
                    <a:pt x="754" y="243"/>
                    <a:pt x="758" y="243"/>
                    <a:pt x="756" y="241"/>
                  </a:cubicBezTo>
                  <a:cubicBezTo>
                    <a:pt x="753" y="242"/>
                    <a:pt x="755" y="246"/>
                    <a:pt x="753" y="248"/>
                  </a:cubicBezTo>
                  <a:cubicBezTo>
                    <a:pt x="750" y="246"/>
                    <a:pt x="745" y="254"/>
                    <a:pt x="744" y="247"/>
                  </a:cubicBezTo>
                  <a:cubicBezTo>
                    <a:pt x="739" y="249"/>
                    <a:pt x="743" y="255"/>
                    <a:pt x="740" y="257"/>
                  </a:cubicBezTo>
                  <a:cubicBezTo>
                    <a:pt x="738" y="258"/>
                    <a:pt x="736" y="254"/>
                    <a:pt x="734" y="256"/>
                  </a:cubicBezTo>
                  <a:cubicBezTo>
                    <a:pt x="735" y="259"/>
                    <a:pt x="735" y="261"/>
                    <a:pt x="732" y="262"/>
                  </a:cubicBezTo>
                  <a:cubicBezTo>
                    <a:pt x="731" y="261"/>
                    <a:pt x="730" y="261"/>
                    <a:pt x="730" y="259"/>
                  </a:cubicBezTo>
                  <a:cubicBezTo>
                    <a:pt x="724" y="270"/>
                    <a:pt x="718" y="263"/>
                    <a:pt x="708" y="268"/>
                  </a:cubicBezTo>
                  <a:cubicBezTo>
                    <a:pt x="710" y="270"/>
                    <a:pt x="712" y="273"/>
                    <a:pt x="709" y="273"/>
                  </a:cubicBezTo>
                  <a:cubicBezTo>
                    <a:pt x="707" y="269"/>
                    <a:pt x="700" y="271"/>
                    <a:pt x="696" y="271"/>
                  </a:cubicBezTo>
                  <a:cubicBezTo>
                    <a:pt x="698" y="275"/>
                    <a:pt x="701" y="269"/>
                    <a:pt x="702" y="274"/>
                  </a:cubicBezTo>
                  <a:cubicBezTo>
                    <a:pt x="699" y="275"/>
                    <a:pt x="697" y="273"/>
                    <a:pt x="699" y="278"/>
                  </a:cubicBezTo>
                  <a:cubicBezTo>
                    <a:pt x="697" y="276"/>
                    <a:pt x="697" y="274"/>
                    <a:pt x="693" y="274"/>
                  </a:cubicBezTo>
                  <a:cubicBezTo>
                    <a:pt x="695" y="277"/>
                    <a:pt x="697" y="280"/>
                    <a:pt x="695" y="281"/>
                  </a:cubicBezTo>
                  <a:cubicBezTo>
                    <a:pt x="693" y="277"/>
                    <a:pt x="692" y="279"/>
                    <a:pt x="691" y="276"/>
                  </a:cubicBezTo>
                  <a:cubicBezTo>
                    <a:pt x="684" y="289"/>
                    <a:pt x="664" y="289"/>
                    <a:pt x="651" y="304"/>
                  </a:cubicBezTo>
                  <a:cubicBezTo>
                    <a:pt x="644" y="306"/>
                    <a:pt x="631" y="307"/>
                    <a:pt x="628" y="317"/>
                  </a:cubicBezTo>
                  <a:cubicBezTo>
                    <a:pt x="618" y="318"/>
                    <a:pt x="614" y="325"/>
                    <a:pt x="605" y="331"/>
                  </a:cubicBezTo>
                  <a:cubicBezTo>
                    <a:pt x="602" y="330"/>
                    <a:pt x="600" y="329"/>
                    <a:pt x="599" y="332"/>
                  </a:cubicBezTo>
                  <a:cubicBezTo>
                    <a:pt x="600" y="332"/>
                    <a:pt x="600" y="334"/>
                    <a:pt x="600" y="335"/>
                  </a:cubicBezTo>
                  <a:cubicBezTo>
                    <a:pt x="598" y="334"/>
                    <a:pt x="595" y="333"/>
                    <a:pt x="593" y="333"/>
                  </a:cubicBezTo>
                  <a:cubicBezTo>
                    <a:pt x="594" y="334"/>
                    <a:pt x="593" y="336"/>
                    <a:pt x="592" y="337"/>
                  </a:cubicBezTo>
                  <a:cubicBezTo>
                    <a:pt x="584" y="329"/>
                    <a:pt x="588" y="348"/>
                    <a:pt x="578" y="342"/>
                  </a:cubicBezTo>
                  <a:cubicBezTo>
                    <a:pt x="575" y="356"/>
                    <a:pt x="552" y="352"/>
                    <a:pt x="553" y="369"/>
                  </a:cubicBezTo>
                  <a:cubicBezTo>
                    <a:pt x="557" y="368"/>
                    <a:pt x="553" y="360"/>
                    <a:pt x="558" y="363"/>
                  </a:cubicBezTo>
                  <a:cubicBezTo>
                    <a:pt x="560" y="378"/>
                    <a:pt x="549" y="374"/>
                    <a:pt x="543" y="385"/>
                  </a:cubicBezTo>
                  <a:cubicBezTo>
                    <a:pt x="544" y="386"/>
                    <a:pt x="545" y="387"/>
                    <a:pt x="545" y="388"/>
                  </a:cubicBezTo>
                  <a:cubicBezTo>
                    <a:pt x="544" y="393"/>
                    <a:pt x="537" y="396"/>
                    <a:pt x="533" y="393"/>
                  </a:cubicBezTo>
                  <a:cubicBezTo>
                    <a:pt x="532" y="402"/>
                    <a:pt x="518" y="401"/>
                    <a:pt x="512" y="407"/>
                  </a:cubicBezTo>
                  <a:cubicBezTo>
                    <a:pt x="509" y="403"/>
                    <a:pt x="508" y="404"/>
                    <a:pt x="510" y="408"/>
                  </a:cubicBezTo>
                  <a:cubicBezTo>
                    <a:pt x="508" y="407"/>
                    <a:pt x="507" y="403"/>
                    <a:pt x="505" y="403"/>
                  </a:cubicBezTo>
                  <a:cubicBezTo>
                    <a:pt x="507" y="411"/>
                    <a:pt x="493" y="405"/>
                    <a:pt x="495" y="415"/>
                  </a:cubicBezTo>
                  <a:cubicBezTo>
                    <a:pt x="488" y="411"/>
                    <a:pt x="484" y="418"/>
                    <a:pt x="479" y="417"/>
                  </a:cubicBezTo>
                  <a:cubicBezTo>
                    <a:pt x="481" y="423"/>
                    <a:pt x="474" y="426"/>
                    <a:pt x="470" y="427"/>
                  </a:cubicBezTo>
                  <a:cubicBezTo>
                    <a:pt x="471" y="429"/>
                    <a:pt x="472" y="429"/>
                    <a:pt x="473" y="431"/>
                  </a:cubicBezTo>
                  <a:cubicBezTo>
                    <a:pt x="471" y="432"/>
                    <a:pt x="474" y="435"/>
                    <a:pt x="472" y="436"/>
                  </a:cubicBezTo>
                  <a:cubicBezTo>
                    <a:pt x="469" y="440"/>
                    <a:pt x="466" y="435"/>
                    <a:pt x="465" y="439"/>
                  </a:cubicBezTo>
                  <a:cubicBezTo>
                    <a:pt x="465" y="438"/>
                    <a:pt x="462" y="432"/>
                    <a:pt x="463" y="436"/>
                  </a:cubicBezTo>
                  <a:cubicBezTo>
                    <a:pt x="467" y="444"/>
                    <a:pt x="461" y="449"/>
                    <a:pt x="456" y="450"/>
                  </a:cubicBezTo>
                  <a:cubicBezTo>
                    <a:pt x="459" y="454"/>
                    <a:pt x="452" y="450"/>
                    <a:pt x="453" y="454"/>
                  </a:cubicBezTo>
                  <a:cubicBezTo>
                    <a:pt x="455" y="457"/>
                    <a:pt x="457" y="457"/>
                    <a:pt x="460" y="458"/>
                  </a:cubicBezTo>
                  <a:cubicBezTo>
                    <a:pt x="459" y="456"/>
                    <a:pt x="459" y="455"/>
                    <a:pt x="459" y="454"/>
                  </a:cubicBezTo>
                  <a:cubicBezTo>
                    <a:pt x="463" y="454"/>
                    <a:pt x="467" y="457"/>
                    <a:pt x="471" y="457"/>
                  </a:cubicBezTo>
                  <a:cubicBezTo>
                    <a:pt x="469" y="458"/>
                    <a:pt x="466" y="459"/>
                    <a:pt x="468" y="462"/>
                  </a:cubicBezTo>
                  <a:cubicBezTo>
                    <a:pt x="474" y="458"/>
                    <a:pt x="475" y="456"/>
                    <a:pt x="482" y="452"/>
                  </a:cubicBezTo>
                  <a:cubicBezTo>
                    <a:pt x="483" y="456"/>
                    <a:pt x="485" y="454"/>
                    <a:pt x="487" y="456"/>
                  </a:cubicBezTo>
                  <a:cubicBezTo>
                    <a:pt x="489" y="454"/>
                    <a:pt x="488" y="451"/>
                    <a:pt x="490" y="448"/>
                  </a:cubicBezTo>
                  <a:cubicBezTo>
                    <a:pt x="496" y="452"/>
                    <a:pt x="501" y="444"/>
                    <a:pt x="509" y="447"/>
                  </a:cubicBezTo>
                  <a:cubicBezTo>
                    <a:pt x="511" y="444"/>
                    <a:pt x="512" y="436"/>
                    <a:pt x="517" y="442"/>
                  </a:cubicBezTo>
                  <a:cubicBezTo>
                    <a:pt x="520" y="441"/>
                    <a:pt x="517" y="438"/>
                    <a:pt x="519" y="437"/>
                  </a:cubicBezTo>
                  <a:cubicBezTo>
                    <a:pt x="521" y="436"/>
                    <a:pt x="522" y="443"/>
                    <a:pt x="524" y="442"/>
                  </a:cubicBezTo>
                  <a:cubicBezTo>
                    <a:pt x="523" y="439"/>
                    <a:pt x="526" y="440"/>
                    <a:pt x="525" y="436"/>
                  </a:cubicBezTo>
                  <a:cubicBezTo>
                    <a:pt x="529" y="439"/>
                    <a:pt x="533" y="437"/>
                    <a:pt x="536" y="441"/>
                  </a:cubicBezTo>
                  <a:cubicBezTo>
                    <a:pt x="535" y="443"/>
                    <a:pt x="530" y="449"/>
                    <a:pt x="536" y="452"/>
                  </a:cubicBezTo>
                  <a:cubicBezTo>
                    <a:pt x="533" y="437"/>
                    <a:pt x="546" y="434"/>
                    <a:pt x="554" y="443"/>
                  </a:cubicBezTo>
                  <a:cubicBezTo>
                    <a:pt x="557" y="441"/>
                    <a:pt x="551" y="440"/>
                    <a:pt x="553" y="439"/>
                  </a:cubicBezTo>
                  <a:cubicBezTo>
                    <a:pt x="556" y="440"/>
                    <a:pt x="559" y="441"/>
                    <a:pt x="562" y="446"/>
                  </a:cubicBezTo>
                  <a:cubicBezTo>
                    <a:pt x="559" y="448"/>
                    <a:pt x="559" y="448"/>
                    <a:pt x="559" y="448"/>
                  </a:cubicBezTo>
                  <a:cubicBezTo>
                    <a:pt x="565" y="459"/>
                    <a:pt x="568" y="454"/>
                    <a:pt x="573" y="452"/>
                  </a:cubicBezTo>
                  <a:cubicBezTo>
                    <a:pt x="576" y="463"/>
                    <a:pt x="567" y="461"/>
                    <a:pt x="560" y="464"/>
                  </a:cubicBezTo>
                  <a:cubicBezTo>
                    <a:pt x="561" y="469"/>
                    <a:pt x="562" y="468"/>
                    <a:pt x="564" y="469"/>
                  </a:cubicBezTo>
                  <a:cubicBezTo>
                    <a:pt x="563" y="478"/>
                    <a:pt x="549" y="470"/>
                    <a:pt x="549" y="482"/>
                  </a:cubicBezTo>
                  <a:cubicBezTo>
                    <a:pt x="551" y="481"/>
                    <a:pt x="554" y="481"/>
                    <a:pt x="557" y="481"/>
                  </a:cubicBezTo>
                  <a:cubicBezTo>
                    <a:pt x="544" y="488"/>
                    <a:pt x="536" y="489"/>
                    <a:pt x="524" y="497"/>
                  </a:cubicBezTo>
                  <a:cubicBezTo>
                    <a:pt x="523" y="496"/>
                    <a:pt x="524" y="495"/>
                    <a:pt x="523" y="493"/>
                  </a:cubicBezTo>
                  <a:cubicBezTo>
                    <a:pt x="520" y="496"/>
                    <a:pt x="522" y="500"/>
                    <a:pt x="519" y="502"/>
                  </a:cubicBezTo>
                  <a:cubicBezTo>
                    <a:pt x="518" y="501"/>
                    <a:pt x="517" y="499"/>
                    <a:pt x="516" y="499"/>
                  </a:cubicBezTo>
                  <a:cubicBezTo>
                    <a:pt x="517" y="501"/>
                    <a:pt x="515" y="501"/>
                    <a:pt x="514" y="501"/>
                  </a:cubicBezTo>
                  <a:cubicBezTo>
                    <a:pt x="515" y="505"/>
                    <a:pt x="517" y="501"/>
                    <a:pt x="518" y="504"/>
                  </a:cubicBezTo>
                  <a:cubicBezTo>
                    <a:pt x="517" y="511"/>
                    <a:pt x="508" y="509"/>
                    <a:pt x="505" y="517"/>
                  </a:cubicBezTo>
                  <a:cubicBezTo>
                    <a:pt x="501" y="514"/>
                    <a:pt x="498" y="517"/>
                    <a:pt x="495" y="515"/>
                  </a:cubicBezTo>
                  <a:cubicBezTo>
                    <a:pt x="497" y="521"/>
                    <a:pt x="500" y="522"/>
                    <a:pt x="498" y="526"/>
                  </a:cubicBezTo>
                  <a:cubicBezTo>
                    <a:pt x="494" y="521"/>
                    <a:pt x="487" y="518"/>
                    <a:pt x="490" y="512"/>
                  </a:cubicBezTo>
                  <a:cubicBezTo>
                    <a:pt x="489" y="513"/>
                    <a:pt x="488" y="509"/>
                    <a:pt x="487" y="510"/>
                  </a:cubicBezTo>
                  <a:cubicBezTo>
                    <a:pt x="490" y="515"/>
                    <a:pt x="485" y="517"/>
                    <a:pt x="481" y="519"/>
                  </a:cubicBezTo>
                  <a:cubicBezTo>
                    <a:pt x="485" y="524"/>
                    <a:pt x="480" y="527"/>
                    <a:pt x="477" y="524"/>
                  </a:cubicBezTo>
                  <a:cubicBezTo>
                    <a:pt x="478" y="527"/>
                    <a:pt x="478" y="529"/>
                    <a:pt x="475" y="530"/>
                  </a:cubicBezTo>
                  <a:cubicBezTo>
                    <a:pt x="469" y="526"/>
                    <a:pt x="474" y="523"/>
                    <a:pt x="473" y="521"/>
                  </a:cubicBezTo>
                  <a:cubicBezTo>
                    <a:pt x="471" y="523"/>
                    <a:pt x="466" y="523"/>
                    <a:pt x="467" y="526"/>
                  </a:cubicBezTo>
                  <a:cubicBezTo>
                    <a:pt x="472" y="525"/>
                    <a:pt x="464" y="530"/>
                    <a:pt x="471" y="533"/>
                  </a:cubicBezTo>
                  <a:cubicBezTo>
                    <a:pt x="472" y="532"/>
                    <a:pt x="470" y="530"/>
                    <a:pt x="472" y="528"/>
                  </a:cubicBezTo>
                  <a:cubicBezTo>
                    <a:pt x="475" y="532"/>
                    <a:pt x="474" y="534"/>
                    <a:pt x="473" y="536"/>
                  </a:cubicBezTo>
                  <a:cubicBezTo>
                    <a:pt x="469" y="537"/>
                    <a:pt x="465" y="529"/>
                    <a:pt x="464" y="528"/>
                  </a:cubicBezTo>
                  <a:cubicBezTo>
                    <a:pt x="463" y="531"/>
                    <a:pt x="457" y="528"/>
                    <a:pt x="458" y="535"/>
                  </a:cubicBezTo>
                  <a:cubicBezTo>
                    <a:pt x="460" y="530"/>
                    <a:pt x="468" y="531"/>
                    <a:pt x="468" y="538"/>
                  </a:cubicBezTo>
                  <a:cubicBezTo>
                    <a:pt x="466" y="540"/>
                    <a:pt x="465" y="534"/>
                    <a:pt x="464" y="534"/>
                  </a:cubicBezTo>
                  <a:cubicBezTo>
                    <a:pt x="463" y="537"/>
                    <a:pt x="459" y="542"/>
                    <a:pt x="457" y="534"/>
                  </a:cubicBezTo>
                  <a:cubicBezTo>
                    <a:pt x="454" y="538"/>
                    <a:pt x="456" y="540"/>
                    <a:pt x="460" y="543"/>
                  </a:cubicBezTo>
                  <a:cubicBezTo>
                    <a:pt x="457" y="545"/>
                    <a:pt x="455" y="541"/>
                    <a:pt x="455" y="538"/>
                  </a:cubicBezTo>
                  <a:cubicBezTo>
                    <a:pt x="454" y="540"/>
                    <a:pt x="452" y="537"/>
                    <a:pt x="451" y="538"/>
                  </a:cubicBezTo>
                  <a:cubicBezTo>
                    <a:pt x="451" y="542"/>
                    <a:pt x="456" y="543"/>
                    <a:pt x="456" y="547"/>
                  </a:cubicBezTo>
                  <a:cubicBezTo>
                    <a:pt x="454" y="547"/>
                    <a:pt x="453" y="545"/>
                    <a:pt x="451" y="543"/>
                  </a:cubicBezTo>
                  <a:cubicBezTo>
                    <a:pt x="449" y="546"/>
                    <a:pt x="450" y="550"/>
                    <a:pt x="446" y="551"/>
                  </a:cubicBezTo>
                  <a:cubicBezTo>
                    <a:pt x="440" y="545"/>
                    <a:pt x="441" y="554"/>
                    <a:pt x="435" y="549"/>
                  </a:cubicBezTo>
                  <a:cubicBezTo>
                    <a:pt x="437" y="552"/>
                    <a:pt x="438" y="552"/>
                    <a:pt x="437" y="554"/>
                  </a:cubicBezTo>
                  <a:cubicBezTo>
                    <a:pt x="435" y="555"/>
                    <a:pt x="434" y="550"/>
                    <a:pt x="432" y="551"/>
                  </a:cubicBezTo>
                  <a:cubicBezTo>
                    <a:pt x="434" y="554"/>
                    <a:pt x="435" y="556"/>
                    <a:pt x="434" y="557"/>
                  </a:cubicBezTo>
                  <a:cubicBezTo>
                    <a:pt x="433" y="557"/>
                    <a:pt x="433" y="556"/>
                    <a:pt x="432" y="557"/>
                  </a:cubicBezTo>
                  <a:cubicBezTo>
                    <a:pt x="431" y="555"/>
                    <a:pt x="434" y="555"/>
                    <a:pt x="432" y="552"/>
                  </a:cubicBezTo>
                  <a:cubicBezTo>
                    <a:pt x="425" y="561"/>
                    <a:pt x="423" y="563"/>
                    <a:pt x="413" y="558"/>
                  </a:cubicBezTo>
                  <a:cubicBezTo>
                    <a:pt x="414" y="564"/>
                    <a:pt x="409" y="564"/>
                    <a:pt x="406" y="564"/>
                  </a:cubicBezTo>
                  <a:cubicBezTo>
                    <a:pt x="409" y="567"/>
                    <a:pt x="407" y="568"/>
                    <a:pt x="408" y="570"/>
                  </a:cubicBezTo>
                  <a:cubicBezTo>
                    <a:pt x="411" y="567"/>
                    <a:pt x="411" y="572"/>
                    <a:pt x="412" y="575"/>
                  </a:cubicBezTo>
                  <a:cubicBezTo>
                    <a:pt x="416" y="575"/>
                    <a:pt x="416" y="573"/>
                    <a:pt x="420" y="573"/>
                  </a:cubicBezTo>
                  <a:cubicBezTo>
                    <a:pt x="418" y="570"/>
                    <a:pt x="421" y="569"/>
                    <a:pt x="421" y="566"/>
                  </a:cubicBezTo>
                  <a:cubicBezTo>
                    <a:pt x="423" y="569"/>
                    <a:pt x="425" y="569"/>
                    <a:pt x="427" y="570"/>
                  </a:cubicBezTo>
                  <a:cubicBezTo>
                    <a:pt x="426" y="567"/>
                    <a:pt x="431" y="563"/>
                    <a:pt x="432" y="564"/>
                  </a:cubicBezTo>
                  <a:cubicBezTo>
                    <a:pt x="433" y="568"/>
                    <a:pt x="426" y="567"/>
                    <a:pt x="430" y="572"/>
                  </a:cubicBezTo>
                  <a:cubicBezTo>
                    <a:pt x="432" y="567"/>
                    <a:pt x="434" y="571"/>
                    <a:pt x="433" y="575"/>
                  </a:cubicBezTo>
                  <a:cubicBezTo>
                    <a:pt x="443" y="570"/>
                    <a:pt x="442" y="570"/>
                    <a:pt x="450" y="564"/>
                  </a:cubicBezTo>
                  <a:cubicBezTo>
                    <a:pt x="451" y="567"/>
                    <a:pt x="450" y="570"/>
                    <a:pt x="453" y="571"/>
                  </a:cubicBezTo>
                  <a:cubicBezTo>
                    <a:pt x="450" y="565"/>
                    <a:pt x="460" y="569"/>
                    <a:pt x="463" y="568"/>
                  </a:cubicBezTo>
                  <a:cubicBezTo>
                    <a:pt x="462" y="569"/>
                    <a:pt x="460" y="569"/>
                    <a:pt x="461" y="571"/>
                  </a:cubicBezTo>
                  <a:cubicBezTo>
                    <a:pt x="464" y="574"/>
                    <a:pt x="463" y="569"/>
                    <a:pt x="466" y="572"/>
                  </a:cubicBezTo>
                  <a:cubicBezTo>
                    <a:pt x="465" y="573"/>
                    <a:pt x="467" y="574"/>
                    <a:pt x="468" y="574"/>
                  </a:cubicBezTo>
                  <a:cubicBezTo>
                    <a:pt x="467" y="570"/>
                    <a:pt x="466" y="569"/>
                    <a:pt x="466" y="567"/>
                  </a:cubicBezTo>
                  <a:cubicBezTo>
                    <a:pt x="472" y="564"/>
                    <a:pt x="484" y="561"/>
                    <a:pt x="492" y="570"/>
                  </a:cubicBezTo>
                  <a:cubicBezTo>
                    <a:pt x="487" y="568"/>
                    <a:pt x="488" y="576"/>
                    <a:pt x="481" y="574"/>
                  </a:cubicBezTo>
                  <a:cubicBezTo>
                    <a:pt x="483" y="576"/>
                    <a:pt x="481" y="577"/>
                    <a:pt x="484" y="580"/>
                  </a:cubicBezTo>
                  <a:cubicBezTo>
                    <a:pt x="489" y="579"/>
                    <a:pt x="492" y="577"/>
                    <a:pt x="499" y="577"/>
                  </a:cubicBezTo>
                  <a:cubicBezTo>
                    <a:pt x="499" y="579"/>
                    <a:pt x="500" y="580"/>
                    <a:pt x="502" y="579"/>
                  </a:cubicBezTo>
                  <a:cubicBezTo>
                    <a:pt x="501" y="578"/>
                    <a:pt x="500" y="577"/>
                    <a:pt x="502" y="576"/>
                  </a:cubicBezTo>
                  <a:cubicBezTo>
                    <a:pt x="502" y="578"/>
                    <a:pt x="502" y="580"/>
                    <a:pt x="504" y="579"/>
                  </a:cubicBezTo>
                  <a:cubicBezTo>
                    <a:pt x="503" y="577"/>
                    <a:pt x="506" y="574"/>
                    <a:pt x="507" y="576"/>
                  </a:cubicBezTo>
                  <a:cubicBezTo>
                    <a:pt x="503" y="579"/>
                    <a:pt x="511" y="583"/>
                    <a:pt x="509" y="587"/>
                  </a:cubicBezTo>
                  <a:cubicBezTo>
                    <a:pt x="506" y="589"/>
                    <a:pt x="503" y="582"/>
                    <a:pt x="503" y="585"/>
                  </a:cubicBezTo>
                  <a:cubicBezTo>
                    <a:pt x="504" y="585"/>
                    <a:pt x="504" y="589"/>
                    <a:pt x="507" y="588"/>
                  </a:cubicBezTo>
                  <a:cubicBezTo>
                    <a:pt x="506" y="590"/>
                    <a:pt x="505" y="595"/>
                    <a:pt x="502" y="593"/>
                  </a:cubicBezTo>
                  <a:cubicBezTo>
                    <a:pt x="502" y="589"/>
                    <a:pt x="499" y="586"/>
                    <a:pt x="497" y="587"/>
                  </a:cubicBezTo>
                  <a:cubicBezTo>
                    <a:pt x="501" y="590"/>
                    <a:pt x="501" y="593"/>
                    <a:pt x="502" y="596"/>
                  </a:cubicBezTo>
                  <a:cubicBezTo>
                    <a:pt x="499" y="598"/>
                    <a:pt x="495" y="602"/>
                    <a:pt x="492" y="597"/>
                  </a:cubicBezTo>
                  <a:cubicBezTo>
                    <a:pt x="493" y="596"/>
                    <a:pt x="492" y="594"/>
                    <a:pt x="491" y="592"/>
                  </a:cubicBezTo>
                  <a:cubicBezTo>
                    <a:pt x="487" y="592"/>
                    <a:pt x="493" y="596"/>
                    <a:pt x="491" y="597"/>
                  </a:cubicBezTo>
                  <a:cubicBezTo>
                    <a:pt x="490" y="598"/>
                    <a:pt x="488" y="598"/>
                    <a:pt x="489" y="600"/>
                  </a:cubicBezTo>
                  <a:cubicBezTo>
                    <a:pt x="492" y="601"/>
                    <a:pt x="491" y="596"/>
                    <a:pt x="493" y="600"/>
                  </a:cubicBezTo>
                  <a:cubicBezTo>
                    <a:pt x="490" y="600"/>
                    <a:pt x="492" y="603"/>
                    <a:pt x="489" y="604"/>
                  </a:cubicBezTo>
                  <a:cubicBezTo>
                    <a:pt x="487" y="600"/>
                    <a:pt x="485" y="601"/>
                    <a:pt x="484" y="598"/>
                  </a:cubicBezTo>
                  <a:cubicBezTo>
                    <a:pt x="486" y="598"/>
                    <a:pt x="482" y="593"/>
                    <a:pt x="482" y="593"/>
                  </a:cubicBezTo>
                  <a:cubicBezTo>
                    <a:pt x="483" y="595"/>
                    <a:pt x="477" y="597"/>
                    <a:pt x="482" y="598"/>
                  </a:cubicBezTo>
                  <a:cubicBezTo>
                    <a:pt x="481" y="597"/>
                    <a:pt x="482" y="596"/>
                    <a:pt x="483" y="597"/>
                  </a:cubicBezTo>
                  <a:cubicBezTo>
                    <a:pt x="482" y="598"/>
                    <a:pt x="484" y="600"/>
                    <a:pt x="484" y="601"/>
                  </a:cubicBezTo>
                  <a:cubicBezTo>
                    <a:pt x="482" y="600"/>
                    <a:pt x="480" y="602"/>
                    <a:pt x="478" y="600"/>
                  </a:cubicBezTo>
                  <a:cubicBezTo>
                    <a:pt x="477" y="598"/>
                    <a:pt x="480" y="598"/>
                    <a:pt x="479" y="596"/>
                  </a:cubicBezTo>
                  <a:cubicBezTo>
                    <a:pt x="475" y="593"/>
                    <a:pt x="477" y="609"/>
                    <a:pt x="471" y="600"/>
                  </a:cubicBezTo>
                  <a:cubicBezTo>
                    <a:pt x="472" y="598"/>
                    <a:pt x="475" y="599"/>
                    <a:pt x="474" y="596"/>
                  </a:cubicBezTo>
                  <a:cubicBezTo>
                    <a:pt x="469" y="594"/>
                    <a:pt x="469" y="599"/>
                    <a:pt x="464" y="598"/>
                  </a:cubicBezTo>
                  <a:cubicBezTo>
                    <a:pt x="466" y="600"/>
                    <a:pt x="466" y="602"/>
                    <a:pt x="465" y="603"/>
                  </a:cubicBezTo>
                  <a:cubicBezTo>
                    <a:pt x="463" y="600"/>
                    <a:pt x="460" y="601"/>
                    <a:pt x="460" y="604"/>
                  </a:cubicBezTo>
                  <a:cubicBezTo>
                    <a:pt x="457" y="602"/>
                    <a:pt x="458" y="600"/>
                    <a:pt x="456" y="599"/>
                  </a:cubicBezTo>
                  <a:cubicBezTo>
                    <a:pt x="457" y="602"/>
                    <a:pt x="453" y="604"/>
                    <a:pt x="453" y="605"/>
                  </a:cubicBezTo>
                  <a:cubicBezTo>
                    <a:pt x="454" y="604"/>
                    <a:pt x="455" y="604"/>
                    <a:pt x="456" y="606"/>
                  </a:cubicBezTo>
                  <a:cubicBezTo>
                    <a:pt x="456" y="609"/>
                    <a:pt x="454" y="606"/>
                    <a:pt x="452" y="609"/>
                  </a:cubicBezTo>
                  <a:cubicBezTo>
                    <a:pt x="453" y="613"/>
                    <a:pt x="456" y="609"/>
                    <a:pt x="458" y="611"/>
                  </a:cubicBezTo>
                  <a:cubicBezTo>
                    <a:pt x="453" y="612"/>
                    <a:pt x="459" y="615"/>
                    <a:pt x="459" y="615"/>
                  </a:cubicBezTo>
                  <a:cubicBezTo>
                    <a:pt x="460" y="620"/>
                    <a:pt x="454" y="615"/>
                    <a:pt x="452" y="613"/>
                  </a:cubicBezTo>
                  <a:cubicBezTo>
                    <a:pt x="455" y="617"/>
                    <a:pt x="454" y="622"/>
                    <a:pt x="458" y="621"/>
                  </a:cubicBezTo>
                  <a:cubicBezTo>
                    <a:pt x="456" y="616"/>
                    <a:pt x="462" y="622"/>
                    <a:pt x="462" y="616"/>
                  </a:cubicBezTo>
                  <a:cubicBezTo>
                    <a:pt x="463" y="619"/>
                    <a:pt x="464" y="620"/>
                    <a:pt x="466" y="620"/>
                  </a:cubicBezTo>
                  <a:cubicBezTo>
                    <a:pt x="466" y="616"/>
                    <a:pt x="462" y="616"/>
                    <a:pt x="464" y="613"/>
                  </a:cubicBezTo>
                  <a:cubicBezTo>
                    <a:pt x="471" y="611"/>
                    <a:pt x="472" y="624"/>
                    <a:pt x="467" y="625"/>
                  </a:cubicBezTo>
                  <a:cubicBezTo>
                    <a:pt x="470" y="626"/>
                    <a:pt x="469" y="626"/>
                    <a:pt x="472" y="623"/>
                  </a:cubicBezTo>
                  <a:cubicBezTo>
                    <a:pt x="472" y="629"/>
                    <a:pt x="475" y="625"/>
                    <a:pt x="477" y="627"/>
                  </a:cubicBezTo>
                  <a:cubicBezTo>
                    <a:pt x="476" y="630"/>
                    <a:pt x="469" y="630"/>
                    <a:pt x="471" y="635"/>
                  </a:cubicBezTo>
                  <a:cubicBezTo>
                    <a:pt x="475" y="632"/>
                    <a:pt x="479" y="629"/>
                    <a:pt x="482" y="629"/>
                  </a:cubicBezTo>
                  <a:cubicBezTo>
                    <a:pt x="483" y="637"/>
                    <a:pt x="475" y="637"/>
                    <a:pt x="472" y="643"/>
                  </a:cubicBezTo>
                  <a:cubicBezTo>
                    <a:pt x="470" y="641"/>
                    <a:pt x="469" y="639"/>
                    <a:pt x="468" y="640"/>
                  </a:cubicBezTo>
                  <a:cubicBezTo>
                    <a:pt x="467" y="643"/>
                    <a:pt x="463" y="644"/>
                    <a:pt x="462" y="648"/>
                  </a:cubicBezTo>
                  <a:cubicBezTo>
                    <a:pt x="459" y="643"/>
                    <a:pt x="456" y="648"/>
                    <a:pt x="455" y="649"/>
                  </a:cubicBezTo>
                  <a:cubicBezTo>
                    <a:pt x="456" y="650"/>
                    <a:pt x="460" y="657"/>
                    <a:pt x="461" y="653"/>
                  </a:cubicBezTo>
                  <a:cubicBezTo>
                    <a:pt x="459" y="655"/>
                    <a:pt x="459" y="650"/>
                    <a:pt x="459" y="649"/>
                  </a:cubicBezTo>
                  <a:cubicBezTo>
                    <a:pt x="460" y="649"/>
                    <a:pt x="461" y="648"/>
                    <a:pt x="461" y="647"/>
                  </a:cubicBezTo>
                  <a:cubicBezTo>
                    <a:pt x="465" y="652"/>
                    <a:pt x="465" y="646"/>
                    <a:pt x="469" y="649"/>
                  </a:cubicBezTo>
                  <a:cubicBezTo>
                    <a:pt x="468" y="647"/>
                    <a:pt x="467" y="648"/>
                    <a:pt x="466" y="645"/>
                  </a:cubicBezTo>
                  <a:cubicBezTo>
                    <a:pt x="476" y="644"/>
                    <a:pt x="477" y="642"/>
                    <a:pt x="483" y="641"/>
                  </a:cubicBezTo>
                  <a:cubicBezTo>
                    <a:pt x="485" y="635"/>
                    <a:pt x="492" y="629"/>
                    <a:pt x="498" y="632"/>
                  </a:cubicBezTo>
                  <a:cubicBezTo>
                    <a:pt x="497" y="630"/>
                    <a:pt x="495" y="629"/>
                    <a:pt x="496" y="628"/>
                  </a:cubicBezTo>
                  <a:cubicBezTo>
                    <a:pt x="500" y="631"/>
                    <a:pt x="500" y="627"/>
                    <a:pt x="503" y="625"/>
                  </a:cubicBezTo>
                  <a:cubicBezTo>
                    <a:pt x="505" y="627"/>
                    <a:pt x="507" y="630"/>
                    <a:pt x="508" y="629"/>
                  </a:cubicBezTo>
                  <a:cubicBezTo>
                    <a:pt x="504" y="624"/>
                    <a:pt x="510" y="623"/>
                    <a:pt x="511" y="625"/>
                  </a:cubicBezTo>
                  <a:cubicBezTo>
                    <a:pt x="511" y="624"/>
                    <a:pt x="510" y="623"/>
                    <a:pt x="511" y="622"/>
                  </a:cubicBezTo>
                  <a:cubicBezTo>
                    <a:pt x="513" y="625"/>
                    <a:pt x="510" y="629"/>
                    <a:pt x="512" y="629"/>
                  </a:cubicBezTo>
                  <a:cubicBezTo>
                    <a:pt x="511" y="627"/>
                    <a:pt x="516" y="627"/>
                    <a:pt x="513" y="624"/>
                  </a:cubicBezTo>
                  <a:cubicBezTo>
                    <a:pt x="512" y="624"/>
                    <a:pt x="511" y="622"/>
                    <a:pt x="509" y="620"/>
                  </a:cubicBezTo>
                  <a:cubicBezTo>
                    <a:pt x="515" y="617"/>
                    <a:pt x="515" y="617"/>
                    <a:pt x="515" y="617"/>
                  </a:cubicBezTo>
                  <a:cubicBezTo>
                    <a:pt x="512" y="613"/>
                    <a:pt x="512" y="610"/>
                    <a:pt x="508" y="610"/>
                  </a:cubicBezTo>
                  <a:cubicBezTo>
                    <a:pt x="510" y="613"/>
                    <a:pt x="511" y="612"/>
                    <a:pt x="512" y="615"/>
                  </a:cubicBezTo>
                  <a:cubicBezTo>
                    <a:pt x="510" y="616"/>
                    <a:pt x="506" y="620"/>
                    <a:pt x="504" y="614"/>
                  </a:cubicBezTo>
                  <a:cubicBezTo>
                    <a:pt x="506" y="618"/>
                    <a:pt x="494" y="616"/>
                    <a:pt x="501" y="621"/>
                  </a:cubicBezTo>
                  <a:cubicBezTo>
                    <a:pt x="499" y="622"/>
                    <a:pt x="498" y="622"/>
                    <a:pt x="497" y="620"/>
                  </a:cubicBezTo>
                  <a:cubicBezTo>
                    <a:pt x="494" y="617"/>
                    <a:pt x="494" y="615"/>
                    <a:pt x="493" y="612"/>
                  </a:cubicBezTo>
                  <a:cubicBezTo>
                    <a:pt x="491" y="613"/>
                    <a:pt x="489" y="612"/>
                    <a:pt x="487" y="611"/>
                  </a:cubicBezTo>
                  <a:cubicBezTo>
                    <a:pt x="488" y="611"/>
                    <a:pt x="485" y="608"/>
                    <a:pt x="486" y="607"/>
                  </a:cubicBezTo>
                  <a:cubicBezTo>
                    <a:pt x="489" y="608"/>
                    <a:pt x="487" y="602"/>
                    <a:pt x="490" y="605"/>
                  </a:cubicBezTo>
                  <a:cubicBezTo>
                    <a:pt x="491" y="607"/>
                    <a:pt x="488" y="607"/>
                    <a:pt x="489" y="610"/>
                  </a:cubicBezTo>
                  <a:cubicBezTo>
                    <a:pt x="492" y="608"/>
                    <a:pt x="494" y="612"/>
                    <a:pt x="496" y="609"/>
                  </a:cubicBezTo>
                  <a:cubicBezTo>
                    <a:pt x="494" y="602"/>
                    <a:pt x="504" y="594"/>
                    <a:pt x="506" y="603"/>
                  </a:cubicBezTo>
                  <a:cubicBezTo>
                    <a:pt x="508" y="598"/>
                    <a:pt x="510" y="598"/>
                    <a:pt x="505" y="596"/>
                  </a:cubicBezTo>
                  <a:cubicBezTo>
                    <a:pt x="509" y="596"/>
                    <a:pt x="513" y="592"/>
                    <a:pt x="510" y="589"/>
                  </a:cubicBezTo>
                  <a:cubicBezTo>
                    <a:pt x="511" y="591"/>
                    <a:pt x="513" y="589"/>
                    <a:pt x="514" y="591"/>
                  </a:cubicBezTo>
                  <a:cubicBezTo>
                    <a:pt x="515" y="594"/>
                    <a:pt x="510" y="593"/>
                    <a:pt x="513" y="597"/>
                  </a:cubicBezTo>
                  <a:cubicBezTo>
                    <a:pt x="515" y="600"/>
                    <a:pt x="517" y="593"/>
                    <a:pt x="519" y="596"/>
                  </a:cubicBezTo>
                  <a:cubicBezTo>
                    <a:pt x="517" y="597"/>
                    <a:pt x="521" y="601"/>
                    <a:pt x="518" y="601"/>
                  </a:cubicBezTo>
                  <a:cubicBezTo>
                    <a:pt x="518" y="597"/>
                    <a:pt x="515" y="598"/>
                    <a:pt x="514" y="601"/>
                  </a:cubicBezTo>
                  <a:cubicBezTo>
                    <a:pt x="514" y="598"/>
                    <a:pt x="512" y="597"/>
                    <a:pt x="510" y="599"/>
                  </a:cubicBezTo>
                  <a:cubicBezTo>
                    <a:pt x="514" y="601"/>
                    <a:pt x="514" y="603"/>
                    <a:pt x="512" y="606"/>
                  </a:cubicBezTo>
                  <a:cubicBezTo>
                    <a:pt x="516" y="604"/>
                    <a:pt x="522" y="603"/>
                    <a:pt x="526" y="601"/>
                  </a:cubicBezTo>
                  <a:cubicBezTo>
                    <a:pt x="524" y="601"/>
                    <a:pt x="527" y="597"/>
                    <a:pt x="525" y="595"/>
                  </a:cubicBezTo>
                  <a:cubicBezTo>
                    <a:pt x="530" y="590"/>
                    <a:pt x="534" y="595"/>
                    <a:pt x="539" y="590"/>
                  </a:cubicBezTo>
                  <a:cubicBezTo>
                    <a:pt x="538" y="593"/>
                    <a:pt x="543" y="594"/>
                    <a:pt x="542" y="596"/>
                  </a:cubicBezTo>
                  <a:cubicBezTo>
                    <a:pt x="540" y="592"/>
                    <a:pt x="534" y="596"/>
                    <a:pt x="534" y="597"/>
                  </a:cubicBezTo>
                  <a:cubicBezTo>
                    <a:pt x="535" y="597"/>
                    <a:pt x="536" y="598"/>
                    <a:pt x="536" y="599"/>
                  </a:cubicBezTo>
                  <a:cubicBezTo>
                    <a:pt x="541" y="592"/>
                    <a:pt x="550" y="605"/>
                    <a:pt x="542" y="606"/>
                  </a:cubicBezTo>
                  <a:cubicBezTo>
                    <a:pt x="541" y="604"/>
                    <a:pt x="540" y="603"/>
                    <a:pt x="538" y="602"/>
                  </a:cubicBezTo>
                  <a:cubicBezTo>
                    <a:pt x="537" y="604"/>
                    <a:pt x="532" y="604"/>
                    <a:pt x="535" y="607"/>
                  </a:cubicBezTo>
                  <a:cubicBezTo>
                    <a:pt x="540" y="602"/>
                    <a:pt x="540" y="612"/>
                    <a:pt x="546" y="613"/>
                  </a:cubicBezTo>
                  <a:cubicBezTo>
                    <a:pt x="547" y="612"/>
                    <a:pt x="543" y="608"/>
                    <a:pt x="545" y="606"/>
                  </a:cubicBezTo>
                  <a:cubicBezTo>
                    <a:pt x="549" y="608"/>
                    <a:pt x="548" y="613"/>
                    <a:pt x="551" y="613"/>
                  </a:cubicBezTo>
                  <a:cubicBezTo>
                    <a:pt x="553" y="610"/>
                    <a:pt x="549" y="608"/>
                    <a:pt x="549" y="605"/>
                  </a:cubicBezTo>
                  <a:cubicBezTo>
                    <a:pt x="552" y="604"/>
                    <a:pt x="556" y="606"/>
                    <a:pt x="554" y="610"/>
                  </a:cubicBezTo>
                  <a:cubicBezTo>
                    <a:pt x="555" y="609"/>
                    <a:pt x="557" y="609"/>
                    <a:pt x="558" y="610"/>
                  </a:cubicBezTo>
                  <a:cubicBezTo>
                    <a:pt x="558" y="610"/>
                    <a:pt x="559" y="612"/>
                    <a:pt x="558" y="613"/>
                  </a:cubicBezTo>
                  <a:cubicBezTo>
                    <a:pt x="551" y="617"/>
                    <a:pt x="546" y="619"/>
                    <a:pt x="541" y="620"/>
                  </a:cubicBezTo>
                  <a:cubicBezTo>
                    <a:pt x="542" y="620"/>
                    <a:pt x="543" y="621"/>
                    <a:pt x="542" y="622"/>
                  </a:cubicBezTo>
                  <a:cubicBezTo>
                    <a:pt x="540" y="623"/>
                    <a:pt x="537" y="622"/>
                    <a:pt x="535" y="621"/>
                  </a:cubicBezTo>
                  <a:cubicBezTo>
                    <a:pt x="538" y="625"/>
                    <a:pt x="537" y="624"/>
                    <a:pt x="535" y="625"/>
                  </a:cubicBezTo>
                  <a:cubicBezTo>
                    <a:pt x="536" y="627"/>
                    <a:pt x="537" y="627"/>
                    <a:pt x="538" y="629"/>
                  </a:cubicBezTo>
                  <a:cubicBezTo>
                    <a:pt x="533" y="631"/>
                    <a:pt x="531" y="636"/>
                    <a:pt x="527" y="634"/>
                  </a:cubicBezTo>
                  <a:cubicBezTo>
                    <a:pt x="528" y="629"/>
                    <a:pt x="522" y="627"/>
                    <a:pt x="520" y="626"/>
                  </a:cubicBezTo>
                  <a:cubicBezTo>
                    <a:pt x="523" y="619"/>
                    <a:pt x="534" y="621"/>
                    <a:pt x="536" y="617"/>
                  </a:cubicBezTo>
                  <a:cubicBezTo>
                    <a:pt x="533" y="615"/>
                    <a:pt x="530" y="618"/>
                    <a:pt x="527" y="615"/>
                  </a:cubicBezTo>
                  <a:cubicBezTo>
                    <a:pt x="533" y="612"/>
                    <a:pt x="538" y="617"/>
                    <a:pt x="541" y="616"/>
                  </a:cubicBezTo>
                  <a:cubicBezTo>
                    <a:pt x="538" y="610"/>
                    <a:pt x="534" y="611"/>
                    <a:pt x="530" y="609"/>
                  </a:cubicBezTo>
                  <a:cubicBezTo>
                    <a:pt x="525" y="603"/>
                    <a:pt x="535" y="604"/>
                    <a:pt x="533" y="597"/>
                  </a:cubicBezTo>
                  <a:cubicBezTo>
                    <a:pt x="530" y="600"/>
                    <a:pt x="526" y="604"/>
                    <a:pt x="526" y="610"/>
                  </a:cubicBezTo>
                  <a:cubicBezTo>
                    <a:pt x="520" y="606"/>
                    <a:pt x="518" y="609"/>
                    <a:pt x="513" y="609"/>
                  </a:cubicBezTo>
                  <a:cubicBezTo>
                    <a:pt x="517" y="613"/>
                    <a:pt x="515" y="609"/>
                    <a:pt x="517" y="615"/>
                  </a:cubicBezTo>
                  <a:cubicBezTo>
                    <a:pt x="520" y="616"/>
                    <a:pt x="518" y="611"/>
                    <a:pt x="520" y="614"/>
                  </a:cubicBezTo>
                  <a:cubicBezTo>
                    <a:pt x="521" y="617"/>
                    <a:pt x="518" y="618"/>
                    <a:pt x="519" y="621"/>
                  </a:cubicBezTo>
                  <a:cubicBezTo>
                    <a:pt x="516" y="620"/>
                    <a:pt x="515" y="619"/>
                    <a:pt x="513" y="622"/>
                  </a:cubicBezTo>
                  <a:cubicBezTo>
                    <a:pt x="515" y="625"/>
                    <a:pt x="520" y="624"/>
                    <a:pt x="519" y="629"/>
                  </a:cubicBezTo>
                  <a:cubicBezTo>
                    <a:pt x="515" y="628"/>
                    <a:pt x="518" y="630"/>
                    <a:pt x="516" y="633"/>
                  </a:cubicBezTo>
                  <a:cubicBezTo>
                    <a:pt x="513" y="633"/>
                    <a:pt x="514" y="629"/>
                    <a:pt x="510" y="630"/>
                  </a:cubicBezTo>
                  <a:cubicBezTo>
                    <a:pt x="513" y="634"/>
                    <a:pt x="510" y="639"/>
                    <a:pt x="507" y="637"/>
                  </a:cubicBezTo>
                  <a:cubicBezTo>
                    <a:pt x="506" y="634"/>
                    <a:pt x="509" y="635"/>
                    <a:pt x="506" y="633"/>
                  </a:cubicBezTo>
                  <a:cubicBezTo>
                    <a:pt x="507" y="639"/>
                    <a:pt x="501" y="637"/>
                    <a:pt x="504" y="642"/>
                  </a:cubicBezTo>
                  <a:cubicBezTo>
                    <a:pt x="499" y="640"/>
                    <a:pt x="500" y="645"/>
                    <a:pt x="495" y="644"/>
                  </a:cubicBezTo>
                  <a:cubicBezTo>
                    <a:pt x="495" y="648"/>
                    <a:pt x="497" y="648"/>
                    <a:pt x="497" y="649"/>
                  </a:cubicBezTo>
                  <a:cubicBezTo>
                    <a:pt x="493" y="647"/>
                    <a:pt x="495" y="656"/>
                    <a:pt x="491" y="653"/>
                  </a:cubicBezTo>
                  <a:cubicBezTo>
                    <a:pt x="492" y="652"/>
                    <a:pt x="493" y="652"/>
                    <a:pt x="492" y="650"/>
                  </a:cubicBezTo>
                  <a:cubicBezTo>
                    <a:pt x="489" y="654"/>
                    <a:pt x="490" y="646"/>
                    <a:pt x="487" y="648"/>
                  </a:cubicBezTo>
                  <a:cubicBezTo>
                    <a:pt x="489" y="656"/>
                    <a:pt x="478" y="662"/>
                    <a:pt x="475" y="650"/>
                  </a:cubicBezTo>
                  <a:cubicBezTo>
                    <a:pt x="477" y="650"/>
                    <a:pt x="479" y="646"/>
                    <a:pt x="476" y="647"/>
                  </a:cubicBezTo>
                  <a:cubicBezTo>
                    <a:pt x="477" y="648"/>
                    <a:pt x="475" y="649"/>
                    <a:pt x="474" y="649"/>
                  </a:cubicBezTo>
                  <a:cubicBezTo>
                    <a:pt x="476" y="656"/>
                    <a:pt x="476" y="660"/>
                    <a:pt x="472" y="659"/>
                  </a:cubicBezTo>
                  <a:cubicBezTo>
                    <a:pt x="471" y="657"/>
                    <a:pt x="471" y="652"/>
                    <a:pt x="468" y="651"/>
                  </a:cubicBezTo>
                  <a:cubicBezTo>
                    <a:pt x="471" y="657"/>
                    <a:pt x="465" y="652"/>
                    <a:pt x="463" y="653"/>
                  </a:cubicBezTo>
                  <a:cubicBezTo>
                    <a:pt x="467" y="657"/>
                    <a:pt x="466" y="659"/>
                    <a:pt x="465" y="661"/>
                  </a:cubicBezTo>
                  <a:cubicBezTo>
                    <a:pt x="466" y="663"/>
                    <a:pt x="471" y="664"/>
                    <a:pt x="470" y="665"/>
                  </a:cubicBezTo>
                  <a:cubicBezTo>
                    <a:pt x="469" y="666"/>
                    <a:pt x="467" y="665"/>
                    <a:pt x="467" y="668"/>
                  </a:cubicBezTo>
                  <a:cubicBezTo>
                    <a:pt x="464" y="663"/>
                    <a:pt x="464" y="663"/>
                    <a:pt x="464" y="663"/>
                  </a:cubicBezTo>
                  <a:cubicBezTo>
                    <a:pt x="462" y="673"/>
                    <a:pt x="456" y="671"/>
                    <a:pt x="449" y="673"/>
                  </a:cubicBezTo>
                  <a:cubicBezTo>
                    <a:pt x="451" y="677"/>
                    <a:pt x="446" y="674"/>
                    <a:pt x="447" y="677"/>
                  </a:cubicBezTo>
                  <a:cubicBezTo>
                    <a:pt x="447" y="677"/>
                    <a:pt x="452" y="678"/>
                    <a:pt x="450" y="679"/>
                  </a:cubicBezTo>
                  <a:cubicBezTo>
                    <a:pt x="447" y="682"/>
                    <a:pt x="443" y="676"/>
                    <a:pt x="442" y="681"/>
                  </a:cubicBezTo>
                  <a:cubicBezTo>
                    <a:pt x="441" y="679"/>
                    <a:pt x="440" y="677"/>
                    <a:pt x="438" y="678"/>
                  </a:cubicBezTo>
                  <a:cubicBezTo>
                    <a:pt x="440" y="682"/>
                    <a:pt x="435" y="680"/>
                    <a:pt x="440" y="684"/>
                  </a:cubicBezTo>
                  <a:cubicBezTo>
                    <a:pt x="437" y="683"/>
                    <a:pt x="437" y="686"/>
                    <a:pt x="436" y="688"/>
                  </a:cubicBezTo>
                  <a:cubicBezTo>
                    <a:pt x="450" y="686"/>
                    <a:pt x="458" y="675"/>
                    <a:pt x="473" y="675"/>
                  </a:cubicBezTo>
                  <a:cubicBezTo>
                    <a:pt x="472" y="672"/>
                    <a:pt x="470" y="672"/>
                    <a:pt x="471" y="671"/>
                  </a:cubicBezTo>
                  <a:cubicBezTo>
                    <a:pt x="474" y="669"/>
                    <a:pt x="478" y="672"/>
                    <a:pt x="480" y="669"/>
                  </a:cubicBezTo>
                  <a:cubicBezTo>
                    <a:pt x="478" y="663"/>
                    <a:pt x="478" y="671"/>
                    <a:pt x="477" y="668"/>
                  </a:cubicBezTo>
                  <a:cubicBezTo>
                    <a:pt x="477" y="662"/>
                    <a:pt x="481" y="663"/>
                    <a:pt x="485" y="661"/>
                  </a:cubicBezTo>
                  <a:cubicBezTo>
                    <a:pt x="486" y="663"/>
                    <a:pt x="487" y="664"/>
                    <a:pt x="489" y="665"/>
                  </a:cubicBezTo>
                  <a:cubicBezTo>
                    <a:pt x="486" y="666"/>
                    <a:pt x="482" y="662"/>
                    <a:pt x="482" y="667"/>
                  </a:cubicBezTo>
                  <a:cubicBezTo>
                    <a:pt x="484" y="666"/>
                    <a:pt x="489" y="668"/>
                    <a:pt x="489" y="665"/>
                  </a:cubicBezTo>
                  <a:cubicBezTo>
                    <a:pt x="490" y="665"/>
                    <a:pt x="492" y="665"/>
                    <a:pt x="492" y="663"/>
                  </a:cubicBezTo>
                  <a:cubicBezTo>
                    <a:pt x="490" y="664"/>
                    <a:pt x="489" y="659"/>
                    <a:pt x="490" y="659"/>
                  </a:cubicBezTo>
                  <a:cubicBezTo>
                    <a:pt x="494" y="660"/>
                    <a:pt x="494" y="655"/>
                    <a:pt x="497" y="658"/>
                  </a:cubicBezTo>
                  <a:cubicBezTo>
                    <a:pt x="495" y="660"/>
                    <a:pt x="491" y="661"/>
                    <a:pt x="494" y="665"/>
                  </a:cubicBezTo>
                  <a:cubicBezTo>
                    <a:pt x="499" y="662"/>
                    <a:pt x="500" y="660"/>
                    <a:pt x="504" y="662"/>
                  </a:cubicBezTo>
                  <a:cubicBezTo>
                    <a:pt x="502" y="659"/>
                    <a:pt x="502" y="658"/>
                    <a:pt x="504" y="657"/>
                  </a:cubicBezTo>
                  <a:cubicBezTo>
                    <a:pt x="510" y="662"/>
                    <a:pt x="512" y="651"/>
                    <a:pt x="513" y="648"/>
                  </a:cubicBezTo>
                  <a:cubicBezTo>
                    <a:pt x="516" y="651"/>
                    <a:pt x="518" y="652"/>
                    <a:pt x="521" y="653"/>
                  </a:cubicBezTo>
                  <a:cubicBezTo>
                    <a:pt x="520" y="650"/>
                    <a:pt x="518" y="650"/>
                    <a:pt x="519" y="649"/>
                  </a:cubicBezTo>
                  <a:cubicBezTo>
                    <a:pt x="522" y="648"/>
                    <a:pt x="524" y="650"/>
                    <a:pt x="526" y="651"/>
                  </a:cubicBezTo>
                  <a:cubicBezTo>
                    <a:pt x="523" y="645"/>
                    <a:pt x="527" y="647"/>
                    <a:pt x="529" y="643"/>
                  </a:cubicBezTo>
                  <a:cubicBezTo>
                    <a:pt x="530" y="645"/>
                    <a:pt x="529" y="646"/>
                    <a:pt x="530" y="647"/>
                  </a:cubicBezTo>
                  <a:cubicBezTo>
                    <a:pt x="533" y="646"/>
                    <a:pt x="536" y="642"/>
                    <a:pt x="539" y="643"/>
                  </a:cubicBezTo>
                  <a:cubicBezTo>
                    <a:pt x="540" y="645"/>
                    <a:pt x="539" y="646"/>
                    <a:pt x="539" y="648"/>
                  </a:cubicBezTo>
                  <a:cubicBezTo>
                    <a:pt x="540" y="648"/>
                    <a:pt x="542" y="646"/>
                    <a:pt x="543" y="650"/>
                  </a:cubicBezTo>
                  <a:cubicBezTo>
                    <a:pt x="544" y="648"/>
                    <a:pt x="547" y="647"/>
                    <a:pt x="546" y="645"/>
                  </a:cubicBezTo>
                  <a:cubicBezTo>
                    <a:pt x="543" y="643"/>
                    <a:pt x="541" y="645"/>
                    <a:pt x="538" y="641"/>
                  </a:cubicBezTo>
                  <a:cubicBezTo>
                    <a:pt x="542" y="641"/>
                    <a:pt x="541" y="642"/>
                    <a:pt x="540" y="638"/>
                  </a:cubicBezTo>
                  <a:cubicBezTo>
                    <a:pt x="543" y="641"/>
                    <a:pt x="546" y="640"/>
                    <a:pt x="545" y="644"/>
                  </a:cubicBezTo>
                  <a:cubicBezTo>
                    <a:pt x="547" y="643"/>
                    <a:pt x="549" y="641"/>
                    <a:pt x="550" y="644"/>
                  </a:cubicBezTo>
                  <a:cubicBezTo>
                    <a:pt x="549" y="645"/>
                    <a:pt x="549" y="648"/>
                    <a:pt x="547" y="649"/>
                  </a:cubicBezTo>
                  <a:cubicBezTo>
                    <a:pt x="551" y="652"/>
                    <a:pt x="549" y="654"/>
                    <a:pt x="548" y="657"/>
                  </a:cubicBezTo>
                  <a:cubicBezTo>
                    <a:pt x="552" y="657"/>
                    <a:pt x="552" y="654"/>
                    <a:pt x="552" y="651"/>
                  </a:cubicBezTo>
                  <a:cubicBezTo>
                    <a:pt x="550" y="651"/>
                    <a:pt x="549" y="650"/>
                    <a:pt x="549" y="648"/>
                  </a:cubicBezTo>
                  <a:cubicBezTo>
                    <a:pt x="551" y="648"/>
                    <a:pt x="551" y="645"/>
                    <a:pt x="554" y="648"/>
                  </a:cubicBezTo>
                  <a:cubicBezTo>
                    <a:pt x="553" y="646"/>
                    <a:pt x="551" y="644"/>
                    <a:pt x="552" y="643"/>
                  </a:cubicBezTo>
                  <a:cubicBezTo>
                    <a:pt x="553" y="643"/>
                    <a:pt x="554" y="643"/>
                    <a:pt x="555" y="644"/>
                  </a:cubicBezTo>
                  <a:cubicBezTo>
                    <a:pt x="557" y="652"/>
                    <a:pt x="555" y="656"/>
                    <a:pt x="550" y="659"/>
                  </a:cubicBezTo>
                  <a:cubicBezTo>
                    <a:pt x="551" y="661"/>
                    <a:pt x="555" y="664"/>
                    <a:pt x="553" y="665"/>
                  </a:cubicBezTo>
                  <a:cubicBezTo>
                    <a:pt x="552" y="663"/>
                    <a:pt x="551" y="665"/>
                    <a:pt x="550" y="664"/>
                  </a:cubicBezTo>
                  <a:cubicBezTo>
                    <a:pt x="547" y="660"/>
                    <a:pt x="549" y="657"/>
                    <a:pt x="546" y="657"/>
                  </a:cubicBezTo>
                  <a:cubicBezTo>
                    <a:pt x="551" y="670"/>
                    <a:pt x="539" y="671"/>
                    <a:pt x="534" y="670"/>
                  </a:cubicBezTo>
                  <a:cubicBezTo>
                    <a:pt x="532" y="671"/>
                    <a:pt x="538" y="672"/>
                    <a:pt x="536" y="674"/>
                  </a:cubicBezTo>
                  <a:cubicBezTo>
                    <a:pt x="532" y="675"/>
                    <a:pt x="527" y="674"/>
                    <a:pt x="526" y="677"/>
                  </a:cubicBezTo>
                  <a:cubicBezTo>
                    <a:pt x="525" y="676"/>
                    <a:pt x="524" y="674"/>
                    <a:pt x="523" y="674"/>
                  </a:cubicBezTo>
                  <a:cubicBezTo>
                    <a:pt x="525" y="684"/>
                    <a:pt x="509" y="679"/>
                    <a:pt x="508" y="685"/>
                  </a:cubicBezTo>
                  <a:cubicBezTo>
                    <a:pt x="509" y="684"/>
                    <a:pt x="510" y="684"/>
                    <a:pt x="510" y="685"/>
                  </a:cubicBezTo>
                  <a:cubicBezTo>
                    <a:pt x="507" y="687"/>
                    <a:pt x="505" y="680"/>
                    <a:pt x="503" y="682"/>
                  </a:cubicBezTo>
                  <a:cubicBezTo>
                    <a:pt x="504" y="685"/>
                    <a:pt x="508" y="685"/>
                    <a:pt x="507" y="687"/>
                  </a:cubicBezTo>
                  <a:cubicBezTo>
                    <a:pt x="503" y="684"/>
                    <a:pt x="506" y="688"/>
                    <a:pt x="504" y="690"/>
                  </a:cubicBezTo>
                  <a:cubicBezTo>
                    <a:pt x="502" y="688"/>
                    <a:pt x="499" y="690"/>
                    <a:pt x="498" y="688"/>
                  </a:cubicBezTo>
                  <a:cubicBezTo>
                    <a:pt x="497" y="699"/>
                    <a:pt x="485" y="693"/>
                    <a:pt x="482" y="697"/>
                  </a:cubicBezTo>
                  <a:cubicBezTo>
                    <a:pt x="479" y="693"/>
                    <a:pt x="476" y="694"/>
                    <a:pt x="473" y="694"/>
                  </a:cubicBezTo>
                  <a:cubicBezTo>
                    <a:pt x="475" y="698"/>
                    <a:pt x="478" y="694"/>
                    <a:pt x="480" y="697"/>
                  </a:cubicBezTo>
                  <a:cubicBezTo>
                    <a:pt x="472" y="700"/>
                    <a:pt x="466" y="710"/>
                    <a:pt x="461" y="717"/>
                  </a:cubicBezTo>
                  <a:cubicBezTo>
                    <a:pt x="458" y="714"/>
                    <a:pt x="461" y="714"/>
                    <a:pt x="460" y="712"/>
                  </a:cubicBezTo>
                  <a:cubicBezTo>
                    <a:pt x="456" y="712"/>
                    <a:pt x="460" y="717"/>
                    <a:pt x="459" y="718"/>
                  </a:cubicBezTo>
                  <a:cubicBezTo>
                    <a:pt x="452" y="716"/>
                    <a:pt x="444" y="711"/>
                    <a:pt x="444" y="721"/>
                  </a:cubicBezTo>
                  <a:cubicBezTo>
                    <a:pt x="445" y="720"/>
                    <a:pt x="447" y="719"/>
                    <a:pt x="448" y="720"/>
                  </a:cubicBezTo>
                  <a:cubicBezTo>
                    <a:pt x="446" y="721"/>
                    <a:pt x="443" y="730"/>
                    <a:pt x="438" y="727"/>
                  </a:cubicBezTo>
                  <a:cubicBezTo>
                    <a:pt x="438" y="725"/>
                    <a:pt x="436" y="722"/>
                    <a:pt x="437" y="721"/>
                  </a:cubicBezTo>
                  <a:cubicBezTo>
                    <a:pt x="439" y="722"/>
                    <a:pt x="440" y="722"/>
                    <a:pt x="441" y="721"/>
                  </a:cubicBezTo>
                  <a:cubicBezTo>
                    <a:pt x="439" y="718"/>
                    <a:pt x="442" y="717"/>
                    <a:pt x="440" y="714"/>
                  </a:cubicBezTo>
                  <a:cubicBezTo>
                    <a:pt x="437" y="714"/>
                    <a:pt x="441" y="718"/>
                    <a:pt x="438" y="719"/>
                  </a:cubicBezTo>
                  <a:cubicBezTo>
                    <a:pt x="436" y="716"/>
                    <a:pt x="438" y="716"/>
                    <a:pt x="435" y="714"/>
                  </a:cubicBezTo>
                  <a:cubicBezTo>
                    <a:pt x="436" y="717"/>
                    <a:pt x="431" y="721"/>
                    <a:pt x="434" y="722"/>
                  </a:cubicBezTo>
                  <a:cubicBezTo>
                    <a:pt x="430" y="719"/>
                    <a:pt x="428" y="729"/>
                    <a:pt x="422" y="725"/>
                  </a:cubicBezTo>
                  <a:cubicBezTo>
                    <a:pt x="421" y="722"/>
                    <a:pt x="428" y="726"/>
                    <a:pt x="425" y="721"/>
                  </a:cubicBezTo>
                  <a:cubicBezTo>
                    <a:pt x="423" y="721"/>
                    <a:pt x="420" y="723"/>
                    <a:pt x="419" y="724"/>
                  </a:cubicBezTo>
                  <a:cubicBezTo>
                    <a:pt x="421" y="730"/>
                    <a:pt x="420" y="723"/>
                    <a:pt x="421" y="726"/>
                  </a:cubicBezTo>
                  <a:cubicBezTo>
                    <a:pt x="425" y="730"/>
                    <a:pt x="417" y="734"/>
                    <a:pt x="420" y="736"/>
                  </a:cubicBezTo>
                  <a:cubicBezTo>
                    <a:pt x="422" y="729"/>
                    <a:pt x="431" y="730"/>
                    <a:pt x="429" y="726"/>
                  </a:cubicBezTo>
                  <a:cubicBezTo>
                    <a:pt x="433" y="728"/>
                    <a:pt x="436" y="726"/>
                    <a:pt x="440" y="730"/>
                  </a:cubicBezTo>
                  <a:cubicBezTo>
                    <a:pt x="437" y="731"/>
                    <a:pt x="438" y="732"/>
                    <a:pt x="434" y="735"/>
                  </a:cubicBezTo>
                  <a:cubicBezTo>
                    <a:pt x="431" y="732"/>
                    <a:pt x="421" y="727"/>
                    <a:pt x="427" y="736"/>
                  </a:cubicBezTo>
                  <a:cubicBezTo>
                    <a:pt x="429" y="734"/>
                    <a:pt x="430" y="735"/>
                    <a:pt x="432" y="738"/>
                  </a:cubicBezTo>
                  <a:cubicBezTo>
                    <a:pt x="428" y="736"/>
                    <a:pt x="431" y="743"/>
                    <a:pt x="426" y="741"/>
                  </a:cubicBezTo>
                  <a:cubicBezTo>
                    <a:pt x="430" y="746"/>
                    <a:pt x="433" y="739"/>
                    <a:pt x="434" y="737"/>
                  </a:cubicBezTo>
                  <a:cubicBezTo>
                    <a:pt x="434" y="738"/>
                    <a:pt x="434" y="739"/>
                    <a:pt x="435" y="740"/>
                  </a:cubicBezTo>
                  <a:cubicBezTo>
                    <a:pt x="443" y="733"/>
                    <a:pt x="451" y="733"/>
                    <a:pt x="461" y="733"/>
                  </a:cubicBezTo>
                  <a:cubicBezTo>
                    <a:pt x="458" y="727"/>
                    <a:pt x="454" y="733"/>
                    <a:pt x="451" y="727"/>
                  </a:cubicBezTo>
                  <a:cubicBezTo>
                    <a:pt x="452" y="727"/>
                    <a:pt x="451" y="726"/>
                    <a:pt x="452" y="725"/>
                  </a:cubicBezTo>
                  <a:cubicBezTo>
                    <a:pt x="454" y="729"/>
                    <a:pt x="456" y="728"/>
                    <a:pt x="459" y="726"/>
                  </a:cubicBezTo>
                  <a:cubicBezTo>
                    <a:pt x="461" y="730"/>
                    <a:pt x="463" y="730"/>
                    <a:pt x="465" y="731"/>
                  </a:cubicBezTo>
                  <a:cubicBezTo>
                    <a:pt x="464" y="722"/>
                    <a:pt x="473" y="723"/>
                    <a:pt x="479" y="723"/>
                  </a:cubicBezTo>
                  <a:cubicBezTo>
                    <a:pt x="480" y="724"/>
                    <a:pt x="478" y="724"/>
                    <a:pt x="479" y="726"/>
                  </a:cubicBezTo>
                  <a:cubicBezTo>
                    <a:pt x="484" y="725"/>
                    <a:pt x="487" y="723"/>
                    <a:pt x="485" y="719"/>
                  </a:cubicBezTo>
                  <a:cubicBezTo>
                    <a:pt x="486" y="721"/>
                    <a:pt x="488" y="713"/>
                    <a:pt x="491" y="717"/>
                  </a:cubicBezTo>
                  <a:cubicBezTo>
                    <a:pt x="491" y="718"/>
                    <a:pt x="490" y="722"/>
                    <a:pt x="493" y="721"/>
                  </a:cubicBezTo>
                  <a:cubicBezTo>
                    <a:pt x="492" y="717"/>
                    <a:pt x="496" y="715"/>
                    <a:pt x="499" y="713"/>
                  </a:cubicBezTo>
                  <a:cubicBezTo>
                    <a:pt x="501" y="716"/>
                    <a:pt x="503" y="718"/>
                    <a:pt x="504" y="717"/>
                  </a:cubicBezTo>
                  <a:cubicBezTo>
                    <a:pt x="505" y="714"/>
                    <a:pt x="500" y="713"/>
                    <a:pt x="501" y="710"/>
                  </a:cubicBezTo>
                  <a:cubicBezTo>
                    <a:pt x="506" y="714"/>
                    <a:pt x="508" y="707"/>
                    <a:pt x="514" y="712"/>
                  </a:cubicBezTo>
                  <a:cubicBezTo>
                    <a:pt x="512" y="709"/>
                    <a:pt x="512" y="707"/>
                    <a:pt x="514" y="707"/>
                  </a:cubicBezTo>
                  <a:cubicBezTo>
                    <a:pt x="515" y="708"/>
                    <a:pt x="517" y="715"/>
                    <a:pt x="517" y="711"/>
                  </a:cubicBezTo>
                  <a:cubicBezTo>
                    <a:pt x="514" y="708"/>
                    <a:pt x="521" y="705"/>
                    <a:pt x="522" y="708"/>
                  </a:cubicBezTo>
                  <a:cubicBezTo>
                    <a:pt x="515" y="711"/>
                    <a:pt x="523" y="716"/>
                    <a:pt x="519" y="721"/>
                  </a:cubicBezTo>
                  <a:cubicBezTo>
                    <a:pt x="518" y="720"/>
                    <a:pt x="518" y="720"/>
                    <a:pt x="517" y="719"/>
                  </a:cubicBezTo>
                  <a:cubicBezTo>
                    <a:pt x="516" y="717"/>
                    <a:pt x="518" y="716"/>
                    <a:pt x="516" y="713"/>
                  </a:cubicBezTo>
                  <a:cubicBezTo>
                    <a:pt x="512" y="715"/>
                    <a:pt x="511" y="712"/>
                    <a:pt x="510" y="717"/>
                  </a:cubicBezTo>
                  <a:cubicBezTo>
                    <a:pt x="507" y="715"/>
                    <a:pt x="506" y="717"/>
                    <a:pt x="505" y="712"/>
                  </a:cubicBezTo>
                  <a:cubicBezTo>
                    <a:pt x="502" y="714"/>
                    <a:pt x="507" y="719"/>
                    <a:pt x="505" y="720"/>
                  </a:cubicBezTo>
                  <a:cubicBezTo>
                    <a:pt x="503" y="721"/>
                    <a:pt x="502" y="720"/>
                    <a:pt x="500" y="722"/>
                  </a:cubicBezTo>
                  <a:cubicBezTo>
                    <a:pt x="498" y="718"/>
                    <a:pt x="498" y="718"/>
                    <a:pt x="498" y="718"/>
                  </a:cubicBezTo>
                  <a:cubicBezTo>
                    <a:pt x="495" y="723"/>
                    <a:pt x="496" y="719"/>
                    <a:pt x="495" y="725"/>
                  </a:cubicBezTo>
                  <a:cubicBezTo>
                    <a:pt x="491" y="725"/>
                    <a:pt x="489" y="722"/>
                    <a:pt x="487" y="719"/>
                  </a:cubicBezTo>
                  <a:cubicBezTo>
                    <a:pt x="486" y="721"/>
                    <a:pt x="490" y="725"/>
                    <a:pt x="489" y="727"/>
                  </a:cubicBezTo>
                  <a:cubicBezTo>
                    <a:pt x="485" y="729"/>
                    <a:pt x="484" y="732"/>
                    <a:pt x="480" y="731"/>
                  </a:cubicBezTo>
                  <a:cubicBezTo>
                    <a:pt x="479" y="729"/>
                    <a:pt x="481" y="729"/>
                    <a:pt x="481" y="728"/>
                  </a:cubicBezTo>
                  <a:cubicBezTo>
                    <a:pt x="478" y="729"/>
                    <a:pt x="478" y="729"/>
                    <a:pt x="478" y="729"/>
                  </a:cubicBezTo>
                  <a:cubicBezTo>
                    <a:pt x="479" y="733"/>
                    <a:pt x="481" y="732"/>
                    <a:pt x="481" y="735"/>
                  </a:cubicBezTo>
                  <a:cubicBezTo>
                    <a:pt x="487" y="727"/>
                    <a:pt x="498" y="730"/>
                    <a:pt x="502" y="722"/>
                  </a:cubicBezTo>
                  <a:cubicBezTo>
                    <a:pt x="503" y="723"/>
                    <a:pt x="505" y="724"/>
                    <a:pt x="506" y="727"/>
                  </a:cubicBezTo>
                  <a:cubicBezTo>
                    <a:pt x="509" y="724"/>
                    <a:pt x="512" y="722"/>
                    <a:pt x="506" y="722"/>
                  </a:cubicBezTo>
                  <a:cubicBezTo>
                    <a:pt x="507" y="721"/>
                    <a:pt x="507" y="720"/>
                    <a:pt x="508" y="718"/>
                  </a:cubicBezTo>
                  <a:cubicBezTo>
                    <a:pt x="511" y="723"/>
                    <a:pt x="515" y="722"/>
                    <a:pt x="513" y="718"/>
                  </a:cubicBezTo>
                  <a:cubicBezTo>
                    <a:pt x="515" y="722"/>
                    <a:pt x="514" y="715"/>
                    <a:pt x="516" y="718"/>
                  </a:cubicBezTo>
                  <a:cubicBezTo>
                    <a:pt x="519" y="721"/>
                    <a:pt x="513" y="723"/>
                    <a:pt x="512" y="726"/>
                  </a:cubicBezTo>
                  <a:cubicBezTo>
                    <a:pt x="517" y="728"/>
                    <a:pt x="520" y="721"/>
                    <a:pt x="523" y="718"/>
                  </a:cubicBezTo>
                  <a:cubicBezTo>
                    <a:pt x="523" y="725"/>
                    <a:pt x="528" y="715"/>
                    <a:pt x="530" y="718"/>
                  </a:cubicBezTo>
                  <a:cubicBezTo>
                    <a:pt x="532" y="720"/>
                    <a:pt x="527" y="723"/>
                    <a:pt x="531" y="724"/>
                  </a:cubicBezTo>
                  <a:cubicBezTo>
                    <a:pt x="532" y="719"/>
                    <a:pt x="536" y="719"/>
                    <a:pt x="536" y="712"/>
                  </a:cubicBezTo>
                  <a:cubicBezTo>
                    <a:pt x="545" y="717"/>
                    <a:pt x="544" y="698"/>
                    <a:pt x="556" y="704"/>
                  </a:cubicBezTo>
                  <a:cubicBezTo>
                    <a:pt x="555" y="700"/>
                    <a:pt x="560" y="700"/>
                    <a:pt x="562" y="700"/>
                  </a:cubicBezTo>
                  <a:cubicBezTo>
                    <a:pt x="564" y="703"/>
                    <a:pt x="558" y="702"/>
                    <a:pt x="562" y="706"/>
                  </a:cubicBezTo>
                  <a:cubicBezTo>
                    <a:pt x="564" y="704"/>
                    <a:pt x="565" y="702"/>
                    <a:pt x="565" y="699"/>
                  </a:cubicBezTo>
                  <a:cubicBezTo>
                    <a:pt x="566" y="698"/>
                    <a:pt x="568" y="701"/>
                    <a:pt x="570" y="700"/>
                  </a:cubicBezTo>
                  <a:cubicBezTo>
                    <a:pt x="568" y="698"/>
                    <a:pt x="571" y="694"/>
                    <a:pt x="572" y="696"/>
                  </a:cubicBezTo>
                  <a:cubicBezTo>
                    <a:pt x="572" y="697"/>
                    <a:pt x="571" y="698"/>
                    <a:pt x="570" y="698"/>
                  </a:cubicBezTo>
                  <a:cubicBezTo>
                    <a:pt x="572" y="701"/>
                    <a:pt x="573" y="701"/>
                    <a:pt x="575" y="701"/>
                  </a:cubicBezTo>
                  <a:cubicBezTo>
                    <a:pt x="574" y="700"/>
                    <a:pt x="572" y="697"/>
                    <a:pt x="573" y="696"/>
                  </a:cubicBezTo>
                  <a:cubicBezTo>
                    <a:pt x="577" y="701"/>
                    <a:pt x="583" y="701"/>
                    <a:pt x="589" y="702"/>
                  </a:cubicBezTo>
                  <a:cubicBezTo>
                    <a:pt x="586" y="696"/>
                    <a:pt x="595" y="701"/>
                    <a:pt x="590" y="695"/>
                  </a:cubicBezTo>
                  <a:cubicBezTo>
                    <a:pt x="587" y="696"/>
                    <a:pt x="585" y="702"/>
                    <a:pt x="586" y="696"/>
                  </a:cubicBezTo>
                  <a:cubicBezTo>
                    <a:pt x="582" y="695"/>
                    <a:pt x="582" y="701"/>
                    <a:pt x="579" y="699"/>
                  </a:cubicBezTo>
                  <a:cubicBezTo>
                    <a:pt x="578" y="696"/>
                    <a:pt x="578" y="696"/>
                    <a:pt x="578" y="696"/>
                  </a:cubicBezTo>
                  <a:cubicBezTo>
                    <a:pt x="582" y="694"/>
                    <a:pt x="588" y="699"/>
                    <a:pt x="590" y="692"/>
                  </a:cubicBezTo>
                  <a:cubicBezTo>
                    <a:pt x="589" y="693"/>
                    <a:pt x="588" y="694"/>
                    <a:pt x="587" y="693"/>
                  </a:cubicBezTo>
                  <a:cubicBezTo>
                    <a:pt x="588" y="692"/>
                    <a:pt x="587" y="691"/>
                    <a:pt x="588" y="691"/>
                  </a:cubicBezTo>
                  <a:cubicBezTo>
                    <a:pt x="589" y="690"/>
                    <a:pt x="591" y="695"/>
                    <a:pt x="593" y="692"/>
                  </a:cubicBezTo>
                  <a:cubicBezTo>
                    <a:pt x="587" y="687"/>
                    <a:pt x="600" y="688"/>
                    <a:pt x="595" y="680"/>
                  </a:cubicBezTo>
                  <a:cubicBezTo>
                    <a:pt x="599" y="683"/>
                    <a:pt x="596" y="678"/>
                    <a:pt x="600" y="677"/>
                  </a:cubicBezTo>
                  <a:cubicBezTo>
                    <a:pt x="600" y="678"/>
                    <a:pt x="601" y="678"/>
                    <a:pt x="602" y="679"/>
                  </a:cubicBezTo>
                  <a:cubicBezTo>
                    <a:pt x="603" y="681"/>
                    <a:pt x="600" y="685"/>
                    <a:pt x="603" y="686"/>
                  </a:cubicBezTo>
                  <a:cubicBezTo>
                    <a:pt x="602" y="683"/>
                    <a:pt x="608" y="683"/>
                    <a:pt x="606" y="680"/>
                  </a:cubicBezTo>
                  <a:cubicBezTo>
                    <a:pt x="605" y="681"/>
                    <a:pt x="601" y="679"/>
                    <a:pt x="603" y="678"/>
                  </a:cubicBezTo>
                  <a:cubicBezTo>
                    <a:pt x="605" y="675"/>
                    <a:pt x="610" y="683"/>
                    <a:pt x="610" y="677"/>
                  </a:cubicBezTo>
                  <a:cubicBezTo>
                    <a:pt x="609" y="677"/>
                    <a:pt x="607" y="676"/>
                    <a:pt x="608" y="675"/>
                  </a:cubicBezTo>
                  <a:cubicBezTo>
                    <a:pt x="614" y="676"/>
                    <a:pt x="615" y="673"/>
                    <a:pt x="619" y="671"/>
                  </a:cubicBezTo>
                  <a:cubicBezTo>
                    <a:pt x="618" y="674"/>
                    <a:pt x="615" y="676"/>
                    <a:pt x="616" y="680"/>
                  </a:cubicBezTo>
                  <a:cubicBezTo>
                    <a:pt x="619" y="677"/>
                    <a:pt x="621" y="677"/>
                    <a:pt x="624" y="679"/>
                  </a:cubicBezTo>
                  <a:cubicBezTo>
                    <a:pt x="622" y="675"/>
                    <a:pt x="618" y="675"/>
                    <a:pt x="620" y="672"/>
                  </a:cubicBezTo>
                  <a:cubicBezTo>
                    <a:pt x="623" y="675"/>
                    <a:pt x="625" y="671"/>
                    <a:pt x="627" y="674"/>
                  </a:cubicBezTo>
                  <a:cubicBezTo>
                    <a:pt x="624" y="671"/>
                    <a:pt x="626" y="667"/>
                    <a:pt x="624" y="667"/>
                  </a:cubicBezTo>
                  <a:cubicBezTo>
                    <a:pt x="624" y="672"/>
                    <a:pt x="622" y="664"/>
                    <a:pt x="621" y="665"/>
                  </a:cubicBezTo>
                  <a:cubicBezTo>
                    <a:pt x="623" y="667"/>
                    <a:pt x="618" y="670"/>
                    <a:pt x="618" y="668"/>
                  </a:cubicBezTo>
                  <a:cubicBezTo>
                    <a:pt x="620" y="667"/>
                    <a:pt x="622" y="662"/>
                    <a:pt x="619" y="662"/>
                  </a:cubicBezTo>
                  <a:cubicBezTo>
                    <a:pt x="621" y="665"/>
                    <a:pt x="617" y="664"/>
                    <a:pt x="617" y="662"/>
                  </a:cubicBezTo>
                  <a:cubicBezTo>
                    <a:pt x="617" y="659"/>
                    <a:pt x="619" y="662"/>
                    <a:pt x="621" y="660"/>
                  </a:cubicBezTo>
                  <a:cubicBezTo>
                    <a:pt x="620" y="657"/>
                    <a:pt x="617" y="657"/>
                    <a:pt x="618" y="655"/>
                  </a:cubicBezTo>
                  <a:cubicBezTo>
                    <a:pt x="623" y="653"/>
                    <a:pt x="628" y="655"/>
                    <a:pt x="633" y="649"/>
                  </a:cubicBezTo>
                  <a:cubicBezTo>
                    <a:pt x="632" y="654"/>
                    <a:pt x="639" y="651"/>
                    <a:pt x="638" y="655"/>
                  </a:cubicBezTo>
                  <a:cubicBezTo>
                    <a:pt x="635" y="654"/>
                    <a:pt x="630" y="655"/>
                    <a:pt x="632" y="661"/>
                  </a:cubicBezTo>
                  <a:cubicBezTo>
                    <a:pt x="634" y="657"/>
                    <a:pt x="640" y="653"/>
                    <a:pt x="645" y="655"/>
                  </a:cubicBezTo>
                  <a:cubicBezTo>
                    <a:pt x="641" y="659"/>
                    <a:pt x="640" y="659"/>
                    <a:pt x="635" y="658"/>
                  </a:cubicBezTo>
                  <a:cubicBezTo>
                    <a:pt x="639" y="664"/>
                    <a:pt x="638" y="666"/>
                    <a:pt x="641" y="673"/>
                  </a:cubicBezTo>
                  <a:cubicBezTo>
                    <a:pt x="644" y="673"/>
                    <a:pt x="644" y="667"/>
                    <a:pt x="643" y="667"/>
                  </a:cubicBezTo>
                  <a:cubicBezTo>
                    <a:pt x="641" y="667"/>
                    <a:pt x="643" y="673"/>
                    <a:pt x="641" y="670"/>
                  </a:cubicBezTo>
                  <a:cubicBezTo>
                    <a:pt x="639" y="667"/>
                    <a:pt x="639" y="664"/>
                    <a:pt x="641" y="662"/>
                  </a:cubicBezTo>
                  <a:cubicBezTo>
                    <a:pt x="645" y="665"/>
                    <a:pt x="645" y="661"/>
                    <a:pt x="648" y="661"/>
                  </a:cubicBezTo>
                  <a:cubicBezTo>
                    <a:pt x="650" y="666"/>
                    <a:pt x="652" y="662"/>
                    <a:pt x="653" y="664"/>
                  </a:cubicBezTo>
                  <a:cubicBezTo>
                    <a:pt x="653" y="667"/>
                    <a:pt x="651" y="665"/>
                    <a:pt x="650" y="666"/>
                  </a:cubicBezTo>
                  <a:cubicBezTo>
                    <a:pt x="654" y="673"/>
                    <a:pt x="653" y="664"/>
                    <a:pt x="655" y="663"/>
                  </a:cubicBezTo>
                  <a:cubicBezTo>
                    <a:pt x="656" y="665"/>
                    <a:pt x="657" y="666"/>
                    <a:pt x="657" y="668"/>
                  </a:cubicBezTo>
                  <a:cubicBezTo>
                    <a:pt x="658" y="667"/>
                    <a:pt x="659" y="666"/>
                    <a:pt x="658" y="664"/>
                  </a:cubicBezTo>
                  <a:cubicBezTo>
                    <a:pt x="654" y="664"/>
                    <a:pt x="653" y="654"/>
                    <a:pt x="658" y="653"/>
                  </a:cubicBezTo>
                  <a:cubicBezTo>
                    <a:pt x="660" y="655"/>
                    <a:pt x="661" y="654"/>
                    <a:pt x="662" y="658"/>
                  </a:cubicBezTo>
                  <a:cubicBezTo>
                    <a:pt x="663" y="658"/>
                    <a:pt x="663" y="656"/>
                    <a:pt x="664" y="655"/>
                  </a:cubicBezTo>
                  <a:cubicBezTo>
                    <a:pt x="666" y="660"/>
                    <a:pt x="669" y="657"/>
                    <a:pt x="671" y="660"/>
                  </a:cubicBezTo>
                  <a:cubicBezTo>
                    <a:pt x="673" y="657"/>
                    <a:pt x="674" y="658"/>
                    <a:pt x="673" y="654"/>
                  </a:cubicBezTo>
                  <a:cubicBezTo>
                    <a:pt x="671" y="651"/>
                    <a:pt x="670" y="656"/>
                    <a:pt x="669" y="654"/>
                  </a:cubicBezTo>
                  <a:cubicBezTo>
                    <a:pt x="668" y="652"/>
                    <a:pt x="670" y="648"/>
                    <a:pt x="673" y="650"/>
                  </a:cubicBezTo>
                  <a:cubicBezTo>
                    <a:pt x="675" y="654"/>
                    <a:pt x="674" y="657"/>
                    <a:pt x="678" y="656"/>
                  </a:cubicBezTo>
                  <a:cubicBezTo>
                    <a:pt x="673" y="651"/>
                    <a:pt x="679" y="654"/>
                    <a:pt x="678" y="651"/>
                  </a:cubicBezTo>
                  <a:cubicBezTo>
                    <a:pt x="676" y="650"/>
                    <a:pt x="674" y="649"/>
                    <a:pt x="672" y="645"/>
                  </a:cubicBezTo>
                  <a:cubicBezTo>
                    <a:pt x="676" y="641"/>
                    <a:pt x="679" y="643"/>
                    <a:pt x="681" y="642"/>
                  </a:cubicBezTo>
                  <a:cubicBezTo>
                    <a:pt x="680" y="644"/>
                    <a:pt x="677" y="645"/>
                    <a:pt x="677" y="649"/>
                  </a:cubicBezTo>
                  <a:cubicBezTo>
                    <a:pt x="683" y="651"/>
                    <a:pt x="685" y="642"/>
                    <a:pt x="690" y="645"/>
                  </a:cubicBezTo>
                  <a:cubicBezTo>
                    <a:pt x="685" y="644"/>
                    <a:pt x="688" y="650"/>
                    <a:pt x="687" y="653"/>
                  </a:cubicBezTo>
                  <a:cubicBezTo>
                    <a:pt x="690" y="653"/>
                    <a:pt x="688" y="657"/>
                    <a:pt x="691" y="657"/>
                  </a:cubicBezTo>
                  <a:cubicBezTo>
                    <a:pt x="689" y="654"/>
                    <a:pt x="690" y="653"/>
                    <a:pt x="690" y="651"/>
                  </a:cubicBezTo>
                  <a:cubicBezTo>
                    <a:pt x="693" y="654"/>
                    <a:pt x="698" y="653"/>
                    <a:pt x="698" y="657"/>
                  </a:cubicBezTo>
                  <a:cubicBezTo>
                    <a:pt x="700" y="653"/>
                    <a:pt x="703" y="646"/>
                    <a:pt x="710" y="651"/>
                  </a:cubicBezTo>
                  <a:cubicBezTo>
                    <a:pt x="709" y="653"/>
                    <a:pt x="706" y="649"/>
                    <a:pt x="707" y="653"/>
                  </a:cubicBezTo>
                  <a:cubicBezTo>
                    <a:pt x="708" y="652"/>
                    <a:pt x="709" y="653"/>
                    <a:pt x="708" y="654"/>
                  </a:cubicBezTo>
                  <a:cubicBezTo>
                    <a:pt x="706" y="655"/>
                    <a:pt x="705" y="648"/>
                    <a:pt x="704" y="652"/>
                  </a:cubicBezTo>
                  <a:cubicBezTo>
                    <a:pt x="706" y="658"/>
                    <a:pt x="700" y="660"/>
                    <a:pt x="698" y="664"/>
                  </a:cubicBezTo>
                  <a:cubicBezTo>
                    <a:pt x="697" y="661"/>
                    <a:pt x="695" y="663"/>
                    <a:pt x="694" y="662"/>
                  </a:cubicBezTo>
                  <a:cubicBezTo>
                    <a:pt x="697" y="665"/>
                    <a:pt x="692" y="667"/>
                    <a:pt x="696" y="667"/>
                  </a:cubicBezTo>
                  <a:cubicBezTo>
                    <a:pt x="695" y="663"/>
                    <a:pt x="699" y="668"/>
                    <a:pt x="700" y="666"/>
                  </a:cubicBezTo>
                  <a:cubicBezTo>
                    <a:pt x="698" y="661"/>
                    <a:pt x="706" y="665"/>
                    <a:pt x="707" y="659"/>
                  </a:cubicBezTo>
                  <a:cubicBezTo>
                    <a:pt x="708" y="661"/>
                    <a:pt x="710" y="663"/>
                    <a:pt x="709" y="664"/>
                  </a:cubicBezTo>
                  <a:cubicBezTo>
                    <a:pt x="708" y="664"/>
                    <a:pt x="704" y="663"/>
                    <a:pt x="706" y="666"/>
                  </a:cubicBezTo>
                  <a:cubicBezTo>
                    <a:pt x="708" y="665"/>
                    <a:pt x="710" y="666"/>
                    <a:pt x="712" y="664"/>
                  </a:cubicBezTo>
                  <a:cubicBezTo>
                    <a:pt x="710" y="662"/>
                    <a:pt x="711" y="661"/>
                    <a:pt x="712" y="660"/>
                  </a:cubicBezTo>
                  <a:cubicBezTo>
                    <a:pt x="710" y="657"/>
                    <a:pt x="710" y="656"/>
                    <a:pt x="711" y="654"/>
                  </a:cubicBezTo>
                  <a:cubicBezTo>
                    <a:pt x="713" y="657"/>
                    <a:pt x="712" y="659"/>
                    <a:pt x="715" y="659"/>
                  </a:cubicBezTo>
                  <a:cubicBezTo>
                    <a:pt x="713" y="653"/>
                    <a:pt x="713" y="649"/>
                    <a:pt x="713" y="644"/>
                  </a:cubicBezTo>
                  <a:cubicBezTo>
                    <a:pt x="714" y="648"/>
                    <a:pt x="716" y="646"/>
                    <a:pt x="717" y="648"/>
                  </a:cubicBezTo>
                  <a:cubicBezTo>
                    <a:pt x="717" y="648"/>
                    <a:pt x="716" y="649"/>
                    <a:pt x="716" y="650"/>
                  </a:cubicBezTo>
                  <a:cubicBezTo>
                    <a:pt x="719" y="647"/>
                    <a:pt x="717" y="654"/>
                    <a:pt x="721" y="653"/>
                  </a:cubicBezTo>
                  <a:cubicBezTo>
                    <a:pt x="717" y="645"/>
                    <a:pt x="722" y="650"/>
                    <a:pt x="722" y="643"/>
                  </a:cubicBezTo>
                  <a:cubicBezTo>
                    <a:pt x="723" y="647"/>
                    <a:pt x="722" y="646"/>
                    <a:pt x="725" y="648"/>
                  </a:cubicBezTo>
                  <a:cubicBezTo>
                    <a:pt x="721" y="650"/>
                    <a:pt x="725" y="648"/>
                    <a:pt x="726" y="651"/>
                  </a:cubicBezTo>
                  <a:cubicBezTo>
                    <a:pt x="726" y="652"/>
                    <a:pt x="726" y="653"/>
                    <a:pt x="725" y="653"/>
                  </a:cubicBezTo>
                  <a:cubicBezTo>
                    <a:pt x="725" y="650"/>
                    <a:pt x="721" y="652"/>
                    <a:pt x="722" y="654"/>
                  </a:cubicBezTo>
                  <a:cubicBezTo>
                    <a:pt x="724" y="654"/>
                    <a:pt x="726" y="660"/>
                    <a:pt x="726" y="661"/>
                  </a:cubicBezTo>
                  <a:cubicBezTo>
                    <a:pt x="728" y="657"/>
                    <a:pt x="730" y="656"/>
                    <a:pt x="729" y="651"/>
                  </a:cubicBezTo>
                  <a:cubicBezTo>
                    <a:pt x="733" y="650"/>
                    <a:pt x="736" y="649"/>
                    <a:pt x="738" y="655"/>
                  </a:cubicBezTo>
                  <a:cubicBezTo>
                    <a:pt x="736" y="656"/>
                    <a:pt x="735" y="653"/>
                    <a:pt x="733" y="653"/>
                  </a:cubicBezTo>
                  <a:cubicBezTo>
                    <a:pt x="732" y="658"/>
                    <a:pt x="729" y="661"/>
                    <a:pt x="729" y="664"/>
                  </a:cubicBezTo>
                  <a:cubicBezTo>
                    <a:pt x="729" y="661"/>
                    <a:pt x="733" y="667"/>
                    <a:pt x="732" y="668"/>
                  </a:cubicBezTo>
                  <a:cubicBezTo>
                    <a:pt x="729" y="668"/>
                    <a:pt x="724" y="666"/>
                    <a:pt x="726" y="670"/>
                  </a:cubicBezTo>
                  <a:cubicBezTo>
                    <a:pt x="721" y="664"/>
                    <a:pt x="718" y="670"/>
                    <a:pt x="714" y="665"/>
                  </a:cubicBezTo>
                  <a:cubicBezTo>
                    <a:pt x="712" y="666"/>
                    <a:pt x="713" y="669"/>
                    <a:pt x="713" y="672"/>
                  </a:cubicBezTo>
                  <a:cubicBezTo>
                    <a:pt x="712" y="669"/>
                    <a:pt x="710" y="672"/>
                    <a:pt x="708" y="671"/>
                  </a:cubicBezTo>
                  <a:cubicBezTo>
                    <a:pt x="708" y="668"/>
                    <a:pt x="705" y="667"/>
                    <a:pt x="703" y="666"/>
                  </a:cubicBezTo>
                  <a:cubicBezTo>
                    <a:pt x="705" y="669"/>
                    <a:pt x="697" y="667"/>
                    <a:pt x="701" y="669"/>
                  </a:cubicBezTo>
                  <a:cubicBezTo>
                    <a:pt x="702" y="669"/>
                    <a:pt x="703" y="669"/>
                    <a:pt x="704" y="670"/>
                  </a:cubicBezTo>
                  <a:cubicBezTo>
                    <a:pt x="702" y="671"/>
                    <a:pt x="702" y="673"/>
                    <a:pt x="701" y="675"/>
                  </a:cubicBezTo>
                  <a:cubicBezTo>
                    <a:pt x="703" y="679"/>
                    <a:pt x="705" y="675"/>
                    <a:pt x="707" y="680"/>
                  </a:cubicBezTo>
                  <a:cubicBezTo>
                    <a:pt x="706" y="680"/>
                    <a:pt x="704" y="681"/>
                    <a:pt x="702" y="680"/>
                  </a:cubicBezTo>
                  <a:cubicBezTo>
                    <a:pt x="704" y="678"/>
                    <a:pt x="699" y="679"/>
                    <a:pt x="698" y="677"/>
                  </a:cubicBezTo>
                  <a:cubicBezTo>
                    <a:pt x="696" y="680"/>
                    <a:pt x="695" y="679"/>
                    <a:pt x="691" y="681"/>
                  </a:cubicBezTo>
                  <a:cubicBezTo>
                    <a:pt x="694" y="687"/>
                    <a:pt x="695" y="680"/>
                    <a:pt x="699" y="679"/>
                  </a:cubicBezTo>
                  <a:cubicBezTo>
                    <a:pt x="704" y="688"/>
                    <a:pt x="710" y="683"/>
                    <a:pt x="715" y="689"/>
                  </a:cubicBezTo>
                  <a:cubicBezTo>
                    <a:pt x="717" y="687"/>
                    <a:pt x="714" y="683"/>
                    <a:pt x="718" y="685"/>
                  </a:cubicBezTo>
                  <a:cubicBezTo>
                    <a:pt x="715" y="680"/>
                    <a:pt x="715" y="680"/>
                    <a:pt x="715" y="680"/>
                  </a:cubicBezTo>
                  <a:cubicBezTo>
                    <a:pt x="713" y="681"/>
                    <a:pt x="715" y="684"/>
                    <a:pt x="712" y="685"/>
                  </a:cubicBezTo>
                  <a:cubicBezTo>
                    <a:pt x="710" y="684"/>
                    <a:pt x="709" y="685"/>
                    <a:pt x="707" y="683"/>
                  </a:cubicBezTo>
                  <a:cubicBezTo>
                    <a:pt x="709" y="682"/>
                    <a:pt x="709" y="680"/>
                    <a:pt x="712" y="677"/>
                  </a:cubicBezTo>
                  <a:cubicBezTo>
                    <a:pt x="713" y="681"/>
                    <a:pt x="715" y="678"/>
                    <a:pt x="717" y="679"/>
                  </a:cubicBezTo>
                  <a:cubicBezTo>
                    <a:pt x="712" y="673"/>
                    <a:pt x="709" y="679"/>
                    <a:pt x="703" y="674"/>
                  </a:cubicBezTo>
                  <a:cubicBezTo>
                    <a:pt x="707" y="673"/>
                    <a:pt x="713" y="671"/>
                    <a:pt x="722" y="677"/>
                  </a:cubicBezTo>
                  <a:cubicBezTo>
                    <a:pt x="723" y="676"/>
                    <a:pt x="720" y="676"/>
                    <a:pt x="721" y="675"/>
                  </a:cubicBezTo>
                  <a:cubicBezTo>
                    <a:pt x="722" y="676"/>
                    <a:pt x="723" y="675"/>
                    <a:pt x="722" y="674"/>
                  </a:cubicBezTo>
                  <a:cubicBezTo>
                    <a:pt x="721" y="675"/>
                    <a:pt x="717" y="673"/>
                    <a:pt x="718" y="672"/>
                  </a:cubicBezTo>
                  <a:cubicBezTo>
                    <a:pt x="721" y="672"/>
                    <a:pt x="724" y="671"/>
                    <a:pt x="727" y="672"/>
                  </a:cubicBezTo>
                  <a:cubicBezTo>
                    <a:pt x="728" y="675"/>
                    <a:pt x="725" y="675"/>
                    <a:pt x="726" y="678"/>
                  </a:cubicBezTo>
                  <a:cubicBezTo>
                    <a:pt x="727" y="678"/>
                    <a:pt x="729" y="678"/>
                    <a:pt x="730" y="678"/>
                  </a:cubicBezTo>
                  <a:cubicBezTo>
                    <a:pt x="729" y="676"/>
                    <a:pt x="728" y="670"/>
                    <a:pt x="732" y="672"/>
                  </a:cubicBezTo>
                  <a:cubicBezTo>
                    <a:pt x="728" y="677"/>
                    <a:pt x="740" y="670"/>
                    <a:pt x="741" y="678"/>
                  </a:cubicBezTo>
                  <a:cubicBezTo>
                    <a:pt x="742" y="676"/>
                    <a:pt x="740" y="673"/>
                    <a:pt x="744" y="672"/>
                  </a:cubicBezTo>
                  <a:cubicBezTo>
                    <a:pt x="745" y="678"/>
                    <a:pt x="746" y="673"/>
                    <a:pt x="749" y="675"/>
                  </a:cubicBezTo>
                  <a:cubicBezTo>
                    <a:pt x="742" y="682"/>
                    <a:pt x="732" y="691"/>
                    <a:pt x="725" y="684"/>
                  </a:cubicBezTo>
                  <a:cubicBezTo>
                    <a:pt x="721" y="688"/>
                    <a:pt x="718" y="689"/>
                    <a:pt x="716" y="692"/>
                  </a:cubicBezTo>
                  <a:cubicBezTo>
                    <a:pt x="716" y="692"/>
                    <a:pt x="717" y="693"/>
                    <a:pt x="717" y="693"/>
                  </a:cubicBezTo>
                  <a:cubicBezTo>
                    <a:pt x="716" y="694"/>
                    <a:pt x="716" y="695"/>
                    <a:pt x="715" y="695"/>
                  </a:cubicBezTo>
                  <a:cubicBezTo>
                    <a:pt x="713" y="693"/>
                    <a:pt x="711" y="691"/>
                    <a:pt x="708" y="688"/>
                  </a:cubicBezTo>
                  <a:cubicBezTo>
                    <a:pt x="707" y="691"/>
                    <a:pt x="711" y="692"/>
                    <a:pt x="710" y="694"/>
                  </a:cubicBezTo>
                  <a:cubicBezTo>
                    <a:pt x="707" y="691"/>
                    <a:pt x="708" y="697"/>
                    <a:pt x="707" y="699"/>
                  </a:cubicBezTo>
                  <a:cubicBezTo>
                    <a:pt x="702" y="700"/>
                    <a:pt x="697" y="700"/>
                    <a:pt x="694" y="704"/>
                  </a:cubicBezTo>
                  <a:cubicBezTo>
                    <a:pt x="693" y="704"/>
                    <a:pt x="693" y="705"/>
                    <a:pt x="693" y="705"/>
                  </a:cubicBezTo>
                  <a:cubicBezTo>
                    <a:pt x="693" y="706"/>
                    <a:pt x="693" y="706"/>
                    <a:pt x="693" y="706"/>
                  </a:cubicBezTo>
                  <a:cubicBezTo>
                    <a:pt x="691" y="705"/>
                    <a:pt x="693" y="701"/>
                    <a:pt x="690" y="702"/>
                  </a:cubicBezTo>
                  <a:cubicBezTo>
                    <a:pt x="693" y="705"/>
                    <a:pt x="687" y="705"/>
                    <a:pt x="690" y="708"/>
                  </a:cubicBezTo>
                  <a:cubicBezTo>
                    <a:pt x="693" y="704"/>
                    <a:pt x="691" y="707"/>
                    <a:pt x="692" y="710"/>
                  </a:cubicBezTo>
                  <a:cubicBezTo>
                    <a:pt x="692" y="710"/>
                    <a:pt x="691" y="711"/>
                    <a:pt x="690" y="711"/>
                  </a:cubicBezTo>
                  <a:cubicBezTo>
                    <a:pt x="690" y="711"/>
                    <a:pt x="690" y="710"/>
                    <a:pt x="690" y="710"/>
                  </a:cubicBezTo>
                  <a:cubicBezTo>
                    <a:pt x="689" y="711"/>
                    <a:pt x="689" y="712"/>
                    <a:pt x="688" y="712"/>
                  </a:cubicBezTo>
                  <a:cubicBezTo>
                    <a:pt x="687" y="710"/>
                    <a:pt x="686" y="709"/>
                    <a:pt x="685" y="708"/>
                  </a:cubicBezTo>
                  <a:cubicBezTo>
                    <a:pt x="685" y="708"/>
                    <a:pt x="685" y="708"/>
                    <a:pt x="684" y="709"/>
                  </a:cubicBezTo>
                  <a:cubicBezTo>
                    <a:pt x="683" y="707"/>
                    <a:pt x="682" y="706"/>
                    <a:pt x="681" y="706"/>
                  </a:cubicBezTo>
                  <a:cubicBezTo>
                    <a:pt x="682" y="707"/>
                    <a:pt x="682" y="708"/>
                    <a:pt x="683" y="709"/>
                  </a:cubicBezTo>
                  <a:cubicBezTo>
                    <a:pt x="683" y="710"/>
                    <a:pt x="682" y="710"/>
                    <a:pt x="682" y="710"/>
                  </a:cubicBezTo>
                  <a:cubicBezTo>
                    <a:pt x="681" y="710"/>
                    <a:pt x="680" y="709"/>
                    <a:pt x="679" y="707"/>
                  </a:cubicBezTo>
                  <a:cubicBezTo>
                    <a:pt x="677" y="711"/>
                    <a:pt x="678" y="707"/>
                    <a:pt x="674" y="704"/>
                  </a:cubicBezTo>
                  <a:cubicBezTo>
                    <a:pt x="678" y="700"/>
                    <a:pt x="677" y="694"/>
                    <a:pt x="678" y="688"/>
                  </a:cubicBezTo>
                  <a:cubicBezTo>
                    <a:pt x="675" y="690"/>
                    <a:pt x="673" y="696"/>
                    <a:pt x="668" y="693"/>
                  </a:cubicBezTo>
                  <a:cubicBezTo>
                    <a:pt x="670" y="690"/>
                    <a:pt x="671" y="685"/>
                    <a:pt x="676" y="689"/>
                  </a:cubicBezTo>
                  <a:cubicBezTo>
                    <a:pt x="672" y="683"/>
                    <a:pt x="678" y="682"/>
                    <a:pt x="679" y="678"/>
                  </a:cubicBezTo>
                  <a:cubicBezTo>
                    <a:pt x="673" y="674"/>
                    <a:pt x="675" y="689"/>
                    <a:pt x="668" y="683"/>
                  </a:cubicBezTo>
                  <a:cubicBezTo>
                    <a:pt x="669" y="683"/>
                    <a:pt x="670" y="682"/>
                    <a:pt x="669" y="680"/>
                  </a:cubicBezTo>
                  <a:cubicBezTo>
                    <a:pt x="664" y="681"/>
                    <a:pt x="659" y="688"/>
                    <a:pt x="653" y="681"/>
                  </a:cubicBezTo>
                  <a:cubicBezTo>
                    <a:pt x="653" y="686"/>
                    <a:pt x="652" y="687"/>
                    <a:pt x="647" y="683"/>
                  </a:cubicBezTo>
                  <a:cubicBezTo>
                    <a:pt x="651" y="688"/>
                    <a:pt x="655" y="691"/>
                    <a:pt x="658" y="691"/>
                  </a:cubicBezTo>
                  <a:cubicBezTo>
                    <a:pt x="657" y="692"/>
                    <a:pt x="660" y="695"/>
                    <a:pt x="658" y="696"/>
                  </a:cubicBezTo>
                  <a:cubicBezTo>
                    <a:pt x="656" y="696"/>
                    <a:pt x="654" y="695"/>
                    <a:pt x="652" y="695"/>
                  </a:cubicBezTo>
                  <a:cubicBezTo>
                    <a:pt x="654" y="697"/>
                    <a:pt x="654" y="698"/>
                    <a:pt x="654" y="700"/>
                  </a:cubicBezTo>
                  <a:cubicBezTo>
                    <a:pt x="657" y="699"/>
                    <a:pt x="655" y="697"/>
                    <a:pt x="657" y="696"/>
                  </a:cubicBezTo>
                  <a:cubicBezTo>
                    <a:pt x="658" y="698"/>
                    <a:pt x="657" y="699"/>
                    <a:pt x="658" y="701"/>
                  </a:cubicBezTo>
                  <a:cubicBezTo>
                    <a:pt x="661" y="700"/>
                    <a:pt x="659" y="697"/>
                    <a:pt x="662" y="695"/>
                  </a:cubicBezTo>
                  <a:cubicBezTo>
                    <a:pt x="663" y="697"/>
                    <a:pt x="663" y="699"/>
                    <a:pt x="663" y="701"/>
                  </a:cubicBezTo>
                  <a:cubicBezTo>
                    <a:pt x="657" y="701"/>
                    <a:pt x="660" y="713"/>
                    <a:pt x="654" y="711"/>
                  </a:cubicBezTo>
                  <a:cubicBezTo>
                    <a:pt x="658" y="715"/>
                    <a:pt x="659" y="709"/>
                    <a:pt x="662" y="710"/>
                  </a:cubicBezTo>
                  <a:cubicBezTo>
                    <a:pt x="663" y="709"/>
                    <a:pt x="659" y="705"/>
                    <a:pt x="660" y="704"/>
                  </a:cubicBezTo>
                  <a:cubicBezTo>
                    <a:pt x="663" y="702"/>
                    <a:pt x="663" y="702"/>
                    <a:pt x="663" y="702"/>
                  </a:cubicBezTo>
                  <a:cubicBezTo>
                    <a:pt x="666" y="707"/>
                    <a:pt x="666" y="709"/>
                    <a:pt x="665" y="711"/>
                  </a:cubicBezTo>
                  <a:cubicBezTo>
                    <a:pt x="668" y="713"/>
                    <a:pt x="666" y="706"/>
                    <a:pt x="668" y="705"/>
                  </a:cubicBezTo>
                  <a:cubicBezTo>
                    <a:pt x="670" y="706"/>
                    <a:pt x="672" y="704"/>
                    <a:pt x="674" y="708"/>
                  </a:cubicBezTo>
                  <a:cubicBezTo>
                    <a:pt x="674" y="710"/>
                    <a:pt x="674" y="713"/>
                    <a:pt x="674" y="715"/>
                  </a:cubicBezTo>
                  <a:cubicBezTo>
                    <a:pt x="674" y="715"/>
                    <a:pt x="674" y="715"/>
                    <a:pt x="673" y="715"/>
                  </a:cubicBezTo>
                  <a:cubicBezTo>
                    <a:pt x="672" y="713"/>
                    <a:pt x="672" y="712"/>
                    <a:pt x="671" y="710"/>
                  </a:cubicBezTo>
                  <a:cubicBezTo>
                    <a:pt x="667" y="712"/>
                    <a:pt x="671" y="714"/>
                    <a:pt x="671" y="716"/>
                  </a:cubicBezTo>
                  <a:cubicBezTo>
                    <a:pt x="669" y="717"/>
                    <a:pt x="668" y="717"/>
                    <a:pt x="666" y="718"/>
                  </a:cubicBezTo>
                  <a:cubicBezTo>
                    <a:pt x="665" y="718"/>
                    <a:pt x="664" y="718"/>
                    <a:pt x="663" y="718"/>
                  </a:cubicBezTo>
                  <a:cubicBezTo>
                    <a:pt x="663" y="718"/>
                    <a:pt x="664" y="719"/>
                    <a:pt x="664" y="720"/>
                  </a:cubicBezTo>
                  <a:cubicBezTo>
                    <a:pt x="663" y="720"/>
                    <a:pt x="662" y="721"/>
                    <a:pt x="661" y="721"/>
                  </a:cubicBezTo>
                  <a:cubicBezTo>
                    <a:pt x="651" y="721"/>
                    <a:pt x="642" y="730"/>
                    <a:pt x="631" y="728"/>
                  </a:cubicBezTo>
                  <a:cubicBezTo>
                    <a:pt x="630" y="727"/>
                    <a:pt x="631" y="726"/>
                    <a:pt x="633" y="725"/>
                  </a:cubicBezTo>
                  <a:cubicBezTo>
                    <a:pt x="631" y="723"/>
                    <a:pt x="630" y="722"/>
                    <a:pt x="629" y="722"/>
                  </a:cubicBezTo>
                  <a:cubicBezTo>
                    <a:pt x="628" y="726"/>
                    <a:pt x="630" y="731"/>
                    <a:pt x="631" y="735"/>
                  </a:cubicBezTo>
                  <a:cubicBezTo>
                    <a:pt x="628" y="738"/>
                    <a:pt x="629" y="732"/>
                    <a:pt x="626" y="733"/>
                  </a:cubicBezTo>
                  <a:cubicBezTo>
                    <a:pt x="626" y="736"/>
                    <a:pt x="629" y="738"/>
                    <a:pt x="631" y="742"/>
                  </a:cubicBezTo>
                  <a:cubicBezTo>
                    <a:pt x="632" y="737"/>
                    <a:pt x="637" y="739"/>
                    <a:pt x="636" y="734"/>
                  </a:cubicBezTo>
                  <a:cubicBezTo>
                    <a:pt x="635" y="733"/>
                    <a:pt x="634" y="735"/>
                    <a:pt x="632" y="732"/>
                  </a:cubicBezTo>
                  <a:cubicBezTo>
                    <a:pt x="635" y="732"/>
                    <a:pt x="638" y="733"/>
                    <a:pt x="641" y="736"/>
                  </a:cubicBezTo>
                  <a:cubicBezTo>
                    <a:pt x="643" y="733"/>
                    <a:pt x="646" y="731"/>
                    <a:pt x="648" y="731"/>
                  </a:cubicBezTo>
                  <a:cubicBezTo>
                    <a:pt x="648" y="731"/>
                    <a:pt x="648" y="731"/>
                    <a:pt x="648" y="732"/>
                  </a:cubicBezTo>
                  <a:cubicBezTo>
                    <a:pt x="643" y="736"/>
                    <a:pt x="638" y="739"/>
                    <a:pt x="633" y="740"/>
                  </a:cubicBezTo>
                  <a:cubicBezTo>
                    <a:pt x="632" y="745"/>
                    <a:pt x="625" y="745"/>
                    <a:pt x="627" y="748"/>
                  </a:cubicBezTo>
                  <a:cubicBezTo>
                    <a:pt x="625" y="747"/>
                    <a:pt x="620" y="748"/>
                    <a:pt x="619" y="749"/>
                  </a:cubicBezTo>
                  <a:cubicBezTo>
                    <a:pt x="620" y="745"/>
                    <a:pt x="622" y="742"/>
                    <a:pt x="627" y="740"/>
                  </a:cubicBezTo>
                  <a:cubicBezTo>
                    <a:pt x="625" y="735"/>
                    <a:pt x="623" y="738"/>
                    <a:pt x="621" y="735"/>
                  </a:cubicBezTo>
                  <a:cubicBezTo>
                    <a:pt x="619" y="737"/>
                    <a:pt x="621" y="740"/>
                    <a:pt x="619" y="741"/>
                  </a:cubicBezTo>
                  <a:cubicBezTo>
                    <a:pt x="611" y="739"/>
                    <a:pt x="604" y="749"/>
                    <a:pt x="599" y="752"/>
                  </a:cubicBezTo>
                  <a:cubicBezTo>
                    <a:pt x="599" y="750"/>
                    <a:pt x="601" y="749"/>
                    <a:pt x="598" y="746"/>
                  </a:cubicBezTo>
                  <a:cubicBezTo>
                    <a:pt x="596" y="748"/>
                    <a:pt x="597" y="750"/>
                    <a:pt x="597" y="752"/>
                  </a:cubicBezTo>
                  <a:cubicBezTo>
                    <a:pt x="592" y="747"/>
                    <a:pt x="587" y="757"/>
                    <a:pt x="583" y="753"/>
                  </a:cubicBezTo>
                  <a:cubicBezTo>
                    <a:pt x="586" y="752"/>
                    <a:pt x="582" y="744"/>
                    <a:pt x="580" y="747"/>
                  </a:cubicBezTo>
                  <a:cubicBezTo>
                    <a:pt x="587" y="755"/>
                    <a:pt x="572" y="761"/>
                    <a:pt x="568" y="763"/>
                  </a:cubicBezTo>
                  <a:cubicBezTo>
                    <a:pt x="570" y="766"/>
                    <a:pt x="564" y="766"/>
                    <a:pt x="563" y="768"/>
                  </a:cubicBezTo>
                  <a:cubicBezTo>
                    <a:pt x="562" y="768"/>
                    <a:pt x="562" y="769"/>
                    <a:pt x="561" y="769"/>
                  </a:cubicBezTo>
                  <a:cubicBezTo>
                    <a:pt x="560" y="768"/>
                    <a:pt x="559" y="767"/>
                    <a:pt x="558" y="768"/>
                  </a:cubicBezTo>
                  <a:cubicBezTo>
                    <a:pt x="561" y="771"/>
                    <a:pt x="555" y="774"/>
                    <a:pt x="554" y="778"/>
                  </a:cubicBezTo>
                  <a:cubicBezTo>
                    <a:pt x="554" y="778"/>
                    <a:pt x="554" y="778"/>
                    <a:pt x="554" y="778"/>
                  </a:cubicBezTo>
                  <a:cubicBezTo>
                    <a:pt x="553" y="776"/>
                    <a:pt x="553" y="775"/>
                    <a:pt x="552" y="775"/>
                  </a:cubicBezTo>
                  <a:cubicBezTo>
                    <a:pt x="554" y="774"/>
                    <a:pt x="555" y="772"/>
                    <a:pt x="553" y="770"/>
                  </a:cubicBezTo>
                  <a:cubicBezTo>
                    <a:pt x="552" y="774"/>
                    <a:pt x="546" y="775"/>
                    <a:pt x="541" y="776"/>
                  </a:cubicBezTo>
                  <a:cubicBezTo>
                    <a:pt x="543" y="774"/>
                    <a:pt x="544" y="770"/>
                    <a:pt x="541" y="769"/>
                  </a:cubicBezTo>
                  <a:cubicBezTo>
                    <a:pt x="542" y="773"/>
                    <a:pt x="538" y="771"/>
                    <a:pt x="537" y="772"/>
                  </a:cubicBezTo>
                  <a:cubicBezTo>
                    <a:pt x="539" y="776"/>
                    <a:pt x="539" y="776"/>
                    <a:pt x="539" y="776"/>
                  </a:cubicBezTo>
                  <a:cubicBezTo>
                    <a:pt x="536" y="777"/>
                    <a:pt x="534" y="778"/>
                    <a:pt x="534" y="780"/>
                  </a:cubicBezTo>
                  <a:cubicBezTo>
                    <a:pt x="532" y="776"/>
                    <a:pt x="533" y="778"/>
                    <a:pt x="530" y="774"/>
                  </a:cubicBezTo>
                  <a:cubicBezTo>
                    <a:pt x="529" y="775"/>
                    <a:pt x="529" y="778"/>
                    <a:pt x="527" y="778"/>
                  </a:cubicBezTo>
                  <a:cubicBezTo>
                    <a:pt x="525" y="774"/>
                    <a:pt x="523" y="774"/>
                    <a:pt x="520" y="776"/>
                  </a:cubicBezTo>
                  <a:cubicBezTo>
                    <a:pt x="523" y="778"/>
                    <a:pt x="523" y="777"/>
                    <a:pt x="527" y="781"/>
                  </a:cubicBezTo>
                  <a:cubicBezTo>
                    <a:pt x="526" y="782"/>
                    <a:pt x="525" y="784"/>
                    <a:pt x="523" y="784"/>
                  </a:cubicBezTo>
                  <a:cubicBezTo>
                    <a:pt x="523" y="777"/>
                    <a:pt x="521" y="784"/>
                    <a:pt x="520" y="778"/>
                  </a:cubicBezTo>
                  <a:cubicBezTo>
                    <a:pt x="515" y="779"/>
                    <a:pt x="511" y="779"/>
                    <a:pt x="506" y="779"/>
                  </a:cubicBezTo>
                  <a:cubicBezTo>
                    <a:pt x="508" y="783"/>
                    <a:pt x="510" y="777"/>
                    <a:pt x="512" y="783"/>
                  </a:cubicBezTo>
                  <a:cubicBezTo>
                    <a:pt x="508" y="785"/>
                    <a:pt x="508" y="785"/>
                    <a:pt x="508" y="785"/>
                  </a:cubicBezTo>
                  <a:cubicBezTo>
                    <a:pt x="507" y="783"/>
                    <a:pt x="505" y="781"/>
                    <a:pt x="504" y="782"/>
                  </a:cubicBezTo>
                  <a:cubicBezTo>
                    <a:pt x="511" y="792"/>
                    <a:pt x="492" y="790"/>
                    <a:pt x="492" y="801"/>
                  </a:cubicBezTo>
                  <a:cubicBezTo>
                    <a:pt x="492" y="799"/>
                    <a:pt x="492" y="797"/>
                    <a:pt x="491" y="796"/>
                  </a:cubicBezTo>
                  <a:cubicBezTo>
                    <a:pt x="490" y="797"/>
                    <a:pt x="489" y="795"/>
                    <a:pt x="488" y="795"/>
                  </a:cubicBezTo>
                  <a:cubicBezTo>
                    <a:pt x="487" y="797"/>
                    <a:pt x="491" y="797"/>
                    <a:pt x="489" y="800"/>
                  </a:cubicBezTo>
                  <a:cubicBezTo>
                    <a:pt x="486" y="802"/>
                    <a:pt x="487" y="800"/>
                    <a:pt x="487" y="798"/>
                  </a:cubicBezTo>
                  <a:cubicBezTo>
                    <a:pt x="485" y="798"/>
                    <a:pt x="487" y="802"/>
                    <a:pt x="487" y="804"/>
                  </a:cubicBezTo>
                  <a:cubicBezTo>
                    <a:pt x="486" y="804"/>
                    <a:pt x="486" y="804"/>
                    <a:pt x="485" y="804"/>
                  </a:cubicBezTo>
                  <a:cubicBezTo>
                    <a:pt x="482" y="798"/>
                    <a:pt x="482" y="808"/>
                    <a:pt x="479" y="803"/>
                  </a:cubicBezTo>
                  <a:cubicBezTo>
                    <a:pt x="479" y="809"/>
                    <a:pt x="475" y="805"/>
                    <a:pt x="472" y="807"/>
                  </a:cubicBezTo>
                  <a:cubicBezTo>
                    <a:pt x="474" y="813"/>
                    <a:pt x="476" y="805"/>
                    <a:pt x="478" y="808"/>
                  </a:cubicBezTo>
                  <a:cubicBezTo>
                    <a:pt x="477" y="809"/>
                    <a:pt x="478" y="811"/>
                    <a:pt x="477" y="811"/>
                  </a:cubicBezTo>
                  <a:cubicBezTo>
                    <a:pt x="478" y="812"/>
                    <a:pt x="479" y="813"/>
                    <a:pt x="479" y="813"/>
                  </a:cubicBezTo>
                  <a:cubicBezTo>
                    <a:pt x="479" y="813"/>
                    <a:pt x="478" y="812"/>
                    <a:pt x="477" y="812"/>
                  </a:cubicBezTo>
                  <a:cubicBezTo>
                    <a:pt x="477" y="812"/>
                    <a:pt x="477" y="812"/>
                    <a:pt x="477" y="811"/>
                  </a:cubicBezTo>
                  <a:cubicBezTo>
                    <a:pt x="474" y="808"/>
                    <a:pt x="469" y="810"/>
                    <a:pt x="465" y="812"/>
                  </a:cubicBezTo>
                  <a:cubicBezTo>
                    <a:pt x="463" y="812"/>
                    <a:pt x="462" y="812"/>
                    <a:pt x="460" y="812"/>
                  </a:cubicBezTo>
                  <a:cubicBezTo>
                    <a:pt x="460" y="812"/>
                    <a:pt x="460" y="812"/>
                    <a:pt x="460" y="812"/>
                  </a:cubicBezTo>
                  <a:cubicBezTo>
                    <a:pt x="460" y="812"/>
                    <a:pt x="460" y="812"/>
                    <a:pt x="460" y="810"/>
                  </a:cubicBezTo>
                  <a:cubicBezTo>
                    <a:pt x="455" y="810"/>
                    <a:pt x="453" y="816"/>
                    <a:pt x="449" y="814"/>
                  </a:cubicBezTo>
                  <a:cubicBezTo>
                    <a:pt x="450" y="815"/>
                    <a:pt x="450" y="816"/>
                    <a:pt x="451" y="817"/>
                  </a:cubicBezTo>
                  <a:cubicBezTo>
                    <a:pt x="448" y="817"/>
                    <a:pt x="446" y="818"/>
                    <a:pt x="444" y="819"/>
                  </a:cubicBezTo>
                  <a:cubicBezTo>
                    <a:pt x="446" y="818"/>
                    <a:pt x="445" y="814"/>
                    <a:pt x="448" y="816"/>
                  </a:cubicBezTo>
                  <a:cubicBezTo>
                    <a:pt x="447" y="812"/>
                    <a:pt x="440" y="816"/>
                    <a:pt x="443" y="819"/>
                  </a:cubicBezTo>
                  <a:cubicBezTo>
                    <a:pt x="438" y="820"/>
                    <a:pt x="432" y="823"/>
                    <a:pt x="424" y="825"/>
                  </a:cubicBezTo>
                  <a:cubicBezTo>
                    <a:pt x="430" y="820"/>
                    <a:pt x="416" y="827"/>
                    <a:pt x="419" y="822"/>
                  </a:cubicBezTo>
                  <a:cubicBezTo>
                    <a:pt x="417" y="824"/>
                    <a:pt x="415" y="827"/>
                    <a:pt x="412" y="829"/>
                  </a:cubicBezTo>
                  <a:cubicBezTo>
                    <a:pt x="412" y="829"/>
                    <a:pt x="411" y="828"/>
                    <a:pt x="411" y="828"/>
                  </a:cubicBezTo>
                  <a:cubicBezTo>
                    <a:pt x="411" y="828"/>
                    <a:pt x="412" y="829"/>
                    <a:pt x="412" y="829"/>
                  </a:cubicBezTo>
                  <a:cubicBezTo>
                    <a:pt x="409" y="831"/>
                    <a:pt x="407" y="832"/>
                    <a:pt x="405" y="833"/>
                  </a:cubicBezTo>
                  <a:cubicBezTo>
                    <a:pt x="406" y="834"/>
                    <a:pt x="408" y="837"/>
                    <a:pt x="406" y="837"/>
                  </a:cubicBezTo>
                  <a:cubicBezTo>
                    <a:pt x="403" y="837"/>
                    <a:pt x="404" y="833"/>
                    <a:pt x="401" y="837"/>
                  </a:cubicBezTo>
                  <a:cubicBezTo>
                    <a:pt x="399" y="833"/>
                    <a:pt x="397" y="831"/>
                    <a:pt x="394" y="833"/>
                  </a:cubicBezTo>
                  <a:cubicBezTo>
                    <a:pt x="392" y="834"/>
                    <a:pt x="396" y="837"/>
                    <a:pt x="394" y="838"/>
                  </a:cubicBezTo>
                  <a:cubicBezTo>
                    <a:pt x="393" y="838"/>
                    <a:pt x="393" y="838"/>
                    <a:pt x="392" y="838"/>
                  </a:cubicBezTo>
                  <a:cubicBezTo>
                    <a:pt x="392" y="838"/>
                    <a:pt x="392" y="837"/>
                    <a:pt x="392" y="836"/>
                  </a:cubicBezTo>
                  <a:cubicBezTo>
                    <a:pt x="390" y="837"/>
                    <a:pt x="389" y="837"/>
                    <a:pt x="389" y="839"/>
                  </a:cubicBezTo>
                  <a:cubicBezTo>
                    <a:pt x="388" y="839"/>
                    <a:pt x="387" y="839"/>
                    <a:pt x="386" y="839"/>
                  </a:cubicBezTo>
                  <a:cubicBezTo>
                    <a:pt x="387" y="838"/>
                    <a:pt x="388" y="836"/>
                    <a:pt x="387" y="834"/>
                  </a:cubicBezTo>
                  <a:cubicBezTo>
                    <a:pt x="384" y="837"/>
                    <a:pt x="384" y="833"/>
                    <a:pt x="384" y="832"/>
                  </a:cubicBezTo>
                  <a:cubicBezTo>
                    <a:pt x="380" y="832"/>
                    <a:pt x="376" y="833"/>
                    <a:pt x="373" y="832"/>
                  </a:cubicBezTo>
                  <a:cubicBezTo>
                    <a:pt x="376" y="837"/>
                    <a:pt x="381" y="839"/>
                    <a:pt x="380" y="844"/>
                  </a:cubicBezTo>
                  <a:cubicBezTo>
                    <a:pt x="384" y="843"/>
                    <a:pt x="386" y="848"/>
                    <a:pt x="389" y="850"/>
                  </a:cubicBezTo>
                  <a:cubicBezTo>
                    <a:pt x="389" y="850"/>
                    <a:pt x="388" y="850"/>
                    <a:pt x="387" y="850"/>
                  </a:cubicBezTo>
                  <a:cubicBezTo>
                    <a:pt x="387" y="850"/>
                    <a:pt x="386" y="849"/>
                    <a:pt x="386" y="849"/>
                  </a:cubicBezTo>
                  <a:cubicBezTo>
                    <a:pt x="386" y="852"/>
                    <a:pt x="382" y="850"/>
                    <a:pt x="382" y="853"/>
                  </a:cubicBezTo>
                  <a:cubicBezTo>
                    <a:pt x="382" y="853"/>
                    <a:pt x="381" y="854"/>
                    <a:pt x="380" y="854"/>
                  </a:cubicBezTo>
                  <a:cubicBezTo>
                    <a:pt x="378" y="850"/>
                    <a:pt x="378" y="850"/>
                    <a:pt x="378" y="850"/>
                  </a:cubicBezTo>
                  <a:cubicBezTo>
                    <a:pt x="376" y="851"/>
                    <a:pt x="374" y="849"/>
                    <a:pt x="376" y="853"/>
                  </a:cubicBezTo>
                  <a:cubicBezTo>
                    <a:pt x="377" y="852"/>
                    <a:pt x="378" y="854"/>
                    <a:pt x="379" y="855"/>
                  </a:cubicBezTo>
                  <a:cubicBezTo>
                    <a:pt x="374" y="857"/>
                    <a:pt x="369" y="859"/>
                    <a:pt x="364" y="860"/>
                  </a:cubicBezTo>
                  <a:cubicBezTo>
                    <a:pt x="364" y="859"/>
                    <a:pt x="364" y="858"/>
                    <a:pt x="364" y="857"/>
                  </a:cubicBezTo>
                  <a:cubicBezTo>
                    <a:pt x="363" y="858"/>
                    <a:pt x="358" y="857"/>
                    <a:pt x="359" y="861"/>
                  </a:cubicBezTo>
                  <a:cubicBezTo>
                    <a:pt x="360" y="861"/>
                    <a:pt x="360" y="861"/>
                    <a:pt x="360" y="861"/>
                  </a:cubicBezTo>
                  <a:cubicBezTo>
                    <a:pt x="352" y="863"/>
                    <a:pt x="343" y="865"/>
                    <a:pt x="335" y="865"/>
                  </a:cubicBezTo>
                  <a:cubicBezTo>
                    <a:pt x="336" y="864"/>
                    <a:pt x="336" y="864"/>
                    <a:pt x="336" y="863"/>
                  </a:cubicBezTo>
                  <a:cubicBezTo>
                    <a:pt x="335" y="863"/>
                    <a:pt x="334" y="862"/>
                    <a:pt x="334" y="860"/>
                  </a:cubicBezTo>
                  <a:cubicBezTo>
                    <a:pt x="331" y="861"/>
                    <a:pt x="331" y="863"/>
                    <a:pt x="331" y="865"/>
                  </a:cubicBezTo>
                  <a:cubicBezTo>
                    <a:pt x="330" y="865"/>
                    <a:pt x="330" y="865"/>
                    <a:pt x="330" y="865"/>
                  </a:cubicBezTo>
                  <a:cubicBezTo>
                    <a:pt x="330" y="860"/>
                    <a:pt x="328" y="857"/>
                    <a:pt x="323" y="856"/>
                  </a:cubicBezTo>
                  <a:cubicBezTo>
                    <a:pt x="325" y="862"/>
                    <a:pt x="324" y="866"/>
                    <a:pt x="321" y="868"/>
                  </a:cubicBezTo>
                  <a:cubicBezTo>
                    <a:pt x="318" y="868"/>
                    <a:pt x="316" y="870"/>
                    <a:pt x="315" y="872"/>
                  </a:cubicBezTo>
                  <a:cubicBezTo>
                    <a:pt x="315" y="872"/>
                    <a:pt x="315" y="872"/>
                    <a:pt x="315" y="872"/>
                  </a:cubicBezTo>
                  <a:cubicBezTo>
                    <a:pt x="305" y="875"/>
                    <a:pt x="290" y="875"/>
                    <a:pt x="285" y="885"/>
                  </a:cubicBezTo>
                  <a:cubicBezTo>
                    <a:pt x="287" y="892"/>
                    <a:pt x="290" y="891"/>
                    <a:pt x="294" y="898"/>
                  </a:cubicBezTo>
                  <a:cubicBezTo>
                    <a:pt x="285" y="902"/>
                    <a:pt x="287" y="909"/>
                    <a:pt x="285" y="915"/>
                  </a:cubicBezTo>
                  <a:cubicBezTo>
                    <a:pt x="280" y="920"/>
                    <a:pt x="277" y="921"/>
                    <a:pt x="270" y="926"/>
                  </a:cubicBezTo>
                  <a:cubicBezTo>
                    <a:pt x="269" y="925"/>
                    <a:pt x="268" y="924"/>
                    <a:pt x="267" y="925"/>
                  </a:cubicBezTo>
                  <a:cubicBezTo>
                    <a:pt x="264" y="928"/>
                    <a:pt x="271" y="926"/>
                    <a:pt x="271" y="930"/>
                  </a:cubicBezTo>
                  <a:cubicBezTo>
                    <a:pt x="268" y="932"/>
                    <a:pt x="267" y="936"/>
                    <a:pt x="267" y="939"/>
                  </a:cubicBezTo>
                  <a:cubicBezTo>
                    <a:pt x="263" y="941"/>
                    <a:pt x="258" y="941"/>
                    <a:pt x="259" y="945"/>
                  </a:cubicBezTo>
                  <a:cubicBezTo>
                    <a:pt x="262" y="944"/>
                    <a:pt x="264" y="943"/>
                    <a:pt x="266" y="943"/>
                  </a:cubicBezTo>
                  <a:cubicBezTo>
                    <a:pt x="265" y="945"/>
                    <a:pt x="264" y="948"/>
                    <a:pt x="260" y="948"/>
                  </a:cubicBezTo>
                  <a:cubicBezTo>
                    <a:pt x="265" y="952"/>
                    <a:pt x="266" y="955"/>
                    <a:pt x="266" y="958"/>
                  </a:cubicBezTo>
                  <a:cubicBezTo>
                    <a:pt x="265" y="957"/>
                    <a:pt x="265" y="956"/>
                    <a:pt x="264" y="958"/>
                  </a:cubicBezTo>
                  <a:cubicBezTo>
                    <a:pt x="265" y="961"/>
                    <a:pt x="265" y="961"/>
                    <a:pt x="265" y="961"/>
                  </a:cubicBezTo>
                  <a:cubicBezTo>
                    <a:pt x="264" y="961"/>
                    <a:pt x="263" y="962"/>
                    <a:pt x="264" y="963"/>
                  </a:cubicBezTo>
                  <a:cubicBezTo>
                    <a:pt x="266" y="962"/>
                    <a:pt x="264" y="965"/>
                    <a:pt x="262" y="965"/>
                  </a:cubicBezTo>
                  <a:cubicBezTo>
                    <a:pt x="263" y="962"/>
                    <a:pt x="252" y="960"/>
                    <a:pt x="254" y="966"/>
                  </a:cubicBezTo>
                  <a:cubicBezTo>
                    <a:pt x="259" y="966"/>
                    <a:pt x="267" y="964"/>
                    <a:pt x="267" y="971"/>
                  </a:cubicBezTo>
                  <a:cubicBezTo>
                    <a:pt x="271" y="969"/>
                    <a:pt x="273" y="969"/>
                    <a:pt x="276" y="971"/>
                  </a:cubicBezTo>
                  <a:cubicBezTo>
                    <a:pt x="276" y="973"/>
                    <a:pt x="275" y="976"/>
                    <a:pt x="274" y="978"/>
                  </a:cubicBezTo>
                  <a:cubicBezTo>
                    <a:pt x="277" y="980"/>
                    <a:pt x="279" y="980"/>
                    <a:pt x="282" y="981"/>
                  </a:cubicBezTo>
                  <a:cubicBezTo>
                    <a:pt x="279" y="987"/>
                    <a:pt x="269" y="997"/>
                    <a:pt x="259" y="993"/>
                  </a:cubicBezTo>
                  <a:cubicBezTo>
                    <a:pt x="255" y="997"/>
                    <a:pt x="256" y="1009"/>
                    <a:pt x="248" y="1003"/>
                  </a:cubicBezTo>
                  <a:cubicBezTo>
                    <a:pt x="249" y="1002"/>
                    <a:pt x="251" y="998"/>
                    <a:pt x="251" y="994"/>
                  </a:cubicBezTo>
                  <a:cubicBezTo>
                    <a:pt x="246" y="997"/>
                    <a:pt x="245" y="1007"/>
                    <a:pt x="238" y="1003"/>
                  </a:cubicBezTo>
                  <a:cubicBezTo>
                    <a:pt x="243" y="991"/>
                    <a:pt x="255" y="978"/>
                    <a:pt x="269" y="974"/>
                  </a:cubicBezTo>
                  <a:cubicBezTo>
                    <a:pt x="257" y="972"/>
                    <a:pt x="245" y="985"/>
                    <a:pt x="237" y="996"/>
                  </a:cubicBezTo>
                  <a:cubicBezTo>
                    <a:pt x="237" y="996"/>
                    <a:pt x="236" y="996"/>
                    <a:pt x="236" y="996"/>
                  </a:cubicBezTo>
                  <a:cubicBezTo>
                    <a:pt x="236" y="996"/>
                    <a:pt x="236" y="995"/>
                    <a:pt x="235" y="995"/>
                  </a:cubicBezTo>
                  <a:cubicBezTo>
                    <a:pt x="235" y="995"/>
                    <a:pt x="235" y="996"/>
                    <a:pt x="235" y="996"/>
                  </a:cubicBezTo>
                  <a:cubicBezTo>
                    <a:pt x="231" y="997"/>
                    <a:pt x="227" y="1000"/>
                    <a:pt x="223" y="1003"/>
                  </a:cubicBezTo>
                  <a:cubicBezTo>
                    <a:pt x="223" y="1003"/>
                    <a:pt x="223" y="1003"/>
                    <a:pt x="223" y="1003"/>
                  </a:cubicBezTo>
                  <a:cubicBezTo>
                    <a:pt x="221" y="1003"/>
                    <a:pt x="221" y="1004"/>
                    <a:pt x="221" y="1006"/>
                  </a:cubicBezTo>
                  <a:cubicBezTo>
                    <a:pt x="220" y="1007"/>
                    <a:pt x="219" y="1008"/>
                    <a:pt x="218" y="1010"/>
                  </a:cubicBezTo>
                  <a:cubicBezTo>
                    <a:pt x="215" y="1011"/>
                    <a:pt x="213" y="1008"/>
                    <a:pt x="210" y="1009"/>
                  </a:cubicBezTo>
                  <a:cubicBezTo>
                    <a:pt x="202" y="1013"/>
                    <a:pt x="190" y="1035"/>
                    <a:pt x="183" y="1022"/>
                  </a:cubicBezTo>
                  <a:cubicBezTo>
                    <a:pt x="178" y="1023"/>
                    <a:pt x="184" y="1026"/>
                    <a:pt x="182" y="1027"/>
                  </a:cubicBezTo>
                  <a:cubicBezTo>
                    <a:pt x="179" y="1027"/>
                    <a:pt x="177" y="1027"/>
                    <a:pt x="175" y="1024"/>
                  </a:cubicBezTo>
                  <a:cubicBezTo>
                    <a:pt x="179" y="1007"/>
                    <a:pt x="190" y="993"/>
                    <a:pt x="196" y="978"/>
                  </a:cubicBezTo>
                  <a:cubicBezTo>
                    <a:pt x="191" y="977"/>
                    <a:pt x="186" y="978"/>
                    <a:pt x="182" y="972"/>
                  </a:cubicBezTo>
                  <a:cubicBezTo>
                    <a:pt x="172" y="978"/>
                    <a:pt x="167" y="987"/>
                    <a:pt x="164" y="997"/>
                  </a:cubicBezTo>
                  <a:cubicBezTo>
                    <a:pt x="162" y="997"/>
                    <a:pt x="160" y="997"/>
                    <a:pt x="160" y="1000"/>
                  </a:cubicBezTo>
                  <a:cubicBezTo>
                    <a:pt x="161" y="1000"/>
                    <a:pt x="162" y="1000"/>
                    <a:pt x="163" y="1000"/>
                  </a:cubicBezTo>
                  <a:cubicBezTo>
                    <a:pt x="163" y="1000"/>
                    <a:pt x="162" y="1001"/>
                    <a:pt x="162" y="1002"/>
                  </a:cubicBezTo>
                  <a:cubicBezTo>
                    <a:pt x="160" y="1002"/>
                    <a:pt x="159" y="1002"/>
                    <a:pt x="158" y="998"/>
                  </a:cubicBezTo>
                  <a:cubicBezTo>
                    <a:pt x="155" y="1002"/>
                    <a:pt x="154" y="1004"/>
                    <a:pt x="148" y="1004"/>
                  </a:cubicBezTo>
                  <a:cubicBezTo>
                    <a:pt x="150" y="1009"/>
                    <a:pt x="153" y="1006"/>
                    <a:pt x="156" y="1007"/>
                  </a:cubicBezTo>
                  <a:cubicBezTo>
                    <a:pt x="156" y="1003"/>
                    <a:pt x="158" y="1004"/>
                    <a:pt x="161" y="1004"/>
                  </a:cubicBezTo>
                  <a:cubicBezTo>
                    <a:pt x="157" y="1015"/>
                    <a:pt x="153" y="1026"/>
                    <a:pt x="141" y="1032"/>
                  </a:cubicBezTo>
                  <a:cubicBezTo>
                    <a:pt x="152" y="1040"/>
                    <a:pt x="144" y="1051"/>
                    <a:pt x="156" y="1057"/>
                  </a:cubicBezTo>
                  <a:cubicBezTo>
                    <a:pt x="154" y="1058"/>
                    <a:pt x="153" y="1059"/>
                    <a:pt x="152" y="1060"/>
                  </a:cubicBezTo>
                  <a:cubicBezTo>
                    <a:pt x="159" y="1068"/>
                    <a:pt x="165" y="1073"/>
                    <a:pt x="164" y="1082"/>
                  </a:cubicBezTo>
                  <a:cubicBezTo>
                    <a:pt x="165" y="1084"/>
                    <a:pt x="167" y="1081"/>
                    <a:pt x="168" y="1083"/>
                  </a:cubicBezTo>
                  <a:cubicBezTo>
                    <a:pt x="165" y="1085"/>
                    <a:pt x="168" y="1089"/>
                    <a:pt x="168" y="1092"/>
                  </a:cubicBezTo>
                  <a:cubicBezTo>
                    <a:pt x="170" y="1093"/>
                    <a:pt x="173" y="1089"/>
                    <a:pt x="174" y="1091"/>
                  </a:cubicBezTo>
                  <a:cubicBezTo>
                    <a:pt x="194" y="1113"/>
                    <a:pt x="208" y="1121"/>
                    <a:pt x="234" y="1141"/>
                  </a:cubicBezTo>
                  <a:cubicBezTo>
                    <a:pt x="246" y="1141"/>
                    <a:pt x="256" y="1149"/>
                    <a:pt x="267" y="1150"/>
                  </a:cubicBezTo>
                  <a:cubicBezTo>
                    <a:pt x="268" y="1156"/>
                    <a:pt x="278" y="1156"/>
                    <a:pt x="279" y="1163"/>
                  </a:cubicBezTo>
                  <a:cubicBezTo>
                    <a:pt x="281" y="1161"/>
                    <a:pt x="283" y="1160"/>
                    <a:pt x="284" y="1162"/>
                  </a:cubicBezTo>
                  <a:cubicBezTo>
                    <a:pt x="282" y="1163"/>
                    <a:pt x="280" y="1165"/>
                    <a:pt x="281" y="1167"/>
                  </a:cubicBezTo>
                  <a:cubicBezTo>
                    <a:pt x="286" y="1163"/>
                    <a:pt x="286" y="1171"/>
                    <a:pt x="287" y="1171"/>
                  </a:cubicBezTo>
                  <a:cubicBezTo>
                    <a:pt x="294" y="1177"/>
                    <a:pt x="305" y="1179"/>
                    <a:pt x="313" y="1185"/>
                  </a:cubicBezTo>
                  <a:cubicBezTo>
                    <a:pt x="311" y="1185"/>
                    <a:pt x="310" y="1186"/>
                    <a:pt x="309" y="1186"/>
                  </a:cubicBezTo>
                  <a:cubicBezTo>
                    <a:pt x="306" y="1187"/>
                    <a:pt x="300" y="1189"/>
                    <a:pt x="302" y="1194"/>
                  </a:cubicBezTo>
                  <a:cubicBezTo>
                    <a:pt x="303" y="1193"/>
                    <a:pt x="303" y="1193"/>
                    <a:pt x="304" y="1194"/>
                  </a:cubicBezTo>
                  <a:cubicBezTo>
                    <a:pt x="302" y="1195"/>
                    <a:pt x="300" y="1195"/>
                    <a:pt x="298" y="1195"/>
                  </a:cubicBezTo>
                  <a:cubicBezTo>
                    <a:pt x="297" y="1193"/>
                    <a:pt x="292" y="1193"/>
                    <a:pt x="293" y="1196"/>
                  </a:cubicBezTo>
                  <a:cubicBezTo>
                    <a:pt x="292" y="1196"/>
                    <a:pt x="292" y="1196"/>
                    <a:pt x="291" y="1197"/>
                  </a:cubicBezTo>
                  <a:cubicBezTo>
                    <a:pt x="291" y="1196"/>
                    <a:pt x="291" y="1196"/>
                    <a:pt x="291" y="1196"/>
                  </a:cubicBezTo>
                  <a:cubicBezTo>
                    <a:pt x="290" y="1197"/>
                    <a:pt x="286" y="1198"/>
                    <a:pt x="285" y="1199"/>
                  </a:cubicBezTo>
                  <a:cubicBezTo>
                    <a:pt x="284" y="1200"/>
                    <a:pt x="283" y="1201"/>
                    <a:pt x="283" y="1203"/>
                  </a:cubicBezTo>
                  <a:cubicBezTo>
                    <a:pt x="277" y="1202"/>
                    <a:pt x="271" y="1205"/>
                    <a:pt x="266" y="1199"/>
                  </a:cubicBezTo>
                  <a:cubicBezTo>
                    <a:pt x="269" y="1197"/>
                    <a:pt x="272" y="1195"/>
                    <a:pt x="269" y="1191"/>
                  </a:cubicBezTo>
                  <a:cubicBezTo>
                    <a:pt x="260" y="1191"/>
                    <a:pt x="250" y="1192"/>
                    <a:pt x="239" y="1198"/>
                  </a:cubicBezTo>
                  <a:cubicBezTo>
                    <a:pt x="231" y="1189"/>
                    <a:pt x="220" y="1200"/>
                    <a:pt x="210" y="1202"/>
                  </a:cubicBezTo>
                  <a:cubicBezTo>
                    <a:pt x="208" y="1200"/>
                    <a:pt x="212" y="1199"/>
                    <a:pt x="209" y="1196"/>
                  </a:cubicBezTo>
                  <a:cubicBezTo>
                    <a:pt x="199" y="1205"/>
                    <a:pt x="184" y="1211"/>
                    <a:pt x="170" y="1214"/>
                  </a:cubicBezTo>
                  <a:cubicBezTo>
                    <a:pt x="157" y="1204"/>
                    <a:pt x="136" y="1221"/>
                    <a:pt x="127" y="1209"/>
                  </a:cubicBezTo>
                  <a:cubicBezTo>
                    <a:pt x="121" y="1211"/>
                    <a:pt x="115" y="1213"/>
                    <a:pt x="110" y="1210"/>
                  </a:cubicBezTo>
                  <a:cubicBezTo>
                    <a:pt x="108" y="1204"/>
                    <a:pt x="109" y="1199"/>
                    <a:pt x="103" y="1192"/>
                  </a:cubicBezTo>
                  <a:cubicBezTo>
                    <a:pt x="96" y="1188"/>
                    <a:pt x="88" y="1193"/>
                    <a:pt x="81" y="1192"/>
                  </a:cubicBezTo>
                  <a:cubicBezTo>
                    <a:pt x="83" y="1196"/>
                    <a:pt x="79" y="1203"/>
                    <a:pt x="73" y="1203"/>
                  </a:cubicBezTo>
                  <a:cubicBezTo>
                    <a:pt x="72" y="1200"/>
                    <a:pt x="75" y="1198"/>
                    <a:pt x="74" y="1196"/>
                  </a:cubicBezTo>
                  <a:cubicBezTo>
                    <a:pt x="66" y="1192"/>
                    <a:pt x="63" y="1186"/>
                    <a:pt x="56" y="1182"/>
                  </a:cubicBezTo>
                  <a:cubicBezTo>
                    <a:pt x="52" y="1184"/>
                    <a:pt x="48" y="1189"/>
                    <a:pt x="44" y="1185"/>
                  </a:cubicBezTo>
                  <a:cubicBezTo>
                    <a:pt x="45" y="1183"/>
                    <a:pt x="51" y="1185"/>
                    <a:pt x="49" y="1181"/>
                  </a:cubicBezTo>
                  <a:cubicBezTo>
                    <a:pt x="46" y="1183"/>
                    <a:pt x="43" y="1179"/>
                    <a:pt x="40" y="1181"/>
                  </a:cubicBezTo>
                  <a:cubicBezTo>
                    <a:pt x="45" y="1188"/>
                    <a:pt x="36" y="1184"/>
                    <a:pt x="34" y="1185"/>
                  </a:cubicBezTo>
                  <a:cubicBezTo>
                    <a:pt x="33" y="1190"/>
                    <a:pt x="38" y="1190"/>
                    <a:pt x="38" y="1195"/>
                  </a:cubicBezTo>
                  <a:cubicBezTo>
                    <a:pt x="25" y="1205"/>
                    <a:pt x="2" y="1191"/>
                    <a:pt x="0" y="1207"/>
                  </a:cubicBezTo>
                  <a:cubicBezTo>
                    <a:pt x="2" y="1207"/>
                    <a:pt x="5" y="1205"/>
                    <a:pt x="8" y="1203"/>
                  </a:cubicBezTo>
                  <a:cubicBezTo>
                    <a:pt x="21" y="1207"/>
                    <a:pt x="35" y="1208"/>
                    <a:pt x="48" y="1208"/>
                  </a:cubicBezTo>
                  <a:cubicBezTo>
                    <a:pt x="49" y="1210"/>
                    <a:pt x="48" y="1211"/>
                    <a:pt x="50" y="1213"/>
                  </a:cubicBezTo>
                  <a:cubicBezTo>
                    <a:pt x="54" y="1210"/>
                    <a:pt x="54" y="1207"/>
                    <a:pt x="57" y="1204"/>
                  </a:cubicBezTo>
                  <a:cubicBezTo>
                    <a:pt x="60" y="1205"/>
                    <a:pt x="63" y="1206"/>
                    <a:pt x="67" y="1202"/>
                  </a:cubicBezTo>
                  <a:cubicBezTo>
                    <a:pt x="66" y="1210"/>
                    <a:pt x="73" y="1205"/>
                    <a:pt x="76" y="1209"/>
                  </a:cubicBezTo>
                  <a:cubicBezTo>
                    <a:pt x="74" y="1213"/>
                    <a:pt x="74" y="1213"/>
                    <a:pt x="78" y="1217"/>
                  </a:cubicBezTo>
                  <a:cubicBezTo>
                    <a:pt x="76" y="1218"/>
                    <a:pt x="79" y="1220"/>
                    <a:pt x="76" y="1222"/>
                  </a:cubicBezTo>
                  <a:cubicBezTo>
                    <a:pt x="65" y="1225"/>
                    <a:pt x="52" y="1229"/>
                    <a:pt x="39" y="1236"/>
                  </a:cubicBezTo>
                  <a:cubicBezTo>
                    <a:pt x="49" y="1241"/>
                    <a:pt x="60" y="1235"/>
                    <a:pt x="70" y="1235"/>
                  </a:cubicBezTo>
                  <a:cubicBezTo>
                    <a:pt x="75" y="1245"/>
                    <a:pt x="81" y="1246"/>
                    <a:pt x="91" y="1249"/>
                  </a:cubicBezTo>
                  <a:cubicBezTo>
                    <a:pt x="96" y="1248"/>
                    <a:pt x="90" y="1245"/>
                    <a:pt x="94" y="1244"/>
                  </a:cubicBezTo>
                  <a:cubicBezTo>
                    <a:pt x="104" y="1252"/>
                    <a:pt x="120" y="1254"/>
                    <a:pt x="126" y="1269"/>
                  </a:cubicBezTo>
                  <a:cubicBezTo>
                    <a:pt x="113" y="1277"/>
                    <a:pt x="122" y="1289"/>
                    <a:pt x="109" y="1297"/>
                  </a:cubicBezTo>
                  <a:cubicBezTo>
                    <a:pt x="112" y="1301"/>
                    <a:pt x="108" y="1305"/>
                    <a:pt x="110" y="1309"/>
                  </a:cubicBezTo>
                  <a:cubicBezTo>
                    <a:pt x="112" y="1311"/>
                    <a:pt x="114" y="1311"/>
                    <a:pt x="116" y="1312"/>
                  </a:cubicBezTo>
                  <a:cubicBezTo>
                    <a:pt x="118" y="1315"/>
                    <a:pt x="116" y="1318"/>
                    <a:pt x="115" y="1320"/>
                  </a:cubicBezTo>
                  <a:cubicBezTo>
                    <a:pt x="122" y="1337"/>
                    <a:pt x="132" y="1325"/>
                    <a:pt x="140" y="1335"/>
                  </a:cubicBezTo>
                  <a:cubicBezTo>
                    <a:pt x="133" y="1344"/>
                    <a:pt x="119" y="1351"/>
                    <a:pt x="116" y="1360"/>
                  </a:cubicBezTo>
                  <a:cubicBezTo>
                    <a:pt x="121" y="1358"/>
                    <a:pt x="128" y="1364"/>
                    <a:pt x="126" y="1369"/>
                  </a:cubicBezTo>
                  <a:cubicBezTo>
                    <a:pt x="134" y="1369"/>
                    <a:pt x="140" y="1377"/>
                    <a:pt x="148" y="1376"/>
                  </a:cubicBezTo>
                  <a:cubicBezTo>
                    <a:pt x="154" y="1364"/>
                    <a:pt x="145" y="1353"/>
                    <a:pt x="153" y="1340"/>
                  </a:cubicBezTo>
                  <a:cubicBezTo>
                    <a:pt x="171" y="1352"/>
                    <a:pt x="200" y="1332"/>
                    <a:pt x="211" y="1329"/>
                  </a:cubicBezTo>
                  <a:cubicBezTo>
                    <a:pt x="210" y="1330"/>
                    <a:pt x="208" y="1329"/>
                    <a:pt x="207" y="1327"/>
                  </a:cubicBezTo>
                  <a:cubicBezTo>
                    <a:pt x="211" y="1323"/>
                    <a:pt x="215" y="1324"/>
                    <a:pt x="219" y="1323"/>
                  </a:cubicBezTo>
                  <a:cubicBezTo>
                    <a:pt x="215" y="1319"/>
                    <a:pt x="222" y="1318"/>
                    <a:pt x="222" y="1315"/>
                  </a:cubicBezTo>
                  <a:cubicBezTo>
                    <a:pt x="220" y="1315"/>
                    <a:pt x="217" y="1316"/>
                    <a:pt x="216" y="1313"/>
                  </a:cubicBezTo>
                  <a:cubicBezTo>
                    <a:pt x="232" y="1304"/>
                    <a:pt x="236" y="1292"/>
                    <a:pt x="251" y="1280"/>
                  </a:cubicBezTo>
                  <a:cubicBezTo>
                    <a:pt x="251" y="1279"/>
                    <a:pt x="249" y="1277"/>
                    <a:pt x="250" y="1276"/>
                  </a:cubicBezTo>
                  <a:cubicBezTo>
                    <a:pt x="273" y="1264"/>
                    <a:pt x="283" y="1250"/>
                    <a:pt x="302" y="1235"/>
                  </a:cubicBezTo>
                  <a:cubicBezTo>
                    <a:pt x="301" y="1234"/>
                    <a:pt x="300" y="1232"/>
                    <a:pt x="301" y="1231"/>
                  </a:cubicBezTo>
                  <a:cubicBezTo>
                    <a:pt x="306" y="1231"/>
                    <a:pt x="312" y="1227"/>
                    <a:pt x="315" y="1226"/>
                  </a:cubicBezTo>
                  <a:cubicBezTo>
                    <a:pt x="314" y="1226"/>
                    <a:pt x="313" y="1226"/>
                    <a:pt x="312" y="1224"/>
                  </a:cubicBezTo>
                  <a:cubicBezTo>
                    <a:pt x="329" y="1216"/>
                    <a:pt x="347" y="1199"/>
                    <a:pt x="360" y="1213"/>
                  </a:cubicBezTo>
                  <a:cubicBezTo>
                    <a:pt x="358" y="1212"/>
                    <a:pt x="357" y="1213"/>
                    <a:pt x="358" y="1216"/>
                  </a:cubicBezTo>
                  <a:cubicBezTo>
                    <a:pt x="362" y="1216"/>
                    <a:pt x="369" y="1216"/>
                    <a:pt x="369" y="1223"/>
                  </a:cubicBezTo>
                  <a:cubicBezTo>
                    <a:pt x="372" y="1219"/>
                    <a:pt x="378" y="1221"/>
                    <a:pt x="380" y="1225"/>
                  </a:cubicBezTo>
                  <a:cubicBezTo>
                    <a:pt x="379" y="1226"/>
                    <a:pt x="379" y="1226"/>
                    <a:pt x="380" y="1226"/>
                  </a:cubicBezTo>
                  <a:cubicBezTo>
                    <a:pt x="381" y="1227"/>
                    <a:pt x="381" y="1227"/>
                    <a:pt x="381" y="1228"/>
                  </a:cubicBezTo>
                  <a:cubicBezTo>
                    <a:pt x="382" y="1229"/>
                    <a:pt x="383" y="1229"/>
                    <a:pt x="384" y="1232"/>
                  </a:cubicBezTo>
                  <a:cubicBezTo>
                    <a:pt x="388" y="1231"/>
                    <a:pt x="387" y="1231"/>
                    <a:pt x="388" y="1228"/>
                  </a:cubicBezTo>
                  <a:cubicBezTo>
                    <a:pt x="389" y="1230"/>
                    <a:pt x="390" y="1230"/>
                    <a:pt x="391" y="1231"/>
                  </a:cubicBezTo>
                  <a:cubicBezTo>
                    <a:pt x="389" y="1232"/>
                    <a:pt x="387" y="1233"/>
                    <a:pt x="389" y="1235"/>
                  </a:cubicBezTo>
                  <a:cubicBezTo>
                    <a:pt x="396" y="1230"/>
                    <a:pt x="394" y="1239"/>
                    <a:pt x="398" y="1240"/>
                  </a:cubicBezTo>
                  <a:cubicBezTo>
                    <a:pt x="402" y="1237"/>
                    <a:pt x="396" y="1232"/>
                    <a:pt x="403" y="1230"/>
                  </a:cubicBezTo>
                  <a:cubicBezTo>
                    <a:pt x="402" y="1234"/>
                    <a:pt x="406" y="1234"/>
                    <a:pt x="408" y="1238"/>
                  </a:cubicBezTo>
                  <a:cubicBezTo>
                    <a:pt x="407" y="1238"/>
                    <a:pt x="402" y="1237"/>
                    <a:pt x="404" y="1240"/>
                  </a:cubicBezTo>
                  <a:cubicBezTo>
                    <a:pt x="406" y="1239"/>
                    <a:pt x="408" y="1243"/>
                    <a:pt x="410" y="1244"/>
                  </a:cubicBezTo>
                  <a:cubicBezTo>
                    <a:pt x="412" y="1243"/>
                    <a:pt x="413" y="1242"/>
                    <a:pt x="414" y="1240"/>
                  </a:cubicBezTo>
                  <a:cubicBezTo>
                    <a:pt x="412" y="1247"/>
                    <a:pt x="419" y="1237"/>
                    <a:pt x="420" y="1244"/>
                  </a:cubicBezTo>
                  <a:cubicBezTo>
                    <a:pt x="411" y="1245"/>
                    <a:pt x="407" y="1250"/>
                    <a:pt x="401" y="1256"/>
                  </a:cubicBezTo>
                  <a:cubicBezTo>
                    <a:pt x="394" y="1250"/>
                    <a:pt x="384" y="1260"/>
                    <a:pt x="376" y="1254"/>
                  </a:cubicBezTo>
                  <a:cubicBezTo>
                    <a:pt x="377" y="1253"/>
                    <a:pt x="378" y="1252"/>
                    <a:pt x="378" y="1250"/>
                  </a:cubicBezTo>
                  <a:cubicBezTo>
                    <a:pt x="375" y="1251"/>
                    <a:pt x="373" y="1248"/>
                    <a:pt x="370" y="1247"/>
                  </a:cubicBezTo>
                  <a:cubicBezTo>
                    <a:pt x="364" y="1252"/>
                    <a:pt x="358" y="1248"/>
                    <a:pt x="350" y="1245"/>
                  </a:cubicBezTo>
                  <a:cubicBezTo>
                    <a:pt x="355" y="1244"/>
                    <a:pt x="361" y="1241"/>
                    <a:pt x="363" y="1237"/>
                  </a:cubicBezTo>
                  <a:cubicBezTo>
                    <a:pt x="358" y="1241"/>
                    <a:pt x="350" y="1241"/>
                    <a:pt x="346" y="1244"/>
                  </a:cubicBezTo>
                  <a:cubicBezTo>
                    <a:pt x="342" y="1243"/>
                    <a:pt x="339" y="1242"/>
                    <a:pt x="335" y="1244"/>
                  </a:cubicBezTo>
                  <a:cubicBezTo>
                    <a:pt x="338" y="1250"/>
                    <a:pt x="333" y="1253"/>
                    <a:pt x="327" y="1255"/>
                  </a:cubicBezTo>
                  <a:cubicBezTo>
                    <a:pt x="331" y="1260"/>
                    <a:pt x="327" y="1261"/>
                    <a:pt x="322" y="1262"/>
                  </a:cubicBezTo>
                  <a:cubicBezTo>
                    <a:pt x="331" y="1271"/>
                    <a:pt x="321" y="1279"/>
                    <a:pt x="330" y="1285"/>
                  </a:cubicBezTo>
                  <a:cubicBezTo>
                    <a:pt x="328" y="1284"/>
                    <a:pt x="325" y="1286"/>
                    <a:pt x="326" y="1289"/>
                  </a:cubicBezTo>
                  <a:cubicBezTo>
                    <a:pt x="328" y="1290"/>
                    <a:pt x="331" y="1285"/>
                    <a:pt x="333" y="1289"/>
                  </a:cubicBezTo>
                  <a:cubicBezTo>
                    <a:pt x="333" y="1291"/>
                    <a:pt x="331" y="1292"/>
                    <a:pt x="329" y="1293"/>
                  </a:cubicBezTo>
                  <a:cubicBezTo>
                    <a:pt x="337" y="1304"/>
                    <a:pt x="348" y="1296"/>
                    <a:pt x="357" y="1302"/>
                  </a:cubicBezTo>
                  <a:cubicBezTo>
                    <a:pt x="346" y="1318"/>
                    <a:pt x="328" y="1306"/>
                    <a:pt x="317" y="1317"/>
                  </a:cubicBezTo>
                  <a:cubicBezTo>
                    <a:pt x="314" y="1313"/>
                    <a:pt x="314" y="1313"/>
                    <a:pt x="314" y="1313"/>
                  </a:cubicBezTo>
                  <a:cubicBezTo>
                    <a:pt x="299" y="1317"/>
                    <a:pt x="311" y="1335"/>
                    <a:pt x="300" y="1339"/>
                  </a:cubicBezTo>
                  <a:cubicBezTo>
                    <a:pt x="299" y="1349"/>
                    <a:pt x="295" y="1358"/>
                    <a:pt x="288" y="1366"/>
                  </a:cubicBezTo>
                  <a:cubicBezTo>
                    <a:pt x="290" y="1367"/>
                    <a:pt x="284" y="1373"/>
                    <a:pt x="286" y="1377"/>
                  </a:cubicBezTo>
                  <a:cubicBezTo>
                    <a:pt x="269" y="1387"/>
                    <a:pt x="299" y="1397"/>
                    <a:pt x="301" y="1405"/>
                  </a:cubicBezTo>
                  <a:cubicBezTo>
                    <a:pt x="307" y="1408"/>
                    <a:pt x="313" y="1408"/>
                    <a:pt x="318" y="1413"/>
                  </a:cubicBezTo>
                  <a:cubicBezTo>
                    <a:pt x="315" y="1415"/>
                    <a:pt x="317" y="1417"/>
                    <a:pt x="319" y="1417"/>
                  </a:cubicBezTo>
                  <a:cubicBezTo>
                    <a:pt x="315" y="1419"/>
                    <a:pt x="315" y="1419"/>
                    <a:pt x="315" y="1419"/>
                  </a:cubicBezTo>
                  <a:cubicBezTo>
                    <a:pt x="320" y="1426"/>
                    <a:pt x="317" y="1428"/>
                    <a:pt x="324" y="1429"/>
                  </a:cubicBezTo>
                  <a:cubicBezTo>
                    <a:pt x="331" y="1420"/>
                    <a:pt x="343" y="1419"/>
                    <a:pt x="353" y="1426"/>
                  </a:cubicBezTo>
                  <a:cubicBezTo>
                    <a:pt x="352" y="1427"/>
                    <a:pt x="354" y="1429"/>
                    <a:pt x="352" y="1430"/>
                  </a:cubicBezTo>
                  <a:cubicBezTo>
                    <a:pt x="354" y="1436"/>
                    <a:pt x="358" y="1430"/>
                    <a:pt x="361" y="1434"/>
                  </a:cubicBezTo>
                  <a:cubicBezTo>
                    <a:pt x="353" y="1436"/>
                    <a:pt x="347" y="1429"/>
                    <a:pt x="339" y="1430"/>
                  </a:cubicBezTo>
                  <a:cubicBezTo>
                    <a:pt x="342" y="1433"/>
                    <a:pt x="340" y="1434"/>
                    <a:pt x="342" y="1436"/>
                  </a:cubicBezTo>
                  <a:cubicBezTo>
                    <a:pt x="344" y="1435"/>
                    <a:pt x="343" y="1434"/>
                    <a:pt x="345" y="1433"/>
                  </a:cubicBezTo>
                  <a:cubicBezTo>
                    <a:pt x="345" y="1436"/>
                    <a:pt x="349" y="1435"/>
                    <a:pt x="352" y="1438"/>
                  </a:cubicBezTo>
                  <a:cubicBezTo>
                    <a:pt x="356" y="1435"/>
                    <a:pt x="356" y="1438"/>
                    <a:pt x="361" y="1436"/>
                  </a:cubicBezTo>
                  <a:cubicBezTo>
                    <a:pt x="361" y="1434"/>
                    <a:pt x="365" y="1429"/>
                    <a:pt x="368" y="1431"/>
                  </a:cubicBezTo>
                  <a:cubicBezTo>
                    <a:pt x="361" y="1435"/>
                    <a:pt x="371" y="1433"/>
                    <a:pt x="368" y="1437"/>
                  </a:cubicBezTo>
                  <a:cubicBezTo>
                    <a:pt x="377" y="1434"/>
                    <a:pt x="381" y="1435"/>
                    <a:pt x="386" y="1432"/>
                  </a:cubicBezTo>
                  <a:cubicBezTo>
                    <a:pt x="384" y="1435"/>
                    <a:pt x="383" y="1439"/>
                    <a:pt x="386" y="1444"/>
                  </a:cubicBezTo>
                  <a:cubicBezTo>
                    <a:pt x="388" y="1442"/>
                    <a:pt x="389" y="1445"/>
                    <a:pt x="391" y="1446"/>
                  </a:cubicBezTo>
                  <a:cubicBezTo>
                    <a:pt x="405" y="1440"/>
                    <a:pt x="417" y="1448"/>
                    <a:pt x="433" y="1441"/>
                  </a:cubicBezTo>
                  <a:cubicBezTo>
                    <a:pt x="433" y="1450"/>
                    <a:pt x="422" y="1451"/>
                    <a:pt x="413" y="1459"/>
                  </a:cubicBezTo>
                  <a:cubicBezTo>
                    <a:pt x="414" y="1464"/>
                    <a:pt x="413" y="1467"/>
                    <a:pt x="417" y="1473"/>
                  </a:cubicBezTo>
                  <a:cubicBezTo>
                    <a:pt x="426" y="1465"/>
                    <a:pt x="445" y="1466"/>
                    <a:pt x="452" y="1452"/>
                  </a:cubicBezTo>
                  <a:cubicBezTo>
                    <a:pt x="463" y="1455"/>
                    <a:pt x="472" y="1435"/>
                    <a:pt x="485" y="1431"/>
                  </a:cubicBezTo>
                  <a:cubicBezTo>
                    <a:pt x="490" y="1430"/>
                    <a:pt x="500" y="1423"/>
                    <a:pt x="498" y="1415"/>
                  </a:cubicBezTo>
                  <a:cubicBezTo>
                    <a:pt x="513" y="1407"/>
                    <a:pt x="525" y="1395"/>
                    <a:pt x="543" y="1384"/>
                  </a:cubicBezTo>
                  <a:cubicBezTo>
                    <a:pt x="546" y="1387"/>
                    <a:pt x="543" y="1391"/>
                    <a:pt x="547" y="1388"/>
                  </a:cubicBezTo>
                  <a:cubicBezTo>
                    <a:pt x="548" y="1380"/>
                    <a:pt x="562" y="1377"/>
                    <a:pt x="565" y="1370"/>
                  </a:cubicBezTo>
                  <a:cubicBezTo>
                    <a:pt x="548" y="1379"/>
                    <a:pt x="531" y="1385"/>
                    <a:pt x="514" y="1395"/>
                  </a:cubicBezTo>
                  <a:cubicBezTo>
                    <a:pt x="513" y="1393"/>
                    <a:pt x="512" y="1394"/>
                    <a:pt x="510" y="1393"/>
                  </a:cubicBezTo>
                  <a:cubicBezTo>
                    <a:pt x="523" y="1389"/>
                    <a:pt x="527" y="1364"/>
                    <a:pt x="530" y="1374"/>
                  </a:cubicBezTo>
                  <a:cubicBezTo>
                    <a:pt x="530" y="1372"/>
                    <a:pt x="537" y="1374"/>
                    <a:pt x="540" y="1371"/>
                  </a:cubicBezTo>
                  <a:cubicBezTo>
                    <a:pt x="537" y="1360"/>
                    <a:pt x="551" y="1365"/>
                    <a:pt x="557" y="1360"/>
                  </a:cubicBezTo>
                  <a:cubicBezTo>
                    <a:pt x="554" y="1358"/>
                    <a:pt x="560" y="1357"/>
                    <a:pt x="557" y="1354"/>
                  </a:cubicBezTo>
                  <a:cubicBezTo>
                    <a:pt x="555" y="1351"/>
                    <a:pt x="551" y="1353"/>
                    <a:pt x="549" y="1350"/>
                  </a:cubicBezTo>
                  <a:cubicBezTo>
                    <a:pt x="550" y="1339"/>
                    <a:pt x="560" y="1340"/>
                    <a:pt x="569" y="1334"/>
                  </a:cubicBezTo>
                  <a:cubicBezTo>
                    <a:pt x="570" y="1335"/>
                    <a:pt x="571" y="1335"/>
                    <a:pt x="571" y="1337"/>
                  </a:cubicBezTo>
                  <a:cubicBezTo>
                    <a:pt x="573" y="1335"/>
                    <a:pt x="578" y="1328"/>
                    <a:pt x="581" y="1334"/>
                  </a:cubicBezTo>
                  <a:cubicBezTo>
                    <a:pt x="577" y="1339"/>
                    <a:pt x="579" y="1335"/>
                    <a:pt x="575" y="1336"/>
                  </a:cubicBezTo>
                  <a:cubicBezTo>
                    <a:pt x="576" y="1341"/>
                    <a:pt x="579" y="1342"/>
                    <a:pt x="583" y="1342"/>
                  </a:cubicBezTo>
                  <a:cubicBezTo>
                    <a:pt x="581" y="1346"/>
                    <a:pt x="585" y="1352"/>
                    <a:pt x="581" y="1355"/>
                  </a:cubicBezTo>
                  <a:cubicBezTo>
                    <a:pt x="583" y="1354"/>
                    <a:pt x="585" y="1354"/>
                    <a:pt x="587" y="1355"/>
                  </a:cubicBezTo>
                  <a:cubicBezTo>
                    <a:pt x="588" y="1358"/>
                    <a:pt x="584" y="1360"/>
                    <a:pt x="586" y="1363"/>
                  </a:cubicBezTo>
                  <a:cubicBezTo>
                    <a:pt x="589" y="1359"/>
                    <a:pt x="594" y="1358"/>
                    <a:pt x="600" y="1358"/>
                  </a:cubicBezTo>
                  <a:cubicBezTo>
                    <a:pt x="597" y="1352"/>
                    <a:pt x="604" y="1350"/>
                    <a:pt x="606" y="1350"/>
                  </a:cubicBezTo>
                  <a:cubicBezTo>
                    <a:pt x="607" y="1354"/>
                    <a:pt x="604" y="1356"/>
                    <a:pt x="601" y="1356"/>
                  </a:cubicBezTo>
                  <a:cubicBezTo>
                    <a:pt x="606" y="1360"/>
                    <a:pt x="598" y="1360"/>
                    <a:pt x="601" y="1363"/>
                  </a:cubicBezTo>
                  <a:cubicBezTo>
                    <a:pt x="606" y="1363"/>
                    <a:pt x="609" y="1343"/>
                    <a:pt x="620" y="1350"/>
                  </a:cubicBezTo>
                  <a:cubicBezTo>
                    <a:pt x="610" y="1353"/>
                    <a:pt x="612" y="1360"/>
                    <a:pt x="608" y="1365"/>
                  </a:cubicBezTo>
                  <a:cubicBezTo>
                    <a:pt x="610" y="1373"/>
                    <a:pt x="613" y="1375"/>
                    <a:pt x="617" y="1375"/>
                  </a:cubicBezTo>
                  <a:cubicBezTo>
                    <a:pt x="615" y="1372"/>
                    <a:pt x="615" y="1372"/>
                    <a:pt x="615" y="1372"/>
                  </a:cubicBezTo>
                  <a:cubicBezTo>
                    <a:pt x="617" y="1370"/>
                    <a:pt x="618" y="1371"/>
                    <a:pt x="620" y="1370"/>
                  </a:cubicBezTo>
                  <a:cubicBezTo>
                    <a:pt x="620" y="1372"/>
                    <a:pt x="620" y="1373"/>
                    <a:pt x="621" y="1373"/>
                  </a:cubicBezTo>
                  <a:cubicBezTo>
                    <a:pt x="623" y="1375"/>
                    <a:pt x="619" y="1372"/>
                    <a:pt x="617" y="1375"/>
                  </a:cubicBezTo>
                  <a:cubicBezTo>
                    <a:pt x="622" y="1374"/>
                    <a:pt x="627" y="1372"/>
                    <a:pt x="632" y="1373"/>
                  </a:cubicBezTo>
                  <a:cubicBezTo>
                    <a:pt x="639" y="1366"/>
                    <a:pt x="656" y="1366"/>
                    <a:pt x="661" y="1358"/>
                  </a:cubicBezTo>
                  <a:cubicBezTo>
                    <a:pt x="657" y="1359"/>
                    <a:pt x="651" y="1364"/>
                    <a:pt x="646" y="1359"/>
                  </a:cubicBezTo>
                  <a:cubicBezTo>
                    <a:pt x="645" y="1352"/>
                    <a:pt x="654" y="1358"/>
                    <a:pt x="652" y="1353"/>
                  </a:cubicBezTo>
                  <a:cubicBezTo>
                    <a:pt x="647" y="1354"/>
                    <a:pt x="646" y="1357"/>
                    <a:pt x="642" y="1354"/>
                  </a:cubicBezTo>
                  <a:cubicBezTo>
                    <a:pt x="643" y="1353"/>
                    <a:pt x="642" y="1351"/>
                    <a:pt x="643" y="1350"/>
                  </a:cubicBezTo>
                  <a:cubicBezTo>
                    <a:pt x="648" y="1350"/>
                    <a:pt x="654" y="1350"/>
                    <a:pt x="655" y="1354"/>
                  </a:cubicBezTo>
                  <a:cubicBezTo>
                    <a:pt x="653" y="1351"/>
                    <a:pt x="660" y="1355"/>
                    <a:pt x="658" y="1351"/>
                  </a:cubicBezTo>
                  <a:cubicBezTo>
                    <a:pt x="656" y="1351"/>
                    <a:pt x="654" y="1348"/>
                    <a:pt x="652" y="1347"/>
                  </a:cubicBezTo>
                  <a:cubicBezTo>
                    <a:pt x="648" y="1350"/>
                    <a:pt x="643" y="1350"/>
                    <a:pt x="640" y="1346"/>
                  </a:cubicBezTo>
                  <a:cubicBezTo>
                    <a:pt x="644" y="1336"/>
                    <a:pt x="654" y="1339"/>
                    <a:pt x="655" y="1329"/>
                  </a:cubicBezTo>
                  <a:cubicBezTo>
                    <a:pt x="658" y="1331"/>
                    <a:pt x="665" y="1330"/>
                    <a:pt x="666" y="1326"/>
                  </a:cubicBezTo>
                  <a:cubicBezTo>
                    <a:pt x="664" y="1327"/>
                    <a:pt x="663" y="1326"/>
                    <a:pt x="662" y="1324"/>
                  </a:cubicBezTo>
                  <a:cubicBezTo>
                    <a:pt x="679" y="1321"/>
                    <a:pt x="687" y="1316"/>
                    <a:pt x="702" y="1310"/>
                  </a:cubicBezTo>
                  <a:cubicBezTo>
                    <a:pt x="700" y="1315"/>
                    <a:pt x="697" y="1315"/>
                    <a:pt x="693" y="1319"/>
                  </a:cubicBezTo>
                  <a:cubicBezTo>
                    <a:pt x="696" y="1320"/>
                    <a:pt x="700" y="1319"/>
                    <a:pt x="703" y="1321"/>
                  </a:cubicBezTo>
                  <a:cubicBezTo>
                    <a:pt x="701" y="1324"/>
                    <a:pt x="700" y="1326"/>
                    <a:pt x="700" y="1329"/>
                  </a:cubicBezTo>
                  <a:cubicBezTo>
                    <a:pt x="690" y="1336"/>
                    <a:pt x="681" y="1345"/>
                    <a:pt x="672" y="1353"/>
                  </a:cubicBezTo>
                  <a:cubicBezTo>
                    <a:pt x="671" y="1354"/>
                    <a:pt x="669" y="1354"/>
                    <a:pt x="668" y="1353"/>
                  </a:cubicBezTo>
                  <a:cubicBezTo>
                    <a:pt x="668" y="1354"/>
                    <a:pt x="664" y="1359"/>
                    <a:pt x="667" y="1358"/>
                  </a:cubicBezTo>
                  <a:cubicBezTo>
                    <a:pt x="667" y="1357"/>
                    <a:pt x="668" y="1357"/>
                    <a:pt x="669" y="1357"/>
                  </a:cubicBezTo>
                  <a:cubicBezTo>
                    <a:pt x="667" y="1359"/>
                    <a:pt x="665" y="1360"/>
                    <a:pt x="663" y="1362"/>
                  </a:cubicBezTo>
                  <a:cubicBezTo>
                    <a:pt x="662" y="1364"/>
                    <a:pt x="662" y="1366"/>
                    <a:pt x="663" y="1368"/>
                  </a:cubicBezTo>
                  <a:cubicBezTo>
                    <a:pt x="662" y="1368"/>
                    <a:pt x="661" y="1368"/>
                    <a:pt x="660" y="1369"/>
                  </a:cubicBezTo>
                  <a:cubicBezTo>
                    <a:pt x="657" y="1374"/>
                    <a:pt x="653" y="1378"/>
                    <a:pt x="649" y="1382"/>
                  </a:cubicBezTo>
                  <a:cubicBezTo>
                    <a:pt x="648" y="1383"/>
                    <a:pt x="648" y="1385"/>
                    <a:pt x="649" y="1386"/>
                  </a:cubicBezTo>
                  <a:cubicBezTo>
                    <a:pt x="650" y="1387"/>
                    <a:pt x="652" y="1387"/>
                    <a:pt x="652" y="1386"/>
                  </a:cubicBezTo>
                  <a:cubicBezTo>
                    <a:pt x="657" y="1382"/>
                    <a:pt x="661" y="1377"/>
                    <a:pt x="664" y="1372"/>
                  </a:cubicBezTo>
                  <a:cubicBezTo>
                    <a:pt x="665" y="1371"/>
                    <a:pt x="665" y="1371"/>
                    <a:pt x="665" y="1370"/>
                  </a:cubicBezTo>
                  <a:cubicBezTo>
                    <a:pt x="666" y="1371"/>
                    <a:pt x="668" y="1371"/>
                    <a:pt x="670" y="1369"/>
                  </a:cubicBezTo>
                  <a:cubicBezTo>
                    <a:pt x="681" y="1363"/>
                    <a:pt x="691" y="1356"/>
                    <a:pt x="701" y="1348"/>
                  </a:cubicBezTo>
                  <a:cubicBezTo>
                    <a:pt x="703" y="1351"/>
                    <a:pt x="705" y="1354"/>
                    <a:pt x="708" y="1357"/>
                  </a:cubicBezTo>
                  <a:cubicBezTo>
                    <a:pt x="702" y="1363"/>
                    <a:pt x="696" y="1368"/>
                    <a:pt x="691" y="1373"/>
                  </a:cubicBezTo>
                  <a:cubicBezTo>
                    <a:pt x="677" y="1377"/>
                    <a:pt x="663" y="1380"/>
                    <a:pt x="652" y="1391"/>
                  </a:cubicBezTo>
                  <a:cubicBezTo>
                    <a:pt x="644" y="1394"/>
                    <a:pt x="633" y="1392"/>
                    <a:pt x="623" y="1400"/>
                  </a:cubicBezTo>
                  <a:cubicBezTo>
                    <a:pt x="622" y="1397"/>
                    <a:pt x="620" y="1399"/>
                    <a:pt x="619" y="1395"/>
                  </a:cubicBezTo>
                  <a:cubicBezTo>
                    <a:pt x="611" y="1403"/>
                    <a:pt x="601" y="1404"/>
                    <a:pt x="593" y="1404"/>
                  </a:cubicBezTo>
                  <a:cubicBezTo>
                    <a:pt x="597" y="1412"/>
                    <a:pt x="583" y="1406"/>
                    <a:pt x="582" y="1411"/>
                  </a:cubicBezTo>
                  <a:cubicBezTo>
                    <a:pt x="581" y="1410"/>
                    <a:pt x="580" y="1410"/>
                    <a:pt x="580" y="1408"/>
                  </a:cubicBezTo>
                  <a:cubicBezTo>
                    <a:pt x="577" y="1419"/>
                    <a:pt x="563" y="1408"/>
                    <a:pt x="556" y="1417"/>
                  </a:cubicBezTo>
                  <a:cubicBezTo>
                    <a:pt x="561" y="1416"/>
                    <a:pt x="556" y="1425"/>
                    <a:pt x="564" y="1421"/>
                  </a:cubicBezTo>
                  <a:cubicBezTo>
                    <a:pt x="563" y="1417"/>
                    <a:pt x="559" y="1418"/>
                    <a:pt x="561" y="1416"/>
                  </a:cubicBezTo>
                  <a:cubicBezTo>
                    <a:pt x="565" y="1423"/>
                    <a:pt x="572" y="1417"/>
                    <a:pt x="579" y="1421"/>
                  </a:cubicBezTo>
                  <a:cubicBezTo>
                    <a:pt x="580" y="1412"/>
                    <a:pt x="589" y="1414"/>
                    <a:pt x="597" y="1410"/>
                  </a:cubicBezTo>
                  <a:cubicBezTo>
                    <a:pt x="599" y="1412"/>
                    <a:pt x="605" y="1418"/>
                    <a:pt x="606" y="1413"/>
                  </a:cubicBezTo>
                  <a:cubicBezTo>
                    <a:pt x="602" y="1416"/>
                    <a:pt x="604" y="1409"/>
                    <a:pt x="603" y="1407"/>
                  </a:cubicBezTo>
                  <a:cubicBezTo>
                    <a:pt x="609" y="1403"/>
                    <a:pt x="616" y="1404"/>
                    <a:pt x="622" y="1402"/>
                  </a:cubicBezTo>
                  <a:cubicBezTo>
                    <a:pt x="623" y="1408"/>
                    <a:pt x="622" y="1407"/>
                    <a:pt x="617" y="1408"/>
                  </a:cubicBezTo>
                  <a:cubicBezTo>
                    <a:pt x="620" y="1412"/>
                    <a:pt x="620" y="1410"/>
                    <a:pt x="621" y="1415"/>
                  </a:cubicBezTo>
                  <a:cubicBezTo>
                    <a:pt x="626" y="1413"/>
                    <a:pt x="625" y="1410"/>
                    <a:pt x="626" y="1407"/>
                  </a:cubicBezTo>
                  <a:cubicBezTo>
                    <a:pt x="629" y="1415"/>
                    <a:pt x="639" y="1404"/>
                    <a:pt x="645" y="1405"/>
                  </a:cubicBezTo>
                  <a:cubicBezTo>
                    <a:pt x="643" y="1403"/>
                    <a:pt x="643" y="1401"/>
                    <a:pt x="646" y="1400"/>
                  </a:cubicBezTo>
                  <a:cubicBezTo>
                    <a:pt x="646" y="1402"/>
                    <a:pt x="645" y="1403"/>
                    <a:pt x="648" y="1404"/>
                  </a:cubicBezTo>
                  <a:cubicBezTo>
                    <a:pt x="652" y="1401"/>
                    <a:pt x="656" y="1399"/>
                    <a:pt x="660" y="1396"/>
                  </a:cubicBezTo>
                  <a:cubicBezTo>
                    <a:pt x="660" y="1397"/>
                    <a:pt x="660" y="1397"/>
                    <a:pt x="660" y="1398"/>
                  </a:cubicBezTo>
                  <a:cubicBezTo>
                    <a:pt x="661" y="1399"/>
                    <a:pt x="663" y="1400"/>
                    <a:pt x="664" y="1399"/>
                  </a:cubicBezTo>
                  <a:cubicBezTo>
                    <a:pt x="676" y="1392"/>
                    <a:pt x="687" y="1384"/>
                    <a:pt x="698" y="1375"/>
                  </a:cubicBezTo>
                  <a:cubicBezTo>
                    <a:pt x="699" y="1375"/>
                    <a:pt x="700" y="1374"/>
                    <a:pt x="701" y="1374"/>
                  </a:cubicBezTo>
                  <a:cubicBezTo>
                    <a:pt x="702" y="1372"/>
                    <a:pt x="703" y="1371"/>
                    <a:pt x="704" y="1370"/>
                  </a:cubicBezTo>
                  <a:cubicBezTo>
                    <a:pt x="706" y="1368"/>
                    <a:pt x="708" y="1366"/>
                    <a:pt x="710" y="1364"/>
                  </a:cubicBezTo>
                  <a:cubicBezTo>
                    <a:pt x="716" y="1361"/>
                    <a:pt x="722" y="1359"/>
                    <a:pt x="726" y="1366"/>
                  </a:cubicBezTo>
                  <a:cubicBezTo>
                    <a:pt x="742" y="1363"/>
                    <a:pt x="755" y="1355"/>
                    <a:pt x="770" y="1347"/>
                  </a:cubicBezTo>
                  <a:cubicBezTo>
                    <a:pt x="769" y="1348"/>
                    <a:pt x="768" y="1349"/>
                    <a:pt x="768" y="1350"/>
                  </a:cubicBezTo>
                  <a:cubicBezTo>
                    <a:pt x="745" y="1362"/>
                    <a:pt x="722" y="1375"/>
                    <a:pt x="699" y="1389"/>
                  </a:cubicBezTo>
                  <a:cubicBezTo>
                    <a:pt x="689" y="1395"/>
                    <a:pt x="679" y="1401"/>
                    <a:pt x="669" y="1407"/>
                  </a:cubicBezTo>
                  <a:cubicBezTo>
                    <a:pt x="665" y="1409"/>
                    <a:pt x="661" y="1411"/>
                    <a:pt x="657" y="1413"/>
                  </a:cubicBezTo>
                  <a:cubicBezTo>
                    <a:pt x="657" y="1412"/>
                    <a:pt x="657" y="1410"/>
                    <a:pt x="657" y="1409"/>
                  </a:cubicBezTo>
                  <a:cubicBezTo>
                    <a:pt x="660" y="1407"/>
                    <a:pt x="665" y="1411"/>
                    <a:pt x="663" y="1406"/>
                  </a:cubicBezTo>
                  <a:cubicBezTo>
                    <a:pt x="660" y="1407"/>
                    <a:pt x="658" y="1407"/>
                    <a:pt x="655" y="1407"/>
                  </a:cubicBezTo>
                  <a:cubicBezTo>
                    <a:pt x="657" y="1415"/>
                    <a:pt x="645" y="1415"/>
                    <a:pt x="644" y="1421"/>
                  </a:cubicBezTo>
                  <a:cubicBezTo>
                    <a:pt x="645" y="1418"/>
                    <a:pt x="643" y="1416"/>
                    <a:pt x="641" y="1415"/>
                  </a:cubicBezTo>
                  <a:cubicBezTo>
                    <a:pt x="637" y="1418"/>
                    <a:pt x="631" y="1421"/>
                    <a:pt x="626" y="1419"/>
                  </a:cubicBezTo>
                  <a:cubicBezTo>
                    <a:pt x="626" y="1417"/>
                    <a:pt x="627" y="1416"/>
                    <a:pt x="626" y="1415"/>
                  </a:cubicBezTo>
                  <a:cubicBezTo>
                    <a:pt x="620" y="1418"/>
                    <a:pt x="620" y="1423"/>
                    <a:pt x="617" y="1429"/>
                  </a:cubicBezTo>
                  <a:cubicBezTo>
                    <a:pt x="620" y="1426"/>
                    <a:pt x="626" y="1425"/>
                    <a:pt x="623" y="1430"/>
                  </a:cubicBezTo>
                  <a:cubicBezTo>
                    <a:pt x="627" y="1429"/>
                    <a:pt x="630" y="1428"/>
                    <a:pt x="630" y="1425"/>
                  </a:cubicBezTo>
                  <a:cubicBezTo>
                    <a:pt x="632" y="1425"/>
                    <a:pt x="635" y="1426"/>
                    <a:pt x="637" y="1427"/>
                  </a:cubicBezTo>
                  <a:cubicBezTo>
                    <a:pt x="636" y="1428"/>
                    <a:pt x="634" y="1429"/>
                    <a:pt x="633" y="1430"/>
                  </a:cubicBezTo>
                  <a:cubicBezTo>
                    <a:pt x="630" y="1431"/>
                    <a:pt x="629" y="1434"/>
                    <a:pt x="631" y="1436"/>
                  </a:cubicBezTo>
                  <a:cubicBezTo>
                    <a:pt x="632" y="1439"/>
                    <a:pt x="634" y="1440"/>
                    <a:pt x="637" y="1439"/>
                  </a:cubicBezTo>
                  <a:cubicBezTo>
                    <a:pt x="652" y="1435"/>
                    <a:pt x="667" y="1431"/>
                    <a:pt x="683" y="1426"/>
                  </a:cubicBezTo>
                  <a:cubicBezTo>
                    <a:pt x="680" y="1428"/>
                    <a:pt x="679" y="1429"/>
                    <a:pt x="677" y="1432"/>
                  </a:cubicBezTo>
                  <a:cubicBezTo>
                    <a:pt x="677" y="1431"/>
                    <a:pt x="677" y="1430"/>
                    <a:pt x="677" y="1429"/>
                  </a:cubicBezTo>
                  <a:cubicBezTo>
                    <a:pt x="666" y="1436"/>
                    <a:pt x="657" y="1442"/>
                    <a:pt x="649" y="1445"/>
                  </a:cubicBezTo>
                  <a:cubicBezTo>
                    <a:pt x="649" y="1447"/>
                    <a:pt x="650" y="1449"/>
                    <a:pt x="649" y="1451"/>
                  </a:cubicBezTo>
                  <a:cubicBezTo>
                    <a:pt x="645" y="1449"/>
                    <a:pt x="645" y="1451"/>
                    <a:pt x="645" y="1455"/>
                  </a:cubicBezTo>
                  <a:cubicBezTo>
                    <a:pt x="642" y="1454"/>
                    <a:pt x="640" y="1449"/>
                    <a:pt x="638" y="1452"/>
                  </a:cubicBezTo>
                  <a:cubicBezTo>
                    <a:pt x="644" y="1454"/>
                    <a:pt x="637" y="1458"/>
                    <a:pt x="635" y="1460"/>
                  </a:cubicBezTo>
                  <a:cubicBezTo>
                    <a:pt x="634" y="1458"/>
                    <a:pt x="632" y="1460"/>
                    <a:pt x="631" y="1457"/>
                  </a:cubicBezTo>
                  <a:cubicBezTo>
                    <a:pt x="629" y="1455"/>
                    <a:pt x="633" y="1454"/>
                    <a:pt x="631" y="1452"/>
                  </a:cubicBezTo>
                  <a:cubicBezTo>
                    <a:pt x="625" y="1456"/>
                    <a:pt x="627" y="1459"/>
                    <a:pt x="630" y="1465"/>
                  </a:cubicBezTo>
                  <a:cubicBezTo>
                    <a:pt x="633" y="1465"/>
                    <a:pt x="637" y="1463"/>
                    <a:pt x="641" y="1463"/>
                  </a:cubicBezTo>
                  <a:cubicBezTo>
                    <a:pt x="639" y="1456"/>
                    <a:pt x="649" y="1454"/>
                    <a:pt x="654" y="1454"/>
                  </a:cubicBezTo>
                  <a:cubicBezTo>
                    <a:pt x="654" y="1455"/>
                    <a:pt x="654" y="1456"/>
                    <a:pt x="654" y="1456"/>
                  </a:cubicBezTo>
                  <a:cubicBezTo>
                    <a:pt x="653" y="1456"/>
                    <a:pt x="653" y="1455"/>
                    <a:pt x="652" y="1455"/>
                  </a:cubicBezTo>
                  <a:cubicBezTo>
                    <a:pt x="650" y="1465"/>
                    <a:pt x="642" y="1465"/>
                    <a:pt x="634" y="1469"/>
                  </a:cubicBezTo>
                  <a:cubicBezTo>
                    <a:pt x="639" y="1472"/>
                    <a:pt x="634" y="1473"/>
                    <a:pt x="636" y="1478"/>
                  </a:cubicBezTo>
                  <a:cubicBezTo>
                    <a:pt x="643" y="1474"/>
                    <a:pt x="649" y="1470"/>
                    <a:pt x="655" y="1467"/>
                  </a:cubicBezTo>
                  <a:cubicBezTo>
                    <a:pt x="659" y="1472"/>
                    <a:pt x="665" y="1474"/>
                    <a:pt x="671" y="1472"/>
                  </a:cubicBezTo>
                  <a:cubicBezTo>
                    <a:pt x="668" y="1475"/>
                    <a:pt x="668" y="1475"/>
                    <a:pt x="668" y="1475"/>
                  </a:cubicBezTo>
                  <a:cubicBezTo>
                    <a:pt x="667" y="1475"/>
                    <a:pt x="667" y="1477"/>
                    <a:pt x="668" y="1478"/>
                  </a:cubicBezTo>
                  <a:cubicBezTo>
                    <a:pt x="669" y="1479"/>
                    <a:pt x="670" y="1479"/>
                    <a:pt x="671" y="1478"/>
                  </a:cubicBezTo>
                  <a:cubicBezTo>
                    <a:pt x="677" y="1472"/>
                    <a:pt x="677" y="1472"/>
                    <a:pt x="677" y="1472"/>
                  </a:cubicBezTo>
                  <a:cubicBezTo>
                    <a:pt x="679" y="1473"/>
                    <a:pt x="680" y="1472"/>
                    <a:pt x="678" y="1471"/>
                  </a:cubicBezTo>
                  <a:cubicBezTo>
                    <a:pt x="678" y="1471"/>
                    <a:pt x="678" y="1471"/>
                    <a:pt x="678" y="1471"/>
                  </a:cubicBezTo>
                  <a:cubicBezTo>
                    <a:pt x="680" y="1469"/>
                    <a:pt x="680" y="1469"/>
                    <a:pt x="680" y="1469"/>
                  </a:cubicBezTo>
                  <a:cubicBezTo>
                    <a:pt x="681" y="1469"/>
                    <a:pt x="682" y="1470"/>
                    <a:pt x="683" y="1470"/>
                  </a:cubicBezTo>
                  <a:cubicBezTo>
                    <a:pt x="683" y="1469"/>
                    <a:pt x="684" y="1468"/>
                    <a:pt x="684" y="1468"/>
                  </a:cubicBezTo>
                  <a:cubicBezTo>
                    <a:pt x="687" y="1467"/>
                    <a:pt x="690" y="1466"/>
                    <a:pt x="692" y="1465"/>
                  </a:cubicBezTo>
                  <a:cubicBezTo>
                    <a:pt x="692" y="1466"/>
                    <a:pt x="691" y="1467"/>
                    <a:pt x="691" y="1467"/>
                  </a:cubicBezTo>
                  <a:cubicBezTo>
                    <a:pt x="692" y="1466"/>
                    <a:pt x="692" y="1466"/>
                    <a:pt x="693" y="1465"/>
                  </a:cubicBezTo>
                  <a:cubicBezTo>
                    <a:pt x="703" y="1461"/>
                    <a:pt x="714" y="1457"/>
                    <a:pt x="724" y="1453"/>
                  </a:cubicBezTo>
                  <a:cubicBezTo>
                    <a:pt x="723" y="1454"/>
                    <a:pt x="722" y="1455"/>
                    <a:pt x="722" y="1457"/>
                  </a:cubicBezTo>
                  <a:cubicBezTo>
                    <a:pt x="725" y="1455"/>
                    <a:pt x="728" y="1452"/>
                    <a:pt x="730" y="1455"/>
                  </a:cubicBezTo>
                  <a:cubicBezTo>
                    <a:pt x="727" y="1456"/>
                    <a:pt x="715" y="1468"/>
                    <a:pt x="713" y="1458"/>
                  </a:cubicBezTo>
                  <a:cubicBezTo>
                    <a:pt x="711" y="1460"/>
                    <a:pt x="710" y="1462"/>
                    <a:pt x="706" y="1463"/>
                  </a:cubicBezTo>
                  <a:cubicBezTo>
                    <a:pt x="707" y="1469"/>
                    <a:pt x="711" y="1461"/>
                    <a:pt x="713" y="1464"/>
                  </a:cubicBezTo>
                  <a:cubicBezTo>
                    <a:pt x="709" y="1467"/>
                    <a:pt x="700" y="1475"/>
                    <a:pt x="693" y="1470"/>
                  </a:cubicBezTo>
                  <a:cubicBezTo>
                    <a:pt x="676" y="1481"/>
                    <a:pt x="663" y="1490"/>
                    <a:pt x="648" y="1490"/>
                  </a:cubicBezTo>
                  <a:cubicBezTo>
                    <a:pt x="651" y="1496"/>
                    <a:pt x="644" y="1489"/>
                    <a:pt x="643" y="1490"/>
                  </a:cubicBezTo>
                  <a:cubicBezTo>
                    <a:pt x="641" y="1493"/>
                    <a:pt x="647" y="1495"/>
                    <a:pt x="645" y="1496"/>
                  </a:cubicBezTo>
                  <a:cubicBezTo>
                    <a:pt x="644" y="1497"/>
                    <a:pt x="645" y="1498"/>
                    <a:pt x="644" y="1499"/>
                  </a:cubicBezTo>
                  <a:cubicBezTo>
                    <a:pt x="641" y="1502"/>
                    <a:pt x="639" y="1498"/>
                    <a:pt x="636" y="1499"/>
                  </a:cubicBezTo>
                  <a:cubicBezTo>
                    <a:pt x="637" y="1502"/>
                    <a:pt x="631" y="1504"/>
                    <a:pt x="628" y="1506"/>
                  </a:cubicBezTo>
                  <a:cubicBezTo>
                    <a:pt x="622" y="1498"/>
                    <a:pt x="618" y="1508"/>
                    <a:pt x="614" y="1510"/>
                  </a:cubicBezTo>
                  <a:cubicBezTo>
                    <a:pt x="598" y="1518"/>
                    <a:pt x="574" y="1526"/>
                    <a:pt x="562" y="1534"/>
                  </a:cubicBezTo>
                  <a:cubicBezTo>
                    <a:pt x="574" y="1531"/>
                    <a:pt x="575" y="1527"/>
                    <a:pt x="587" y="1527"/>
                  </a:cubicBezTo>
                  <a:cubicBezTo>
                    <a:pt x="596" y="1516"/>
                    <a:pt x="614" y="1514"/>
                    <a:pt x="626" y="1506"/>
                  </a:cubicBezTo>
                  <a:cubicBezTo>
                    <a:pt x="627" y="1508"/>
                    <a:pt x="628" y="1508"/>
                    <a:pt x="630" y="1509"/>
                  </a:cubicBezTo>
                  <a:cubicBezTo>
                    <a:pt x="625" y="1511"/>
                    <a:pt x="620" y="1513"/>
                    <a:pt x="615" y="1515"/>
                  </a:cubicBezTo>
                  <a:cubicBezTo>
                    <a:pt x="614" y="1515"/>
                    <a:pt x="613" y="1516"/>
                    <a:pt x="614" y="1518"/>
                  </a:cubicBezTo>
                  <a:cubicBezTo>
                    <a:pt x="615" y="1519"/>
                    <a:pt x="616" y="1520"/>
                    <a:pt x="617" y="1519"/>
                  </a:cubicBezTo>
                  <a:cubicBezTo>
                    <a:pt x="621" y="1518"/>
                    <a:pt x="625" y="1516"/>
                    <a:pt x="629" y="1514"/>
                  </a:cubicBezTo>
                  <a:cubicBezTo>
                    <a:pt x="629" y="1515"/>
                    <a:pt x="629" y="1516"/>
                    <a:pt x="629" y="1516"/>
                  </a:cubicBezTo>
                  <a:cubicBezTo>
                    <a:pt x="631" y="1516"/>
                    <a:pt x="633" y="1514"/>
                    <a:pt x="636" y="1512"/>
                  </a:cubicBezTo>
                  <a:cubicBezTo>
                    <a:pt x="640" y="1510"/>
                    <a:pt x="644" y="1509"/>
                    <a:pt x="649" y="1507"/>
                  </a:cubicBezTo>
                  <a:cubicBezTo>
                    <a:pt x="649" y="1507"/>
                    <a:pt x="650" y="1507"/>
                    <a:pt x="650" y="1507"/>
                  </a:cubicBezTo>
                  <a:cubicBezTo>
                    <a:pt x="650" y="1507"/>
                    <a:pt x="650" y="1506"/>
                    <a:pt x="650" y="1506"/>
                  </a:cubicBezTo>
                  <a:cubicBezTo>
                    <a:pt x="661" y="1502"/>
                    <a:pt x="671" y="1497"/>
                    <a:pt x="682" y="1492"/>
                  </a:cubicBezTo>
                  <a:cubicBezTo>
                    <a:pt x="683" y="1492"/>
                    <a:pt x="684" y="1493"/>
                    <a:pt x="685" y="1496"/>
                  </a:cubicBezTo>
                  <a:cubicBezTo>
                    <a:pt x="689" y="1495"/>
                    <a:pt x="683" y="1493"/>
                    <a:pt x="684" y="1491"/>
                  </a:cubicBezTo>
                  <a:cubicBezTo>
                    <a:pt x="685" y="1491"/>
                    <a:pt x="685" y="1490"/>
                    <a:pt x="686" y="1490"/>
                  </a:cubicBezTo>
                  <a:cubicBezTo>
                    <a:pt x="686" y="1490"/>
                    <a:pt x="687" y="1490"/>
                    <a:pt x="688" y="1490"/>
                  </a:cubicBezTo>
                  <a:cubicBezTo>
                    <a:pt x="692" y="1494"/>
                    <a:pt x="689" y="1496"/>
                    <a:pt x="690" y="1499"/>
                  </a:cubicBezTo>
                  <a:cubicBezTo>
                    <a:pt x="696" y="1500"/>
                    <a:pt x="693" y="1495"/>
                    <a:pt x="692" y="1493"/>
                  </a:cubicBezTo>
                  <a:cubicBezTo>
                    <a:pt x="697" y="1494"/>
                    <a:pt x="692" y="1499"/>
                    <a:pt x="696" y="1500"/>
                  </a:cubicBezTo>
                  <a:cubicBezTo>
                    <a:pt x="702" y="1499"/>
                    <a:pt x="706" y="1497"/>
                    <a:pt x="708" y="1496"/>
                  </a:cubicBezTo>
                  <a:cubicBezTo>
                    <a:pt x="707" y="1496"/>
                    <a:pt x="706" y="1496"/>
                    <a:pt x="705" y="1495"/>
                  </a:cubicBezTo>
                  <a:cubicBezTo>
                    <a:pt x="706" y="1495"/>
                    <a:pt x="707" y="1493"/>
                    <a:pt x="708" y="1492"/>
                  </a:cubicBezTo>
                  <a:cubicBezTo>
                    <a:pt x="708" y="1492"/>
                    <a:pt x="709" y="1492"/>
                    <a:pt x="709" y="1492"/>
                  </a:cubicBezTo>
                  <a:cubicBezTo>
                    <a:pt x="709" y="1492"/>
                    <a:pt x="710" y="1492"/>
                    <a:pt x="710" y="1492"/>
                  </a:cubicBezTo>
                  <a:cubicBezTo>
                    <a:pt x="709" y="1493"/>
                    <a:pt x="707" y="1494"/>
                    <a:pt x="708" y="1495"/>
                  </a:cubicBezTo>
                  <a:cubicBezTo>
                    <a:pt x="713" y="1495"/>
                    <a:pt x="718" y="1491"/>
                    <a:pt x="723" y="1490"/>
                  </a:cubicBezTo>
                  <a:cubicBezTo>
                    <a:pt x="722" y="1494"/>
                    <a:pt x="722" y="1499"/>
                    <a:pt x="724" y="1503"/>
                  </a:cubicBezTo>
                  <a:cubicBezTo>
                    <a:pt x="726" y="1508"/>
                    <a:pt x="730" y="1512"/>
                    <a:pt x="735" y="1515"/>
                  </a:cubicBezTo>
                  <a:cubicBezTo>
                    <a:pt x="717" y="1528"/>
                    <a:pt x="699" y="1542"/>
                    <a:pt x="682" y="1558"/>
                  </a:cubicBezTo>
                  <a:cubicBezTo>
                    <a:pt x="681" y="1559"/>
                    <a:pt x="681" y="1560"/>
                    <a:pt x="682" y="1561"/>
                  </a:cubicBezTo>
                  <a:cubicBezTo>
                    <a:pt x="683" y="1562"/>
                    <a:pt x="684" y="1562"/>
                    <a:pt x="685" y="1562"/>
                  </a:cubicBezTo>
                  <a:cubicBezTo>
                    <a:pt x="698" y="1555"/>
                    <a:pt x="710" y="1547"/>
                    <a:pt x="723" y="1540"/>
                  </a:cubicBezTo>
                  <a:cubicBezTo>
                    <a:pt x="724" y="1544"/>
                    <a:pt x="721" y="1544"/>
                    <a:pt x="722" y="1546"/>
                  </a:cubicBezTo>
                  <a:cubicBezTo>
                    <a:pt x="721" y="1545"/>
                    <a:pt x="719" y="1544"/>
                    <a:pt x="718" y="1545"/>
                  </a:cubicBezTo>
                  <a:cubicBezTo>
                    <a:pt x="721" y="1550"/>
                    <a:pt x="714" y="1551"/>
                    <a:pt x="711" y="1554"/>
                  </a:cubicBezTo>
                  <a:cubicBezTo>
                    <a:pt x="713" y="1559"/>
                    <a:pt x="714" y="1557"/>
                    <a:pt x="715" y="1561"/>
                  </a:cubicBezTo>
                  <a:cubicBezTo>
                    <a:pt x="721" y="1562"/>
                    <a:pt x="731" y="1557"/>
                    <a:pt x="735" y="1557"/>
                  </a:cubicBezTo>
                  <a:cubicBezTo>
                    <a:pt x="740" y="1546"/>
                    <a:pt x="762" y="1555"/>
                    <a:pt x="772" y="1546"/>
                  </a:cubicBezTo>
                  <a:cubicBezTo>
                    <a:pt x="779" y="1540"/>
                    <a:pt x="777" y="1527"/>
                    <a:pt x="766" y="1515"/>
                  </a:cubicBezTo>
                  <a:cubicBezTo>
                    <a:pt x="766" y="1515"/>
                    <a:pt x="765" y="1515"/>
                    <a:pt x="765" y="1515"/>
                  </a:cubicBezTo>
                  <a:cubicBezTo>
                    <a:pt x="766" y="1515"/>
                    <a:pt x="766" y="1514"/>
                    <a:pt x="767" y="1514"/>
                  </a:cubicBezTo>
                  <a:cubicBezTo>
                    <a:pt x="792" y="1511"/>
                    <a:pt x="818" y="1509"/>
                    <a:pt x="843" y="1501"/>
                  </a:cubicBezTo>
                  <a:cubicBezTo>
                    <a:pt x="881" y="1489"/>
                    <a:pt x="911" y="1467"/>
                    <a:pt x="941" y="1445"/>
                  </a:cubicBezTo>
                  <a:cubicBezTo>
                    <a:pt x="953" y="1442"/>
                    <a:pt x="966" y="1438"/>
                    <a:pt x="978" y="1433"/>
                  </a:cubicBezTo>
                  <a:cubicBezTo>
                    <a:pt x="978" y="1436"/>
                    <a:pt x="978" y="1440"/>
                    <a:pt x="980" y="1443"/>
                  </a:cubicBezTo>
                  <a:cubicBezTo>
                    <a:pt x="980" y="1444"/>
                    <a:pt x="981" y="1445"/>
                    <a:pt x="981" y="1445"/>
                  </a:cubicBezTo>
                  <a:cubicBezTo>
                    <a:pt x="971" y="1450"/>
                    <a:pt x="960" y="1454"/>
                    <a:pt x="949" y="1458"/>
                  </a:cubicBezTo>
                  <a:cubicBezTo>
                    <a:pt x="924" y="1469"/>
                    <a:pt x="900" y="1480"/>
                    <a:pt x="877" y="1493"/>
                  </a:cubicBezTo>
                  <a:cubicBezTo>
                    <a:pt x="854" y="1506"/>
                    <a:pt x="831" y="1519"/>
                    <a:pt x="809" y="1533"/>
                  </a:cubicBezTo>
                  <a:cubicBezTo>
                    <a:pt x="765" y="1561"/>
                    <a:pt x="722" y="1591"/>
                    <a:pt x="678" y="1620"/>
                  </a:cubicBezTo>
                  <a:cubicBezTo>
                    <a:pt x="672" y="1623"/>
                    <a:pt x="670" y="1630"/>
                    <a:pt x="673" y="1636"/>
                  </a:cubicBezTo>
                  <a:cubicBezTo>
                    <a:pt x="677" y="1642"/>
                    <a:pt x="684" y="1644"/>
                    <a:pt x="690" y="1641"/>
                  </a:cubicBezTo>
                  <a:cubicBezTo>
                    <a:pt x="736" y="1622"/>
                    <a:pt x="774" y="1594"/>
                    <a:pt x="816" y="1564"/>
                  </a:cubicBezTo>
                  <a:cubicBezTo>
                    <a:pt x="846" y="1542"/>
                    <a:pt x="872" y="1525"/>
                    <a:pt x="903" y="1505"/>
                  </a:cubicBezTo>
                  <a:cubicBezTo>
                    <a:pt x="939" y="1482"/>
                    <a:pt x="975" y="1468"/>
                    <a:pt x="1013" y="1450"/>
                  </a:cubicBezTo>
                  <a:cubicBezTo>
                    <a:pt x="1017" y="1449"/>
                    <a:pt x="1021" y="1448"/>
                    <a:pt x="1025" y="1446"/>
                  </a:cubicBezTo>
                  <a:cubicBezTo>
                    <a:pt x="1028" y="1444"/>
                    <a:pt x="1032" y="1442"/>
                    <a:pt x="1035" y="1439"/>
                  </a:cubicBezTo>
                  <a:cubicBezTo>
                    <a:pt x="1065" y="1426"/>
                    <a:pt x="1096" y="1417"/>
                    <a:pt x="1126" y="1407"/>
                  </a:cubicBezTo>
                  <a:cubicBezTo>
                    <a:pt x="1094" y="1427"/>
                    <a:pt x="1062" y="1447"/>
                    <a:pt x="1032" y="1471"/>
                  </a:cubicBezTo>
                  <a:cubicBezTo>
                    <a:pt x="1030" y="1473"/>
                    <a:pt x="1029" y="1476"/>
                    <a:pt x="1031" y="1478"/>
                  </a:cubicBezTo>
                  <a:cubicBezTo>
                    <a:pt x="1032" y="1480"/>
                    <a:pt x="1036" y="1481"/>
                    <a:pt x="1038" y="1479"/>
                  </a:cubicBezTo>
                  <a:cubicBezTo>
                    <a:pt x="1060" y="1466"/>
                    <a:pt x="1083" y="1453"/>
                    <a:pt x="1106" y="1440"/>
                  </a:cubicBezTo>
                  <a:cubicBezTo>
                    <a:pt x="1129" y="1427"/>
                    <a:pt x="1152" y="1414"/>
                    <a:pt x="1174" y="1401"/>
                  </a:cubicBezTo>
                  <a:cubicBezTo>
                    <a:pt x="1198" y="1415"/>
                    <a:pt x="1232" y="1413"/>
                    <a:pt x="1257" y="1401"/>
                  </a:cubicBezTo>
                  <a:cubicBezTo>
                    <a:pt x="1266" y="1397"/>
                    <a:pt x="1273" y="1390"/>
                    <a:pt x="1279" y="1383"/>
                  </a:cubicBezTo>
                  <a:cubicBezTo>
                    <a:pt x="1275" y="1384"/>
                    <a:pt x="1271" y="1385"/>
                    <a:pt x="1266" y="1386"/>
                  </a:cubicBezTo>
                  <a:cubicBezTo>
                    <a:pt x="1277" y="1380"/>
                    <a:pt x="1284" y="1369"/>
                    <a:pt x="1291" y="1359"/>
                  </a:cubicBezTo>
                  <a:cubicBezTo>
                    <a:pt x="1292" y="1359"/>
                    <a:pt x="1293" y="1358"/>
                    <a:pt x="1294" y="1358"/>
                  </a:cubicBezTo>
                  <a:cubicBezTo>
                    <a:pt x="1322" y="1357"/>
                    <a:pt x="1348" y="1342"/>
                    <a:pt x="1374" y="1332"/>
                  </a:cubicBezTo>
                  <a:cubicBezTo>
                    <a:pt x="1368" y="1326"/>
                    <a:pt x="1368" y="1326"/>
                    <a:pt x="1368" y="1326"/>
                  </a:cubicBezTo>
                  <a:cubicBezTo>
                    <a:pt x="1374" y="1325"/>
                    <a:pt x="1379" y="1328"/>
                    <a:pt x="1385" y="1327"/>
                  </a:cubicBezTo>
                  <a:cubicBezTo>
                    <a:pt x="1382" y="1326"/>
                    <a:pt x="1380" y="1325"/>
                    <a:pt x="1377" y="1324"/>
                  </a:cubicBezTo>
                  <a:cubicBezTo>
                    <a:pt x="1378" y="1323"/>
                    <a:pt x="1378" y="1323"/>
                    <a:pt x="1378" y="1323"/>
                  </a:cubicBezTo>
                  <a:cubicBezTo>
                    <a:pt x="1385" y="1325"/>
                    <a:pt x="1393" y="1323"/>
                    <a:pt x="1399" y="1319"/>
                  </a:cubicBezTo>
                  <a:cubicBezTo>
                    <a:pt x="1421" y="1323"/>
                    <a:pt x="1443" y="1319"/>
                    <a:pt x="1464" y="1311"/>
                  </a:cubicBezTo>
                  <a:cubicBezTo>
                    <a:pt x="1469" y="1313"/>
                    <a:pt x="1474" y="1313"/>
                    <a:pt x="1478" y="1311"/>
                  </a:cubicBezTo>
                  <a:cubicBezTo>
                    <a:pt x="1481" y="1311"/>
                    <a:pt x="1483" y="1310"/>
                    <a:pt x="1485" y="1311"/>
                  </a:cubicBezTo>
                  <a:cubicBezTo>
                    <a:pt x="1505" y="1315"/>
                    <a:pt x="1524" y="1315"/>
                    <a:pt x="1544" y="1311"/>
                  </a:cubicBezTo>
                  <a:cubicBezTo>
                    <a:pt x="1540" y="1311"/>
                    <a:pt x="1535" y="1311"/>
                    <a:pt x="1530" y="1310"/>
                  </a:cubicBezTo>
                  <a:cubicBezTo>
                    <a:pt x="1536" y="1309"/>
                    <a:pt x="1542" y="1309"/>
                    <a:pt x="1547" y="1306"/>
                  </a:cubicBezTo>
                  <a:cubicBezTo>
                    <a:pt x="1546" y="1305"/>
                    <a:pt x="1544" y="1304"/>
                    <a:pt x="1543" y="1302"/>
                  </a:cubicBezTo>
                  <a:cubicBezTo>
                    <a:pt x="1565" y="1303"/>
                    <a:pt x="1584" y="1286"/>
                    <a:pt x="1585" y="1265"/>
                  </a:cubicBezTo>
                  <a:cubicBezTo>
                    <a:pt x="1586" y="1244"/>
                    <a:pt x="1569" y="1226"/>
                    <a:pt x="1547" y="1225"/>
                  </a:cubicBezTo>
                  <a:cubicBezTo>
                    <a:pt x="1543" y="1225"/>
                    <a:pt x="1543" y="1225"/>
                    <a:pt x="1543" y="1225"/>
                  </a:cubicBezTo>
                  <a:cubicBezTo>
                    <a:pt x="1550" y="1218"/>
                    <a:pt x="1554" y="1209"/>
                    <a:pt x="1552" y="1198"/>
                  </a:cubicBezTo>
                  <a:cubicBezTo>
                    <a:pt x="1551" y="1193"/>
                    <a:pt x="1545" y="1188"/>
                    <a:pt x="1541" y="1183"/>
                  </a:cubicBezTo>
                  <a:cubicBezTo>
                    <a:pt x="1536" y="1175"/>
                    <a:pt x="1525" y="1171"/>
                    <a:pt x="1517" y="1176"/>
                  </a:cubicBezTo>
                  <a:cubicBezTo>
                    <a:pt x="1515" y="1177"/>
                    <a:pt x="1513" y="1179"/>
                    <a:pt x="1511" y="1181"/>
                  </a:cubicBezTo>
                  <a:cubicBezTo>
                    <a:pt x="1500" y="1183"/>
                    <a:pt x="1489" y="1187"/>
                    <a:pt x="1477" y="1189"/>
                  </a:cubicBezTo>
                  <a:cubicBezTo>
                    <a:pt x="1475" y="1189"/>
                    <a:pt x="1473" y="1191"/>
                    <a:pt x="1474" y="1194"/>
                  </a:cubicBezTo>
                  <a:cubicBezTo>
                    <a:pt x="1474" y="1196"/>
                    <a:pt x="1476" y="1198"/>
                    <a:pt x="1478" y="1197"/>
                  </a:cubicBezTo>
                  <a:cubicBezTo>
                    <a:pt x="1487" y="1197"/>
                    <a:pt x="1496" y="1197"/>
                    <a:pt x="1505" y="1197"/>
                  </a:cubicBezTo>
                  <a:cubicBezTo>
                    <a:pt x="1506" y="1196"/>
                    <a:pt x="1506" y="1196"/>
                    <a:pt x="1506" y="1195"/>
                  </a:cubicBezTo>
                  <a:cubicBezTo>
                    <a:pt x="1506" y="1196"/>
                    <a:pt x="1506" y="1196"/>
                    <a:pt x="1506" y="1197"/>
                  </a:cubicBezTo>
                  <a:cubicBezTo>
                    <a:pt x="1507" y="1197"/>
                    <a:pt x="1508" y="1197"/>
                    <a:pt x="1509" y="1197"/>
                  </a:cubicBezTo>
                  <a:cubicBezTo>
                    <a:pt x="1509" y="1198"/>
                    <a:pt x="1509" y="1198"/>
                    <a:pt x="1508" y="1199"/>
                  </a:cubicBezTo>
                  <a:cubicBezTo>
                    <a:pt x="1508" y="1199"/>
                    <a:pt x="1507" y="1199"/>
                    <a:pt x="1506" y="1199"/>
                  </a:cubicBezTo>
                  <a:cubicBezTo>
                    <a:pt x="1506" y="1201"/>
                    <a:pt x="1506" y="1202"/>
                    <a:pt x="1505" y="1204"/>
                  </a:cubicBezTo>
                  <a:cubicBezTo>
                    <a:pt x="1492" y="1208"/>
                    <a:pt x="1479" y="1212"/>
                    <a:pt x="1465" y="1213"/>
                  </a:cubicBezTo>
                  <a:cubicBezTo>
                    <a:pt x="1464" y="1213"/>
                    <a:pt x="1463" y="1209"/>
                    <a:pt x="1461" y="1208"/>
                  </a:cubicBezTo>
                  <a:cubicBezTo>
                    <a:pt x="1460" y="1208"/>
                    <a:pt x="1459" y="1208"/>
                    <a:pt x="1458" y="1208"/>
                  </a:cubicBezTo>
                  <a:cubicBezTo>
                    <a:pt x="1460" y="1207"/>
                    <a:pt x="1463" y="1207"/>
                    <a:pt x="1465" y="1206"/>
                  </a:cubicBezTo>
                  <a:cubicBezTo>
                    <a:pt x="1470" y="1196"/>
                    <a:pt x="1472" y="1192"/>
                    <a:pt x="1473" y="1190"/>
                  </a:cubicBezTo>
                  <a:cubicBezTo>
                    <a:pt x="1473" y="1190"/>
                    <a:pt x="1473" y="1190"/>
                    <a:pt x="1473" y="1190"/>
                  </a:cubicBezTo>
                  <a:cubicBezTo>
                    <a:pt x="1473" y="1190"/>
                    <a:pt x="1473" y="1190"/>
                    <a:pt x="1474" y="1189"/>
                  </a:cubicBezTo>
                  <a:cubicBezTo>
                    <a:pt x="1474" y="1188"/>
                    <a:pt x="1475" y="1186"/>
                    <a:pt x="1475" y="1185"/>
                  </a:cubicBezTo>
                  <a:cubicBezTo>
                    <a:pt x="1475" y="1185"/>
                    <a:pt x="1475" y="1185"/>
                    <a:pt x="1475" y="1185"/>
                  </a:cubicBezTo>
                  <a:cubicBezTo>
                    <a:pt x="1476" y="1184"/>
                    <a:pt x="1476" y="1184"/>
                    <a:pt x="1476" y="1184"/>
                  </a:cubicBezTo>
                  <a:cubicBezTo>
                    <a:pt x="1480" y="1182"/>
                    <a:pt x="1480" y="1182"/>
                    <a:pt x="1480" y="1182"/>
                  </a:cubicBezTo>
                  <a:cubicBezTo>
                    <a:pt x="1481" y="1182"/>
                    <a:pt x="1482" y="1180"/>
                    <a:pt x="1482" y="1179"/>
                  </a:cubicBezTo>
                  <a:cubicBezTo>
                    <a:pt x="1483" y="1179"/>
                    <a:pt x="1484" y="1180"/>
                    <a:pt x="1486" y="1180"/>
                  </a:cubicBezTo>
                  <a:cubicBezTo>
                    <a:pt x="1494" y="1178"/>
                    <a:pt x="1494" y="1178"/>
                    <a:pt x="1502" y="1175"/>
                  </a:cubicBezTo>
                  <a:cubicBezTo>
                    <a:pt x="1502" y="1175"/>
                    <a:pt x="1501" y="1174"/>
                    <a:pt x="1500" y="1173"/>
                  </a:cubicBezTo>
                  <a:cubicBezTo>
                    <a:pt x="1500" y="1173"/>
                    <a:pt x="1502" y="1170"/>
                    <a:pt x="1505" y="1169"/>
                  </a:cubicBezTo>
                  <a:cubicBezTo>
                    <a:pt x="1508" y="1167"/>
                    <a:pt x="1508" y="1167"/>
                    <a:pt x="1516" y="1165"/>
                  </a:cubicBezTo>
                  <a:cubicBezTo>
                    <a:pt x="1516" y="1165"/>
                    <a:pt x="1516" y="1165"/>
                    <a:pt x="1510" y="1163"/>
                  </a:cubicBezTo>
                  <a:cubicBezTo>
                    <a:pt x="1510" y="1163"/>
                    <a:pt x="1510" y="1163"/>
                    <a:pt x="1514" y="1164"/>
                  </a:cubicBezTo>
                  <a:cubicBezTo>
                    <a:pt x="1514" y="1164"/>
                    <a:pt x="1514" y="1164"/>
                    <a:pt x="1511" y="1160"/>
                  </a:cubicBezTo>
                  <a:cubicBezTo>
                    <a:pt x="1511" y="1160"/>
                    <a:pt x="1511" y="1160"/>
                    <a:pt x="1515" y="1164"/>
                  </a:cubicBezTo>
                  <a:cubicBezTo>
                    <a:pt x="1515" y="1164"/>
                    <a:pt x="1515" y="1164"/>
                    <a:pt x="1514" y="1160"/>
                  </a:cubicBezTo>
                  <a:cubicBezTo>
                    <a:pt x="1514" y="1160"/>
                    <a:pt x="1514" y="1160"/>
                    <a:pt x="1526" y="1166"/>
                  </a:cubicBezTo>
                  <a:cubicBezTo>
                    <a:pt x="1527" y="1165"/>
                    <a:pt x="1527" y="1164"/>
                    <a:pt x="1529" y="1162"/>
                  </a:cubicBezTo>
                  <a:cubicBezTo>
                    <a:pt x="1529" y="1162"/>
                    <a:pt x="1529" y="1160"/>
                    <a:pt x="1529" y="1159"/>
                  </a:cubicBezTo>
                  <a:cubicBezTo>
                    <a:pt x="1528" y="1158"/>
                    <a:pt x="1528" y="1158"/>
                    <a:pt x="1528" y="1152"/>
                  </a:cubicBezTo>
                  <a:cubicBezTo>
                    <a:pt x="1528" y="1152"/>
                    <a:pt x="1527" y="1151"/>
                    <a:pt x="1526" y="1150"/>
                  </a:cubicBezTo>
                  <a:cubicBezTo>
                    <a:pt x="1524" y="1149"/>
                    <a:pt x="1524" y="1149"/>
                    <a:pt x="1522" y="1146"/>
                  </a:cubicBezTo>
                  <a:cubicBezTo>
                    <a:pt x="1529" y="1142"/>
                    <a:pt x="1536" y="1138"/>
                    <a:pt x="1544" y="1135"/>
                  </a:cubicBezTo>
                  <a:cubicBezTo>
                    <a:pt x="1567" y="1124"/>
                    <a:pt x="1590" y="1113"/>
                    <a:pt x="1610" y="1105"/>
                  </a:cubicBezTo>
                  <a:cubicBezTo>
                    <a:pt x="1613" y="1099"/>
                    <a:pt x="1630" y="1098"/>
                    <a:pt x="1630" y="1088"/>
                  </a:cubicBezTo>
                  <a:cubicBezTo>
                    <a:pt x="1638" y="1087"/>
                    <a:pt x="1640" y="1088"/>
                    <a:pt x="1645" y="1082"/>
                  </a:cubicBezTo>
                  <a:cubicBezTo>
                    <a:pt x="1646" y="1090"/>
                    <a:pt x="1652" y="1080"/>
                    <a:pt x="1653" y="1086"/>
                  </a:cubicBezTo>
                  <a:cubicBezTo>
                    <a:pt x="1657" y="1081"/>
                    <a:pt x="1665" y="1084"/>
                    <a:pt x="1665" y="1079"/>
                  </a:cubicBezTo>
                  <a:cubicBezTo>
                    <a:pt x="1658" y="1081"/>
                    <a:pt x="1655" y="1086"/>
                    <a:pt x="1651" y="1081"/>
                  </a:cubicBezTo>
                  <a:cubicBezTo>
                    <a:pt x="1658" y="1080"/>
                    <a:pt x="1663" y="1073"/>
                    <a:pt x="1670" y="1077"/>
                  </a:cubicBezTo>
                  <a:cubicBezTo>
                    <a:pt x="1674" y="1073"/>
                    <a:pt x="1681" y="1065"/>
                    <a:pt x="1687" y="1067"/>
                  </a:cubicBezTo>
                  <a:cubicBezTo>
                    <a:pt x="1685" y="1062"/>
                    <a:pt x="1694" y="1066"/>
                    <a:pt x="1695" y="1061"/>
                  </a:cubicBezTo>
                  <a:cubicBezTo>
                    <a:pt x="1694" y="1059"/>
                    <a:pt x="1692" y="1059"/>
                    <a:pt x="1693" y="1058"/>
                  </a:cubicBezTo>
                  <a:cubicBezTo>
                    <a:pt x="1696" y="1053"/>
                    <a:pt x="1704" y="1056"/>
                    <a:pt x="1706" y="1052"/>
                  </a:cubicBezTo>
                  <a:cubicBezTo>
                    <a:pt x="1705" y="1052"/>
                    <a:pt x="1703" y="1053"/>
                    <a:pt x="1703" y="1051"/>
                  </a:cubicBezTo>
                  <a:cubicBezTo>
                    <a:pt x="1705" y="1048"/>
                    <a:pt x="1707" y="1051"/>
                    <a:pt x="1710" y="1049"/>
                  </a:cubicBezTo>
                  <a:cubicBezTo>
                    <a:pt x="1708" y="1045"/>
                    <a:pt x="1704" y="1049"/>
                    <a:pt x="1701" y="1048"/>
                  </a:cubicBezTo>
                  <a:cubicBezTo>
                    <a:pt x="1701" y="1053"/>
                    <a:pt x="1689" y="1059"/>
                    <a:pt x="1686" y="1057"/>
                  </a:cubicBezTo>
                  <a:cubicBezTo>
                    <a:pt x="1689" y="1053"/>
                    <a:pt x="1689" y="1050"/>
                    <a:pt x="1694" y="1052"/>
                  </a:cubicBezTo>
                  <a:cubicBezTo>
                    <a:pt x="1693" y="1048"/>
                    <a:pt x="1691" y="1050"/>
                    <a:pt x="1690" y="1048"/>
                  </a:cubicBezTo>
                  <a:cubicBezTo>
                    <a:pt x="1686" y="1050"/>
                    <a:pt x="1688" y="1053"/>
                    <a:pt x="1684" y="1055"/>
                  </a:cubicBezTo>
                  <a:cubicBezTo>
                    <a:pt x="1683" y="1051"/>
                    <a:pt x="1685" y="1049"/>
                    <a:pt x="1685" y="1046"/>
                  </a:cubicBezTo>
                  <a:cubicBezTo>
                    <a:pt x="1681" y="1047"/>
                    <a:pt x="1684" y="1052"/>
                    <a:pt x="1681" y="1053"/>
                  </a:cubicBezTo>
                  <a:cubicBezTo>
                    <a:pt x="1678" y="1052"/>
                    <a:pt x="1682" y="1048"/>
                    <a:pt x="1678" y="1049"/>
                  </a:cubicBezTo>
                  <a:cubicBezTo>
                    <a:pt x="1678" y="1053"/>
                    <a:pt x="1672" y="1050"/>
                    <a:pt x="1670" y="1050"/>
                  </a:cubicBezTo>
                  <a:cubicBezTo>
                    <a:pt x="1674" y="1056"/>
                    <a:pt x="1664" y="1052"/>
                    <a:pt x="1664" y="1057"/>
                  </a:cubicBezTo>
                  <a:cubicBezTo>
                    <a:pt x="1666" y="1054"/>
                    <a:pt x="1672" y="1057"/>
                    <a:pt x="1669" y="1060"/>
                  </a:cubicBezTo>
                  <a:cubicBezTo>
                    <a:pt x="1665" y="1057"/>
                    <a:pt x="1664" y="1061"/>
                    <a:pt x="1659" y="1060"/>
                  </a:cubicBezTo>
                  <a:cubicBezTo>
                    <a:pt x="1658" y="1059"/>
                    <a:pt x="1657" y="1059"/>
                    <a:pt x="1657" y="1059"/>
                  </a:cubicBezTo>
                  <a:cubicBezTo>
                    <a:pt x="1662" y="1056"/>
                    <a:pt x="1658" y="1050"/>
                    <a:pt x="1657" y="1057"/>
                  </a:cubicBezTo>
                  <a:cubicBezTo>
                    <a:pt x="1650" y="1059"/>
                    <a:pt x="1642" y="1061"/>
                    <a:pt x="1637" y="1062"/>
                  </a:cubicBezTo>
                  <a:cubicBezTo>
                    <a:pt x="1639" y="1062"/>
                    <a:pt x="1640" y="1062"/>
                    <a:pt x="1642" y="1063"/>
                  </a:cubicBezTo>
                  <a:cubicBezTo>
                    <a:pt x="1635" y="1066"/>
                    <a:pt x="1634" y="1061"/>
                    <a:pt x="1636" y="1067"/>
                  </a:cubicBezTo>
                  <a:cubicBezTo>
                    <a:pt x="1632" y="1069"/>
                    <a:pt x="1630" y="1063"/>
                    <a:pt x="1626" y="1063"/>
                  </a:cubicBezTo>
                  <a:cubicBezTo>
                    <a:pt x="1629" y="1066"/>
                    <a:pt x="1622" y="1066"/>
                    <a:pt x="1624" y="1069"/>
                  </a:cubicBezTo>
                  <a:cubicBezTo>
                    <a:pt x="1626" y="1069"/>
                    <a:pt x="1630" y="1065"/>
                    <a:pt x="1631" y="1069"/>
                  </a:cubicBezTo>
                  <a:cubicBezTo>
                    <a:pt x="1623" y="1071"/>
                    <a:pt x="1622" y="1072"/>
                    <a:pt x="1617" y="1077"/>
                  </a:cubicBezTo>
                  <a:cubicBezTo>
                    <a:pt x="1616" y="1074"/>
                    <a:pt x="1615" y="1074"/>
                    <a:pt x="1614" y="1072"/>
                  </a:cubicBezTo>
                  <a:cubicBezTo>
                    <a:pt x="1618" y="1073"/>
                    <a:pt x="1622" y="1071"/>
                    <a:pt x="1621" y="1066"/>
                  </a:cubicBezTo>
                  <a:cubicBezTo>
                    <a:pt x="1615" y="1067"/>
                    <a:pt x="1613" y="1071"/>
                    <a:pt x="1611" y="1077"/>
                  </a:cubicBezTo>
                  <a:cubicBezTo>
                    <a:pt x="1606" y="1074"/>
                    <a:pt x="1604" y="1079"/>
                    <a:pt x="1605" y="1081"/>
                  </a:cubicBezTo>
                  <a:cubicBezTo>
                    <a:pt x="1601" y="1080"/>
                    <a:pt x="1601" y="1077"/>
                    <a:pt x="1601" y="1074"/>
                  </a:cubicBezTo>
                  <a:cubicBezTo>
                    <a:pt x="1596" y="1078"/>
                    <a:pt x="1594" y="1079"/>
                    <a:pt x="1587" y="1077"/>
                  </a:cubicBezTo>
                  <a:cubicBezTo>
                    <a:pt x="1589" y="1076"/>
                    <a:pt x="1587" y="1074"/>
                    <a:pt x="1588" y="1073"/>
                  </a:cubicBezTo>
                  <a:cubicBezTo>
                    <a:pt x="1585" y="1078"/>
                    <a:pt x="1584" y="1076"/>
                    <a:pt x="1579" y="1075"/>
                  </a:cubicBezTo>
                  <a:cubicBezTo>
                    <a:pt x="1577" y="1081"/>
                    <a:pt x="1565" y="1091"/>
                    <a:pt x="1555" y="1089"/>
                  </a:cubicBezTo>
                  <a:cubicBezTo>
                    <a:pt x="1553" y="1096"/>
                    <a:pt x="1549" y="1096"/>
                    <a:pt x="1539" y="1102"/>
                  </a:cubicBezTo>
                  <a:cubicBezTo>
                    <a:pt x="1540" y="1108"/>
                    <a:pt x="1546" y="1099"/>
                    <a:pt x="1547" y="1102"/>
                  </a:cubicBezTo>
                  <a:cubicBezTo>
                    <a:pt x="1548" y="1107"/>
                    <a:pt x="1542" y="1114"/>
                    <a:pt x="1537" y="1110"/>
                  </a:cubicBezTo>
                  <a:cubicBezTo>
                    <a:pt x="1535" y="1108"/>
                    <a:pt x="1542" y="1109"/>
                    <a:pt x="1538" y="1105"/>
                  </a:cubicBezTo>
                  <a:cubicBezTo>
                    <a:pt x="1528" y="1114"/>
                    <a:pt x="1546" y="1116"/>
                    <a:pt x="1552" y="1115"/>
                  </a:cubicBezTo>
                  <a:cubicBezTo>
                    <a:pt x="1550" y="1116"/>
                    <a:pt x="1552" y="1118"/>
                    <a:pt x="1549" y="1119"/>
                  </a:cubicBezTo>
                  <a:cubicBezTo>
                    <a:pt x="1543" y="1119"/>
                    <a:pt x="1537" y="1121"/>
                    <a:pt x="1536" y="1128"/>
                  </a:cubicBezTo>
                  <a:cubicBezTo>
                    <a:pt x="1534" y="1128"/>
                    <a:pt x="1533" y="1127"/>
                    <a:pt x="1533" y="1124"/>
                  </a:cubicBezTo>
                  <a:cubicBezTo>
                    <a:pt x="1525" y="1132"/>
                    <a:pt x="1517" y="1134"/>
                    <a:pt x="1510" y="1140"/>
                  </a:cubicBezTo>
                  <a:cubicBezTo>
                    <a:pt x="1508" y="1137"/>
                    <a:pt x="1507" y="1136"/>
                    <a:pt x="1505" y="1133"/>
                  </a:cubicBezTo>
                  <a:cubicBezTo>
                    <a:pt x="1507" y="1132"/>
                    <a:pt x="1509" y="1130"/>
                    <a:pt x="1510" y="1128"/>
                  </a:cubicBezTo>
                  <a:cubicBezTo>
                    <a:pt x="1511" y="1130"/>
                    <a:pt x="1512" y="1132"/>
                    <a:pt x="1514" y="1130"/>
                  </a:cubicBezTo>
                  <a:cubicBezTo>
                    <a:pt x="1513" y="1127"/>
                    <a:pt x="1511" y="1124"/>
                    <a:pt x="1515" y="1123"/>
                  </a:cubicBezTo>
                  <a:cubicBezTo>
                    <a:pt x="1516" y="1125"/>
                    <a:pt x="1513" y="1128"/>
                    <a:pt x="1517" y="1126"/>
                  </a:cubicBezTo>
                  <a:cubicBezTo>
                    <a:pt x="1517" y="1124"/>
                    <a:pt x="1519" y="1121"/>
                    <a:pt x="1522" y="1123"/>
                  </a:cubicBezTo>
                  <a:cubicBezTo>
                    <a:pt x="1524" y="1120"/>
                    <a:pt x="1519" y="1120"/>
                    <a:pt x="1521" y="1119"/>
                  </a:cubicBezTo>
                  <a:cubicBezTo>
                    <a:pt x="1523" y="1118"/>
                    <a:pt x="1525" y="1118"/>
                    <a:pt x="1527" y="1119"/>
                  </a:cubicBezTo>
                  <a:cubicBezTo>
                    <a:pt x="1528" y="1121"/>
                    <a:pt x="1525" y="1121"/>
                    <a:pt x="1526" y="1123"/>
                  </a:cubicBezTo>
                  <a:cubicBezTo>
                    <a:pt x="1529" y="1119"/>
                    <a:pt x="1530" y="1120"/>
                    <a:pt x="1534" y="1116"/>
                  </a:cubicBezTo>
                  <a:cubicBezTo>
                    <a:pt x="1532" y="1111"/>
                    <a:pt x="1531" y="1117"/>
                    <a:pt x="1528" y="1113"/>
                  </a:cubicBezTo>
                  <a:cubicBezTo>
                    <a:pt x="1544" y="1088"/>
                    <a:pt x="1573" y="1079"/>
                    <a:pt x="1596" y="1066"/>
                  </a:cubicBezTo>
                  <a:cubicBezTo>
                    <a:pt x="1599" y="1068"/>
                    <a:pt x="1591" y="1071"/>
                    <a:pt x="1595" y="1071"/>
                  </a:cubicBezTo>
                  <a:cubicBezTo>
                    <a:pt x="1604" y="1063"/>
                    <a:pt x="1604" y="1059"/>
                    <a:pt x="1615" y="1061"/>
                  </a:cubicBezTo>
                  <a:cubicBezTo>
                    <a:pt x="1619" y="1059"/>
                    <a:pt x="1617" y="1055"/>
                    <a:pt x="1618" y="1052"/>
                  </a:cubicBezTo>
                  <a:cubicBezTo>
                    <a:pt x="1624" y="1053"/>
                    <a:pt x="1631" y="1040"/>
                    <a:pt x="1639" y="1045"/>
                  </a:cubicBezTo>
                  <a:cubicBezTo>
                    <a:pt x="1637" y="1041"/>
                    <a:pt x="1644" y="1043"/>
                    <a:pt x="1645" y="1039"/>
                  </a:cubicBezTo>
                  <a:cubicBezTo>
                    <a:pt x="1647" y="1043"/>
                    <a:pt x="1648" y="1041"/>
                    <a:pt x="1648" y="1038"/>
                  </a:cubicBezTo>
                  <a:cubicBezTo>
                    <a:pt x="1652" y="1045"/>
                    <a:pt x="1655" y="1037"/>
                    <a:pt x="1659" y="1041"/>
                  </a:cubicBezTo>
                  <a:cubicBezTo>
                    <a:pt x="1658" y="1036"/>
                    <a:pt x="1662" y="1035"/>
                    <a:pt x="1667" y="1036"/>
                  </a:cubicBezTo>
                  <a:cubicBezTo>
                    <a:pt x="1668" y="1033"/>
                    <a:pt x="1664" y="1033"/>
                    <a:pt x="1666" y="1032"/>
                  </a:cubicBezTo>
                  <a:cubicBezTo>
                    <a:pt x="1673" y="1032"/>
                    <a:pt x="1678" y="1022"/>
                    <a:pt x="1684" y="1029"/>
                  </a:cubicBezTo>
                  <a:cubicBezTo>
                    <a:pt x="1685" y="1022"/>
                    <a:pt x="1700" y="1018"/>
                    <a:pt x="1705" y="1021"/>
                  </a:cubicBezTo>
                  <a:cubicBezTo>
                    <a:pt x="1703" y="1014"/>
                    <a:pt x="1716" y="1010"/>
                    <a:pt x="1717" y="1013"/>
                  </a:cubicBezTo>
                  <a:cubicBezTo>
                    <a:pt x="1720" y="1008"/>
                    <a:pt x="1723" y="1003"/>
                    <a:pt x="1726" y="999"/>
                  </a:cubicBezTo>
                  <a:cubicBezTo>
                    <a:pt x="1726" y="1001"/>
                    <a:pt x="1726" y="1002"/>
                    <a:pt x="1726" y="1004"/>
                  </a:cubicBezTo>
                  <a:cubicBezTo>
                    <a:pt x="1747" y="996"/>
                    <a:pt x="1759" y="983"/>
                    <a:pt x="1787" y="977"/>
                  </a:cubicBezTo>
                  <a:cubicBezTo>
                    <a:pt x="1786" y="975"/>
                    <a:pt x="1786" y="973"/>
                    <a:pt x="1787" y="972"/>
                  </a:cubicBezTo>
                  <a:cubicBezTo>
                    <a:pt x="1799" y="978"/>
                    <a:pt x="1808" y="954"/>
                    <a:pt x="1815" y="968"/>
                  </a:cubicBezTo>
                  <a:cubicBezTo>
                    <a:pt x="1821" y="965"/>
                    <a:pt x="1814" y="964"/>
                    <a:pt x="1817" y="960"/>
                  </a:cubicBezTo>
                  <a:cubicBezTo>
                    <a:pt x="1830" y="956"/>
                    <a:pt x="1837" y="948"/>
                    <a:pt x="1846" y="950"/>
                  </a:cubicBezTo>
                  <a:cubicBezTo>
                    <a:pt x="1851" y="943"/>
                    <a:pt x="1855" y="943"/>
                    <a:pt x="1862" y="937"/>
                  </a:cubicBezTo>
                  <a:cubicBezTo>
                    <a:pt x="1864" y="939"/>
                    <a:pt x="1860" y="939"/>
                    <a:pt x="1861" y="942"/>
                  </a:cubicBezTo>
                  <a:cubicBezTo>
                    <a:pt x="1871" y="936"/>
                    <a:pt x="1875" y="931"/>
                    <a:pt x="1886" y="933"/>
                  </a:cubicBezTo>
                  <a:cubicBezTo>
                    <a:pt x="1882" y="928"/>
                    <a:pt x="1889" y="926"/>
                    <a:pt x="1888" y="922"/>
                  </a:cubicBezTo>
                  <a:cubicBezTo>
                    <a:pt x="1882" y="924"/>
                    <a:pt x="1874" y="927"/>
                    <a:pt x="1868" y="922"/>
                  </a:cubicBezTo>
                  <a:cubicBezTo>
                    <a:pt x="1872" y="918"/>
                    <a:pt x="1877" y="923"/>
                    <a:pt x="1878" y="919"/>
                  </a:cubicBezTo>
                  <a:cubicBezTo>
                    <a:pt x="1863" y="917"/>
                    <a:pt x="1861" y="928"/>
                    <a:pt x="1848" y="933"/>
                  </a:cubicBezTo>
                  <a:cubicBezTo>
                    <a:pt x="1848" y="931"/>
                    <a:pt x="1848" y="930"/>
                    <a:pt x="1848" y="929"/>
                  </a:cubicBezTo>
                  <a:cubicBezTo>
                    <a:pt x="1843" y="929"/>
                    <a:pt x="1839" y="934"/>
                    <a:pt x="1836" y="937"/>
                  </a:cubicBezTo>
                  <a:cubicBezTo>
                    <a:pt x="1812" y="939"/>
                    <a:pt x="1794" y="964"/>
                    <a:pt x="1770" y="963"/>
                  </a:cubicBezTo>
                  <a:cubicBezTo>
                    <a:pt x="1766" y="971"/>
                    <a:pt x="1754" y="976"/>
                    <a:pt x="1744" y="982"/>
                  </a:cubicBezTo>
                  <a:cubicBezTo>
                    <a:pt x="1743" y="975"/>
                    <a:pt x="1756" y="975"/>
                    <a:pt x="1755" y="968"/>
                  </a:cubicBezTo>
                  <a:cubicBezTo>
                    <a:pt x="1750" y="970"/>
                    <a:pt x="1735" y="981"/>
                    <a:pt x="1730" y="977"/>
                  </a:cubicBezTo>
                  <a:cubicBezTo>
                    <a:pt x="1731" y="979"/>
                    <a:pt x="1732" y="982"/>
                    <a:pt x="1730" y="983"/>
                  </a:cubicBezTo>
                  <a:cubicBezTo>
                    <a:pt x="1728" y="985"/>
                    <a:pt x="1727" y="981"/>
                    <a:pt x="1725" y="982"/>
                  </a:cubicBezTo>
                  <a:cubicBezTo>
                    <a:pt x="1726" y="990"/>
                    <a:pt x="1706" y="994"/>
                    <a:pt x="1700" y="996"/>
                  </a:cubicBezTo>
                  <a:cubicBezTo>
                    <a:pt x="1701" y="996"/>
                    <a:pt x="1702" y="997"/>
                    <a:pt x="1702" y="998"/>
                  </a:cubicBezTo>
                  <a:cubicBezTo>
                    <a:pt x="1699" y="997"/>
                    <a:pt x="1695" y="1007"/>
                    <a:pt x="1689" y="1004"/>
                  </a:cubicBezTo>
                  <a:cubicBezTo>
                    <a:pt x="1692" y="1003"/>
                    <a:pt x="1693" y="1002"/>
                    <a:pt x="1692" y="1000"/>
                  </a:cubicBezTo>
                  <a:cubicBezTo>
                    <a:pt x="1686" y="998"/>
                    <a:pt x="1691" y="1006"/>
                    <a:pt x="1686" y="1007"/>
                  </a:cubicBezTo>
                  <a:cubicBezTo>
                    <a:pt x="1684" y="1005"/>
                    <a:pt x="1688" y="1004"/>
                    <a:pt x="1687" y="1002"/>
                  </a:cubicBezTo>
                  <a:cubicBezTo>
                    <a:pt x="1679" y="1008"/>
                    <a:pt x="1661" y="1013"/>
                    <a:pt x="1654" y="1018"/>
                  </a:cubicBezTo>
                  <a:cubicBezTo>
                    <a:pt x="1655" y="1023"/>
                    <a:pt x="1658" y="1018"/>
                    <a:pt x="1659" y="1022"/>
                  </a:cubicBezTo>
                  <a:cubicBezTo>
                    <a:pt x="1657" y="1022"/>
                    <a:pt x="1654" y="1026"/>
                    <a:pt x="1653" y="1023"/>
                  </a:cubicBezTo>
                  <a:cubicBezTo>
                    <a:pt x="1652" y="1022"/>
                    <a:pt x="1654" y="1021"/>
                    <a:pt x="1653" y="1019"/>
                  </a:cubicBezTo>
                  <a:cubicBezTo>
                    <a:pt x="1637" y="1026"/>
                    <a:pt x="1622" y="1035"/>
                    <a:pt x="1601" y="1043"/>
                  </a:cubicBezTo>
                  <a:cubicBezTo>
                    <a:pt x="1596" y="1039"/>
                    <a:pt x="1586" y="1051"/>
                    <a:pt x="1579" y="1052"/>
                  </a:cubicBezTo>
                  <a:cubicBezTo>
                    <a:pt x="1571" y="1054"/>
                    <a:pt x="1560" y="1063"/>
                    <a:pt x="1549" y="1069"/>
                  </a:cubicBezTo>
                  <a:cubicBezTo>
                    <a:pt x="1533" y="1078"/>
                    <a:pt x="1514" y="1082"/>
                    <a:pt x="1502" y="1095"/>
                  </a:cubicBezTo>
                  <a:cubicBezTo>
                    <a:pt x="1501" y="1093"/>
                    <a:pt x="1500" y="1091"/>
                    <a:pt x="1498" y="1092"/>
                  </a:cubicBezTo>
                  <a:cubicBezTo>
                    <a:pt x="1499" y="1094"/>
                    <a:pt x="1501" y="1096"/>
                    <a:pt x="1499" y="1097"/>
                  </a:cubicBezTo>
                  <a:cubicBezTo>
                    <a:pt x="1494" y="1099"/>
                    <a:pt x="1489" y="1098"/>
                    <a:pt x="1485" y="1095"/>
                  </a:cubicBezTo>
                  <a:cubicBezTo>
                    <a:pt x="1486" y="1098"/>
                    <a:pt x="1485" y="1100"/>
                    <a:pt x="1484" y="1103"/>
                  </a:cubicBezTo>
                  <a:cubicBezTo>
                    <a:pt x="1486" y="1102"/>
                    <a:pt x="1488" y="1097"/>
                    <a:pt x="1490" y="1100"/>
                  </a:cubicBezTo>
                  <a:cubicBezTo>
                    <a:pt x="1489" y="1101"/>
                    <a:pt x="1490" y="1104"/>
                    <a:pt x="1486" y="1105"/>
                  </a:cubicBezTo>
                  <a:cubicBezTo>
                    <a:pt x="1478" y="1099"/>
                    <a:pt x="1483" y="1103"/>
                    <a:pt x="1475" y="1104"/>
                  </a:cubicBezTo>
                  <a:cubicBezTo>
                    <a:pt x="1477" y="1103"/>
                    <a:pt x="1478" y="1102"/>
                    <a:pt x="1478" y="1100"/>
                  </a:cubicBezTo>
                  <a:cubicBezTo>
                    <a:pt x="1474" y="1106"/>
                    <a:pt x="1464" y="1103"/>
                    <a:pt x="1461" y="1109"/>
                  </a:cubicBezTo>
                  <a:cubicBezTo>
                    <a:pt x="1468" y="1109"/>
                    <a:pt x="1469" y="1107"/>
                    <a:pt x="1474" y="1107"/>
                  </a:cubicBezTo>
                  <a:cubicBezTo>
                    <a:pt x="1469" y="1111"/>
                    <a:pt x="1468" y="1110"/>
                    <a:pt x="1464" y="1115"/>
                  </a:cubicBezTo>
                  <a:cubicBezTo>
                    <a:pt x="1462" y="1113"/>
                    <a:pt x="1465" y="1110"/>
                    <a:pt x="1462" y="1110"/>
                  </a:cubicBezTo>
                  <a:cubicBezTo>
                    <a:pt x="1461" y="1113"/>
                    <a:pt x="1459" y="1113"/>
                    <a:pt x="1456" y="1113"/>
                  </a:cubicBezTo>
                  <a:cubicBezTo>
                    <a:pt x="1456" y="1110"/>
                    <a:pt x="1454" y="1108"/>
                    <a:pt x="1451" y="1107"/>
                  </a:cubicBezTo>
                  <a:cubicBezTo>
                    <a:pt x="1450" y="1103"/>
                    <a:pt x="1448" y="1099"/>
                    <a:pt x="1446" y="1096"/>
                  </a:cubicBezTo>
                  <a:cubicBezTo>
                    <a:pt x="1446" y="1096"/>
                    <a:pt x="1446" y="1096"/>
                    <a:pt x="1447" y="1096"/>
                  </a:cubicBezTo>
                  <a:cubicBezTo>
                    <a:pt x="1449" y="1101"/>
                    <a:pt x="1457" y="1088"/>
                    <a:pt x="1462" y="1096"/>
                  </a:cubicBezTo>
                  <a:cubicBezTo>
                    <a:pt x="1470" y="1087"/>
                    <a:pt x="1477" y="1091"/>
                    <a:pt x="1483" y="1082"/>
                  </a:cubicBezTo>
                  <a:cubicBezTo>
                    <a:pt x="1484" y="1084"/>
                    <a:pt x="1491" y="1083"/>
                    <a:pt x="1491" y="1080"/>
                  </a:cubicBezTo>
                  <a:cubicBezTo>
                    <a:pt x="1490" y="1082"/>
                    <a:pt x="1485" y="1080"/>
                    <a:pt x="1488" y="1078"/>
                  </a:cubicBezTo>
                  <a:cubicBezTo>
                    <a:pt x="1506" y="1077"/>
                    <a:pt x="1525" y="1064"/>
                    <a:pt x="1543" y="1059"/>
                  </a:cubicBezTo>
                  <a:cubicBezTo>
                    <a:pt x="1542" y="1059"/>
                    <a:pt x="1541" y="1058"/>
                    <a:pt x="1540" y="1058"/>
                  </a:cubicBezTo>
                  <a:cubicBezTo>
                    <a:pt x="1544" y="1056"/>
                    <a:pt x="1544" y="1056"/>
                    <a:pt x="1544" y="1056"/>
                  </a:cubicBezTo>
                  <a:cubicBezTo>
                    <a:pt x="1545" y="1057"/>
                    <a:pt x="1545" y="1058"/>
                    <a:pt x="1545" y="1060"/>
                  </a:cubicBezTo>
                  <a:cubicBezTo>
                    <a:pt x="1547" y="1055"/>
                    <a:pt x="1556" y="1060"/>
                    <a:pt x="1558" y="1057"/>
                  </a:cubicBezTo>
                  <a:cubicBezTo>
                    <a:pt x="1554" y="1057"/>
                    <a:pt x="1559" y="1054"/>
                    <a:pt x="1560" y="1056"/>
                  </a:cubicBezTo>
                  <a:cubicBezTo>
                    <a:pt x="1559" y="1052"/>
                    <a:pt x="1559" y="1053"/>
                    <a:pt x="1561" y="1049"/>
                  </a:cubicBezTo>
                  <a:cubicBezTo>
                    <a:pt x="1559" y="1050"/>
                    <a:pt x="1557" y="1052"/>
                    <a:pt x="1556" y="1050"/>
                  </a:cubicBezTo>
                  <a:cubicBezTo>
                    <a:pt x="1563" y="1041"/>
                    <a:pt x="1579" y="1041"/>
                    <a:pt x="1589" y="1037"/>
                  </a:cubicBezTo>
                  <a:cubicBezTo>
                    <a:pt x="1591" y="1033"/>
                    <a:pt x="1583" y="1035"/>
                    <a:pt x="1586" y="1031"/>
                  </a:cubicBezTo>
                  <a:cubicBezTo>
                    <a:pt x="1591" y="1034"/>
                    <a:pt x="1592" y="1022"/>
                    <a:pt x="1596" y="1027"/>
                  </a:cubicBezTo>
                  <a:cubicBezTo>
                    <a:pt x="1596" y="1030"/>
                    <a:pt x="1586" y="1034"/>
                    <a:pt x="1593" y="1037"/>
                  </a:cubicBezTo>
                  <a:cubicBezTo>
                    <a:pt x="1596" y="1031"/>
                    <a:pt x="1596" y="1022"/>
                    <a:pt x="1605" y="1024"/>
                  </a:cubicBezTo>
                  <a:cubicBezTo>
                    <a:pt x="1598" y="1013"/>
                    <a:pt x="1615" y="1012"/>
                    <a:pt x="1617" y="1004"/>
                  </a:cubicBezTo>
                  <a:cubicBezTo>
                    <a:pt x="1621" y="1005"/>
                    <a:pt x="1630" y="1005"/>
                    <a:pt x="1632" y="1000"/>
                  </a:cubicBezTo>
                  <a:cubicBezTo>
                    <a:pt x="1624" y="1002"/>
                    <a:pt x="1616" y="1003"/>
                    <a:pt x="1610" y="997"/>
                  </a:cubicBezTo>
                  <a:cubicBezTo>
                    <a:pt x="1611" y="997"/>
                    <a:pt x="1613" y="996"/>
                    <a:pt x="1613" y="995"/>
                  </a:cubicBezTo>
                  <a:cubicBezTo>
                    <a:pt x="1606" y="996"/>
                    <a:pt x="1612" y="1002"/>
                    <a:pt x="1605" y="1003"/>
                  </a:cubicBezTo>
                  <a:cubicBezTo>
                    <a:pt x="1607" y="1007"/>
                    <a:pt x="1612" y="1001"/>
                    <a:pt x="1614" y="1005"/>
                  </a:cubicBezTo>
                  <a:cubicBezTo>
                    <a:pt x="1606" y="1010"/>
                    <a:pt x="1598" y="1014"/>
                    <a:pt x="1591" y="1014"/>
                  </a:cubicBezTo>
                  <a:cubicBezTo>
                    <a:pt x="1595" y="1014"/>
                    <a:pt x="1591" y="1010"/>
                    <a:pt x="1594" y="1009"/>
                  </a:cubicBezTo>
                  <a:cubicBezTo>
                    <a:pt x="1595" y="1010"/>
                    <a:pt x="1601" y="1010"/>
                    <a:pt x="1601" y="1007"/>
                  </a:cubicBezTo>
                  <a:cubicBezTo>
                    <a:pt x="1599" y="1001"/>
                    <a:pt x="1609" y="991"/>
                    <a:pt x="1619" y="993"/>
                  </a:cubicBezTo>
                  <a:cubicBezTo>
                    <a:pt x="1619" y="985"/>
                    <a:pt x="1628" y="989"/>
                    <a:pt x="1629" y="989"/>
                  </a:cubicBezTo>
                  <a:cubicBezTo>
                    <a:pt x="1626" y="989"/>
                    <a:pt x="1628" y="984"/>
                    <a:pt x="1629" y="983"/>
                  </a:cubicBezTo>
                  <a:cubicBezTo>
                    <a:pt x="1632" y="988"/>
                    <a:pt x="1642" y="982"/>
                    <a:pt x="1634" y="979"/>
                  </a:cubicBezTo>
                  <a:cubicBezTo>
                    <a:pt x="1639" y="977"/>
                    <a:pt x="1641" y="980"/>
                    <a:pt x="1642" y="982"/>
                  </a:cubicBezTo>
                  <a:cubicBezTo>
                    <a:pt x="1644" y="978"/>
                    <a:pt x="1647" y="974"/>
                    <a:pt x="1647" y="969"/>
                  </a:cubicBezTo>
                  <a:cubicBezTo>
                    <a:pt x="1649" y="972"/>
                    <a:pt x="1647" y="974"/>
                    <a:pt x="1651" y="973"/>
                  </a:cubicBezTo>
                  <a:cubicBezTo>
                    <a:pt x="1653" y="970"/>
                    <a:pt x="1650" y="971"/>
                    <a:pt x="1651" y="969"/>
                  </a:cubicBezTo>
                  <a:cubicBezTo>
                    <a:pt x="1652" y="969"/>
                    <a:pt x="1653" y="969"/>
                    <a:pt x="1653" y="971"/>
                  </a:cubicBezTo>
                  <a:cubicBezTo>
                    <a:pt x="1653" y="960"/>
                    <a:pt x="1668" y="969"/>
                    <a:pt x="1668" y="964"/>
                  </a:cubicBezTo>
                  <a:cubicBezTo>
                    <a:pt x="1667" y="964"/>
                    <a:pt x="1666" y="965"/>
                    <a:pt x="1665" y="962"/>
                  </a:cubicBezTo>
                  <a:cubicBezTo>
                    <a:pt x="1670" y="961"/>
                    <a:pt x="1676" y="958"/>
                    <a:pt x="1679" y="962"/>
                  </a:cubicBezTo>
                  <a:cubicBezTo>
                    <a:pt x="1678" y="956"/>
                    <a:pt x="1684" y="962"/>
                    <a:pt x="1687" y="959"/>
                  </a:cubicBezTo>
                  <a:cubicBezTo>
                    <a:pt x="1685" y="951"/>
                    <a:pt x="1703" y="942"/>
                    <a:pt x="1705" y="949"/>
                  </a:cubicBezTo>
                  <a:cubicBezTo>
                    <a:pt x="1707" y="944"/>
                    <a:pt x="1707" y="940"/>
                    <a:pt x="1714" y="942"/>
                  </a:cubicBezTo>
                  <a:cubicBezTo>
                    <a:pt x="1713" y="935"/>
                    <a:pt x="1706" y="943"/>
                    <a:pt x="1703" y="941"/>
                  </a:cubicBezTo>
                  <a:cubicBezTo>
                    <a:pt x="1705" y="937"/>
                    <a:pt x="1715" y="936"/>
                    <a:pt x="1717" y="932"/>
                  </a:cubicBezTo>
                  <a:cubicBezTo>
                    <a:pt x="1722" y="934"/>
                    <a:pt x="1725" y="935"/>
                    <a:pt x="1726" y="939"/>
                  </a:cubicBezTo>
                  <a:cubicBezTo>
                    <a:pt x="1729" y="937"/>
                    <a:pt x="1727" y="933"/>
                    <a:pt x="1729" y="931"/>
                  </a:cubicBezTo>
                  <a:cubicBezTo>
                    <a:pt x="1727" y="931"/>
                    <a:pt x="1726" y="932"/>
                    <a:pt x="1725" y="931"/>
                  </a:cubicBezTo>
                  <a:cubicBezTo>
                    <a:pt x="1727" y="925"/>
                    <a:pt x="1736" y="923"/>
                    <a:pt x="1739" y="930"/>
                  </a:cubicBezTo>
                  <a:cubicBezTo>
                    <a:pt x="1736" y="930"/>
                    <a:pt x="1738" y="937"/>
                    <a:pt x="1739" y="936"/>
                  </a:cubicBezTo>
                  <a:cubicBezTo>
                    <a:pt x="1738" y="930"/>
                    <a:pt x="1746" y="928"/>
                    <a:pt x="1746" y="923"/>
                  </a:cubicBezTo>
                  <a:cubicBezTo>
                    <a:pt x="1740" y="923"/>
                    <a:pt x="1744" y="928"/>
                    <a:pt x="1739" y="929"/>
                  </a:cubicBezTo>
                  <a:cubicBezTo>
                    <a:pt x="1736" y="926"/>
                    <a:pt x="1738" y="923"/>
                    <a:pt x="1734" y="923"/>
                  </a:cubicBezTo>
                  <a:cubicBezTo>
                    <a:pt x="1741" y="920"/>
                    <a:pt x="1744" y="919"/>
                    <a:pt x="1747" y="915"/>
                  </a:cubicBezTo>
                  <a:cubicBezTo>
                    <a:pt x="1748" y="917"/>
                    <a:pt x="1745" y="918"/>
                    <a:pt x="1747" y="921"/>
                  </a:cubicBezTo>
                  <a:cubicBezTo>
                    <a:pt x="1752" y="920"/>
                    <a:pt x="1748" y="916"/>
                    <a:pt x="1750" y="914"/>
                  </a:cubicBezTo>
                  <a:cubicBezTo>
                    <a:pt x="1752" y="914"/>
                    <a:pt x="1755" y="913"/>
                    <a:pt x="1757" y="916"/>
                  </a:cubicBezTo>
                  <a:cubicBezTo>
                    <a:pt x="1763" y="906"/>
                    <a:pt x="1771" y="906"/>
                    <a:pt x="1783" y="900"/>
                  </a:cubicBezTo>
                  <a:cubicBezTo>
                    <a:pt x="1783" y="894"/>
                    <a:pt x="1777" y="903"/>
                    <a:pt x="1775" y="899"/>
                  </a:cubicBezTo>
                  <a:cubicBezTo>
                    <a:pt x="1784" y="888"/>
                    <a:pt x="1797" y="883"/>
                    <a:pt x="1807" y="872"/>
                  </a:cubicBezTo>
                  <a:cubicBezTo>
                    <a:pt x="1807" y="874"/>
                    <a:pt x="1806" y="875"/>
                    <a:pt x="1806" y="877"/>
                  </a:cubicBezTo>
                  <a:cubicBezTo>
                    <a:pt x="1810" y="868"/>
                    <a:pt x="1818" y="872"/>
                    <a:pt x="1817" y="866"/>
                  </a:cubicBezTo>
                  <a:cubicBezTo>
                    <a:pt x="1835" y="865"/>
                    <a:pt x="1868" y="844"/>
                    <a:pt x="1886" y="844"/>
                  </a:cubicBezTo>
                  <a:cubicBezTo>
                    <a:pt x="1894" y="840"/>
                    <a:pt x="1901" y="828"/>
                    <a:pt x="1911" y="834"/>
                  </a:cubicBezTo>
                  <a:cubicBezTo>
                    <a:pt x="1913" y="827"/>
                    <a:pt x="1926" y="827"/>
                    <a:pt x="1928" y="822"/>
                  </a:cubicBezTo>
                  <a:cubicBezTo>
                    <a:pt x="1926" y="822"/>
                    <a:pt x="1927" y="820"/>
                    <a:pt x="1928" y="819"/>
                  </a:cubicBezTo>
                  <a:cubicBezTo>
                    <a:pt x="1947" y="816"/>
                    <a:pt x="1950" y="801"/>
                    <a:pt x="1972" y="796"/>
                  </a:cubicBezTo>
                  <a:cubicBezTo>
                    <a:pt x="1968" y="790"/>
                    <a:pt x="1959" y="804"/>
                    <a:pt x="1956" y="794"/>
                  </a:cubicBezTo>
                  <a:cubicBezTo>
                    <a:pt x="1945" y="798"/>
                    <a:pt x="1940" y="796"/>
                    <a:pt x="1930" y="801"/>
                  </a:cubicBezTo>
                  <a:cubicBezTo>
                    <a:pt x="1932" y="800"/>
                    <a:pt x="1934" y="799"/>
                    <a:pt x="1933" y="798"/>
                  </a:cubicBezTo>
                  <a:cubicBezTo>
                    <a:pt x="1932" y="798"/>
                    <a:pt x="1931" y="799"/>
                    <a:pt x="1930" y="798"/>
                  </a:cubicBezTo>
                  <a:cubicBezTo>
                    <a:pt x="1936" y="796"/>
                    <a:pt x="1938" y="794"/>
                    <a:pt x="1938" y="790"/>
                  </a:cubicBezTo>
                  <a:cubicBezTo>
                    <a:pt x="1931" y="794"/>
                    <a:pt x="1921" y="800"/>
                    <a:pt x="1912" y="799"/>
                  </a:cubicBezTo>
                  <a:cubicBezTo>
                    <a:pt x="1912" y="793"/>
                    <a:pt x="1929" y="792"/>
                    <a:pt x="1928" y="789"/>
                  </a:cubicBezTo>
                  <a:cubicBezTo>
                    <a:pt x="1921" y="790"/>
                    <a:pt x="1913" y="790"/>
                    <a:pt x="1905" y="792"/>
                  </a:cubicBezTo>
                  <a:cubicBezTo>
                    <a:pt x="1907" y="787"/>
                    <a:pt x="1902" y="793"/>
                    <a:pt x="1901" y="789"/>
                  </a:cubicBezTo>
                  <a:cubicBezTo>
                    <a:pt x="1904" y="784"/>
                    <a:pt x="1908" y="785"/>
                    <a:pt x="1911" y="783"/>
                  </a:cubicBezTo>
                  <a:cubicBezTo>
                    <a:pt x="1910" y="784"/>
                    <a:pt x="1905" y="781"/>
                    <a:pt x="1908" y="780"/>
                  </a:cubicBezTo>
                  <a:cubicBezTo>
                    <a:pt x="1912" y="780"/>
                    <a:pt x="1912" y="778"/>
                    <a:pt x="1916" y="776"/>
                  </a:cubicBezTo>
                  <a:cubicBezTo>
                    <a:pt x="1916" y="778"/>
                    <a:pt x="1913" y="782"/>
                    <a:pt x="1917" y="781"/>
                  </a:cubicBezTo>
                  <a:cubicBezTo>
                    <a:pt x="1920" y="776"/>
                    <a:pt x="1925" y="768"/>
                    <a:pt x="1931" y="772"/>
                  </a:cubicBezTo>
                  <a:cubicBezTo>
                    <a:pt x="1930" y="770"/>
                    <a:pt x="1928" y="770"/>
                    <a:pt x="1927" y="768"/>
                  </a:cubicBezTo>
                  <a:cubicBezTo>
                    <a:pt x="1930" y="767"/>
                    <a:pt x="1933" y="766"/>
                    <a:pt x="1933" y="764"/>
                  </a:cubicBezTo>
                  <a:cubicBezTo>
                    <a:pt x="1935" y="767"/>
                    <a:pt x="1935" y="767"/>
                    <a:pt x="1935" y="767"/>
                  </a:cubicBezTo>
                  <a:cubicBezTo>
                    <a:pt x="1940" y="762"/>
                    <a:pt x="1942" y="758"/>
                    <a:pt x="1944" y="753"/>
                  </a:cubicBezTo>
                  <a:cubicBezTo>
                    <a:pt x="1948" y="752"/>
                    <a:pt x="1962" y="749"/>
                    <a:pt x="1961" y="743"/>
                  </a:cubicBezTo>
                  <a:cubicBezTo>
                    <a:pt x="1955" y="744"/>
                    <a:pt x="1950" y="754"/>
                    <a:pt x="1943" y="748"/>
                  </a:cubicBezTo>
                  <a:cubicBezTo>
                    <a:pt x="1928" y="755"/>
                    <a:pt x="1910" y="761"/>
                    <a:pt x="1902" y="767"/>
                  </a:cubicBezTo>
                  <a:cubicBezTo>
                    <a:pt x="1896" y="771"/>
                    <a:pt x="1886" y="772"/>
                    <a:pt x="1882" y="775"/>
                  </a:cubicBezTo>
                  <a:cubicBezTo>
                    <a:pt x="1877" y="778"/>
                    <a:pt x="1871" y="785"/>
                    <a:pt x="1864" y="780"/>
                  </a:cubicBezTo>
                  <a:cubicBezTo>
                    <a:pt x="1869" y="781"/>
                    <a:pt x="1871" y="775"/>
                    <a:pt x="1876" y="776"/>
                  </a:cubicBezTo>
                  <a:cubicBezTo>
                    <a:pt x="1877" y="773"/>
                    <a:pt x="1873" y="774"/>
                    <a:pt x="1875" y="772"/>
                  </a:cubicBezTo>
                  <a:cubicBezTo>
                    <a:pt x="1932" y="755"/>
                    <a:pt x="1978" y="704"/>
                    <a:pt x="2039" y="680"/>
                  </a:cubicBezTo>
                  <a:cubicBezTo>
                    <a:pt x="2033" y="670"/>
                    <a:pt x="2052" y="666"/>
                    <a:pt x="2058" y="667"/>
                  </a:cubicBezTo>
                  <a:cubicBezTo>
                    <a:pt x="2058" y="659"/>
                    <a:pt x="2068" y="663"/>
                    <a:pt x="2067" y="657"/>
                  </a:cubicBezTo>
                  <a:cubicBezTo>
                    <a:pt x="2063" y="656"/>
                    <a:pt x="2057" y="662"/>
                    <a:pt x="2054" y="657"/>
                  </a:cubicBezTo>
                  <a:cubicBezTo>
                    <a:pt x="2053" y="655"/>
                    <a:pt x="2049" y="651"/>
                    <a:pt x="2051" y="650"/>
                  </a:cubicBezTo>
                  <a:cubicBezTo>
                    <a:pt x="2063" y="642"/>
                    <a:pt x="2076" y="648"/>
                    <a:pt x="2079" y="639"/>
                  </a:cubicBezTo>
                  <a:cubicBezTo>
                    <a:pt x="2072" y="643"/>
                    <a:pt x="2063" y="637"/>
                    <a:pt x="2053" y="642"/>
                  </a:cubicBezTo>
                  <a:close/>
                  <a:moveTo>
                    <a:pt x="1772" y="633"/>
                  </a:moveTo>
                  <a:cubicBezTo>
                    <a:pt x="1775" y="638"/>
                    <a:pt x="1768" y="636"/>
                    <a:pt x="1766" y="637"/>
                  </a:cubicBezTo>
                  <a:cubicBezTo>
                    <a:pt x="1765" y="634"/>
                    <a:pt x="1770" y="632"/>
                    <a:pt x="1772" y="633"/>
                  </a:cubicBezTo>
                  <a:close/>
                  <a:moveTo>
                    <a:pt x="2200" y="271"/>
                  </a:moveTo>
                  <a:cubicBezTo>
                    <a:pt x="2199" y="269"/>
                    <a:pt x="2205" y="267"/>
                    <a:pt x="2207" y="268"/>
                  </a:cubicBezTo>
                  <a:cubicBezTo>
                    <a:pt x="2208" y="270"/>
                    <a:pt x="2205" y="271"/>
                    <a:pt x="2207" y="273"/>
                  </a:cubicBezTo>
                  <a:cubicBezTo>
                    <a:pt x="2204" y="276"/>
                    <a:pt x="2203" y="273"/>
                    <a:pt x="2200" y="276"/>
                  </a:cubicBezTo>
                  <a:cubicBezTo>
                    <a:pt x="2199" y="275"/>
                    <a:pt x="2201" y="274"/>
                    <a:pt x="2202" y="273"/>
                  </a:cubicBezTo>
                  <a:cubicBezTo>
                    <a:pt x="2201" y="272"/>
                    <a:pt x="2201" y="271"/>
                    <a:pt x="2200" y="271"/>
                  </a:cubicBezTo>
                  <a:close/>
                  <a:moveTo>
                    <a:pt x="2182" y="328"/>
                  </a:moveTo>
                  <a:cubicBezTo>
                    <a:pt x="2183" y="329"/>
                    <a:pt x="2184" y="329"/>
                    <a:pt x="2185" y="329"/>
                  </a:cubicBezTo>
                  <a:cubicBezTo>
                    <a:pt x="2185" y="332"/>
                    <a:pt x="2182" y="334"/>
                    <a:pt x="2179" y="335"/>
                  </a:cubicBezTo>
                  <a:cubicBezTo>
                    <a:pt x="2177" y="332"/>
                    <a:pt x="2181" y="330"/>
                    <a:pt x="2182" y="328"/>
                  </a:cubicBezTo>
                  <a:close/>
                  <a:moveTo>
                    <a:pt x="2149" y="391"/>
                  </a:moveTo>
                  <a:cubicBezTo>
                    <a:pt x="2150" y="394"/>
                    <a:pt x="2142" y="401"/>
                    <a:pt x="2140" y="395"/>
                  </a:cubicBezTo>
                  <a:cubicBezTo>
                    <a:pt x="2145" y="394"/>
                    <a:pt x="2144" y="393"/>
                    <a:pt x="2149" y="391"/>
                  </a:cubicBezTo>
                  <a:close/>
                  <a:moveTo>
                    <a:pt x="1971" y="335"/>
                  </a:moveTo>
                  <a:cubicBezTo>
                    <a:pt x="1976" y="335"/>
                    <a:pt x="1965" y="344"/>
                    <a:pt x="1964" y="339"/>
                  </a:cubicBezTo>
                  <a:cubicBezTo>
                    <a:pt x="1965" y="338"/>
                    <a:pt x="1970" y="337"/>
                    <a:pt x="1971" y="335"/>
                  </a:cubicBezTo>
                  <a:close/>
                  <a:moveTo>
                    <a:pt x="1941" y="343"/>
                  </a:moveTo>
                  <a:cubicBezTo>
                    <a:pt x="1943" y="345"/>
                    <a:pt x="1937" y="347"/>
                    <a:pt x="1941" y="347"/>
                  </a:cubicBezTo>
                  <a:cubicBezTo>
                    <a:pt x="1941" y="349"/>
                    <a:pt x="1932" y="355"/>
                    <a:pt x="1931" y="350"/>
                  </a:cubicBezTo>
                  <a:cubicBezTo>
                    <a:pt x="1936" y="349"/>
                    <a:pt x="1938" y="345"/>
                    <a:pt x="1941" y="343"/>
                  </a:cubicBezTo>
                  <a:close/>
                  <a:moveTo>
                    <a:pt x="1232" y="93"/>
                  </a:moveTo>
                  <a:cubicBezTo>
                    <a:pt x="1232" y="90"/>
                    <a:pt x="1237" y="88"/>
                    <a:pt x="1238" y="93"/>
                  </a:cubicBezTo>
                  <a:cubicBezTo>
                    <a:pt x="1236" y="95"/>
                    <a:pt x="1234" y="93"/>
                    <a:pt x="1232" y="93"/>
                  </a:cubicBezTo>
                  <a:close/>
                  <a:moveTo>
                    <a:pt x="941" y="111"/>
                  </a:moveTo>
                  <a:cubicBezTo>
                    <a:pt x="933" y="108"/>
                    <a:pt x="940" y="101"/>
                    <a:pt x="943" y="101"/>
                  </a:cubicBezTo>
                  <a:cubicBezTo>
                    <a:pt x="942" y="101"/>
                    <a:pt x="946" y="106"/>
                    <a:pt x="945" y="101"/>
                  </a:cubicBezTo>
                  <a:cubicBezTo>
                    <a:pt x="946" y="101"/>
                    <a:pt x="945" y="103"/>
                    <a:pt x="948" y="105"/>
                  </a:cubicBezTo>
                  <a:cubicBezTo>
                    <a:pt x="944" y="107"/>
                    <a:pt x="940" y="105"/>
                    <a:pt x="941" y="111"/>
                  </a:cubicBezTo>
                  <a:close/>
                  <a:moveTo>
                    <a:pt x="955" y="99"/>
                  </a:moveTo>
                  <a:cubicBezTo>
                    <a:pt x="959" y="96"/>
                    <a:pt x="962" y="88"/>
                    <a:pt x="968" y="88"/>
                  </a:cubicBezTo>
                  <a:cubicBezTo>
                    <a:pt x="968" y="95"/>
                    <a:pt x="961" y="102"/>
                    <a:pt x="955" y="99"/>
                  </a:cubicBezTo>
                  <a:close/>
                  <a:moveTo>
                    <a:pt x="973" y="82"/>
                  </a:moveTo>
                  <a:cubicBezTo>
                    <a:pt x="971" y="79"/>
                    <a:pt x="974" y="78"/>
                    <a:pt x="976" y="78"/>
                  </a:cubicBezTo>
                  <a:cubicBezTo>
                    <a:pt x="976" y="81"/>
                    <a:pt x="975" y="83"/>
                    <a:pt x="973" y="82"/>
                  </a:cubicBezTo>
                  <a:close/>
                  <a:moveTo>
                    <a:pt x="416" y="570"/>
                  </a:moveTo>
                  <a:cubicBezTo>
                    <a:pt x="418" y="572"/>
                    <a:pt x="414" y="571"/>
                    <a:pt x="413" y="571"/>
                  </a:cubicBezTo>
                  <a:cubicBezTo>
                    <a:pt x="413" y="570"/>
                    <a:pt x="414" y="568"/>
                    <a:pt x="413" y="569"/>
                  </a:cubicBezTo>
                  <a:cubicBezTo>
                    <a:pt x="412" y="566"/>
                    <a:pt x="415" y="566"/>
                    <a:pt x="416" y="564"/>
                  </a:cubicBezTo>
                  <a:cubicBezTo>
                    <a:pt x="420" y="567"/>
                    <a:pt x="413" y="569"/>
                    <a:pt x="416" y="570"/>
                  </a:cubicBezTo>
                  <a:close/>
                  <a:moveTo>
                    <a:pt x="434" y="571"/>
                  </a:moveTo>
                  <a:cubicBezTo>
                    <a:pt x="434" y="567"/>
                    <a:pt x="434" y="564"/>
                    <a:pt x="435" y="561"/>
                  </a:cubicBezTo>
                  <a:cubicBezTo>
                    <a:pt x="438" y="560"/>
                    <a:pt x="438" y="565"/>
                    <a:pt x="439" y="568"/>
                  </a:cubicBezTo>
                  <a:lnTo>
                    <a:pt x="434" y="571"/>
                  </a:lnTo>
                  <a:close/>
                  <a:moveTo>
                    <a:pt x="455" y="561"/>
                  </a:moveTo>
                  <a:cubicBezTo>
                    <a:pt x="455" y="566"/>
                    <a:pt x="450" y="560"/>
                    <a:pt x="447" y="564"/>
                  </a:cubicBezTo>
                  <a:cubicBezTo>
                    <a:pt x="447" y="560"/>
                    <a:pt x="445" y="564"/>
                    <a:pt x="442" y="566"/>
                  </a:cubicBezTo>
                  <a:cubicBezTo>
                    <a:pt x="440" y="565"/>
                    <a:pt x="442" y="562"/>
                    <a:pt x="440" y="563"/>
                  </a:cubicBezTo>
                  <a:cubicBezTo>
                    <a:pt x="438" y="560"/>
                    <a:pt x="444" y="561"/>
                    <a:pt x="442" y="558"/>
                  </a:cubicBezTo>
                  <a:cubicBezTo>
                    <a:pt x="444" y="556"/>
                    <a:pt x="445" y="560"/>
                    <a:pt x="446" y="559"/>
                  </a:cubicBezTo>
                  <a:cubicBezTo>
                    <a:pt x="448" y="557"/>
                    <a:pt x="444" y="557"/>
                    <a:pt x="445" y="555"/>
                  </a:cubicBezTo>
                  <a:cubicBezTo>
                    <a:pt x="446" y="555"/>
                    <a:pt x="447" y="555"/>
                    <a:pt x="448" y="555"/>
                  </a:cubicBezTo>
                  <a:cubicBezTo>
                    <a:pt x="448" y="556"/>
                    <a:pt x="449" y="558"/>
                    <a:pt x="450" y="560"/>
                  </a:cubicBezTo>
                  <a:cubicBezTo>
                    <a:pt x="451" y="555"/>
                    <a:pt x="449" y="555"/>
                    <a:pt x="454" y="555"/>
                  </a:cubicBezTo>
                  <a:cubicBezTo>
                    <a:pt x="456" y="558"/>
                    <a:pt x="453" y="559"/>
                    <a:pt x="451" y="560"/>
                  </a:cubicBezTo>
                  <a:cubicBezTo>
                    <a:pt x="452" y="561"/>
                    <a:pt x="453" y="561"/>
                    <a:pt x="455" y="561"/>
                  </a:cubicBezTo>
                  <a:close/>
                  <a:moveTo>
                    <a:pt x="460" y="561"/>
                  </a:moveTo>
                  <a:cubicBezTo>
                    <a:pt x="459" y="562"/>
                    <a:pt x="458" y="561"/>
                    <a:pt x="457" y="561"/>
                  </a:cubicBezTo>
                  <a:cubicBezTo>
                    <a:pt x="456" y="560"/>
                    <a:pt x="457" y="560"/>
                    <a:pt x="458" y="559"/>
                  </a:cubicBezTo>
                  <a:cubicBezTo>
                    <a:pt x="459" y="558"/>
                    <a:pt x="455" y="554"/>
                    <a:pt x="459" y="554"/>
                  </a:cubicBezTo>
                  <a:cubicBezTo>
                    <a:pt x="461" y="557"/>
                    <a:pt x="461" y="557"/>
                    <a:pt x="461" y="557"/>
                  </a:cubicBezTo>
                  <a:cubicBezTo>
                    <a:pt x="459" y="558"/>
                    <a:pt x="459" y="559"/>
                    <a:pt x="460" y="561"/>
                  </a:cubicBezTo>
                  <a:close/>
                  <a:moveTo>
                    <a:pt x="482" y="536"/>
                  </a:moveTo>
                  <a:cubicBezTo>
                    <a:pt x="480" y="533"/>
                    <a:pt x="482" y="532"/>
                    <a:pt x="479" y="528"/>
                  </a:cubicBezTo>
                  <a:cubicBezTo>
                    <a:pt x="482" y="528"/>
                    <a:pt x="485" y="524"/>
                    <a:pt x="487" y="528"/>
                  </a:cubicBezTo>
                  <a:cubicBezTo>
                    <a:pt x="480" y="529"/>
                    <a:pt x="485" y="533"/>
                    <a:pt x="482" y="536"/>
                  </a:cubicBezTo>
                  <a:close/>
                  <a:moveTo>
                    <a:pt x="489" y="522"/>
                  </a:moveTo>
                  <a:cubicBezTo>
                    <a:pt x="491" y="521"/>
                    <a:pt x="492" y="526"/>
                    <a:pt x="494" y="525"/>
                  </a:cubicBezTo>
                  <a:cubicBezTo>
                    <a:pt x="495" y="529"/>
                    <a:pt x="488" y="526"/>
                    <a:pt x="489" y="522"/>
                  </a:cubicBezTo>
                  <a:close/>
                  <a:moveTo>
                    <a:pt x="459" y="610"/>
                  </a:moveTo>
                  <a:cubicBezTo>
                    <a:pt x="463" y="608"/>
                    <a:pt x="464" y="604"/>
                    <a:pt x="467" y="605"/>
                  </a:cubicBezTo>
                  <a:cubicBezTo>
                    <a:pt x="468" y="607"/>
                    <a:pt x="466" y="608"/>
                    <a:pt x="469" y="612"/>
                  </a:cubicBezTo>
                  <a:cubicBezTo>
                    <a:pt x="464" y="608"/>
                    <a:pt x="464" y="615"/>
                    <a:pt x="459" y="610"/>
                  </a:cubicBezTo>
                  <a:close/>
                  <a:moveTo>
                    <a:pt x="477" y="616"/>
                  </a:moveTo>
                  <a:cubicBezTo>
                    <a:pt x="475" y="610"/>
                    <a:pt x="480" y="615"/>
                    <a:pt x="482" y="613"/>
                  </a:cubicBezTo>
                  <a:cubicBezTo>
                    <a:pt x="477" y="613"/>
                    <a:pt x="481" y="608"/>
                    <a:pt x="484" y="609"/>
                  </a:cubicBezTo>
                  <a:cubicBezTo>
                    <a:pt x="484" y="611"/>
                    <a:pt x="484" y="613"/>
                    <a:pt x="484" y="615"/>
                  </a:cubicBezTo>
                  <a:cubicBezTo>
                    <a:pt x="481" y="615"/>
                    <a:pt x="479" y="616"/>
                    <a:pt x="477" y="616"/>
                  </a:cubicBezTo>
                  <a:close/>
                  <a:moveTo>
                    <a:pt x="489" y="613"/>
                  </a:moveTo>
                  <a:cubicBezTo>
                    <a:pt x="490" y="617"/>
                    <a:pt x="486" y="614"/>
                    <a:pt x="489" y="619"/>
                  </a:cubicBezTo>
                  <a:cubicBezTo>
                    <a:pt x="486" y="622"/>
                    <a:pt x="484" y="620"/>
                    <a:pt x="483" y="623"/>
                  </a:cubicBezTo>
                  <a:cubicBezTo>
                    <a:pt x="480" y="616"/>
                    <a:pt x="485" y="614"/>
                    <a:pt x="489" y="613"/>
                  </a:cubicBezTo>
                  <a:close/>
                  <a:moveTo>
                    <a:pt x="543" y="597"/>
                  </a:moveTo>
                  <a:cubicBezTo>
                    <a:pt x="549" y="598"/>
                    <a:pt x="547" y="600"/>
                    <a:pt x="554" y="600"/>
                  </a:cubicBezTo>
                  <a:cubicBezTo>
                    <a:pt x="550" y="603"/>
                    <a:pt x="546" y="605"/>
                    <a:pt x="543" y="597"/>
                  </a:cubicBezTo>
                  <a:close/>
                  <a:moveTo>
                    <a:pt x="469" y="663"/>
                  </a:moveTo>
                  <a:cubicBezTo>
                    <a:pt x="469" y="662"/>
                    <a:pt x="468" y="661"/>
                    <a:pt x="467" y="661"/>
                  </a:cubicBezTo>
                  <a:cubicBezTo>
                    <a:pt x="467" y="660"/>
                    <a:pt x="468" y="660"/>
                    <a:pt x="467" y="658"/>
                  </a:cubicBezTo>
                  <a:cubicBezTo>
                    <a:pt x="470" y="657"/>
                    <a:pt x="472" y="662"/>
                    <a:pt x="469" y="663"/>
                  </a:cubicBezTo>
                  <a:close/>
                  <a:moveTo>
                    <a:pt x="500" y="655"/>
                  </a:moveTo>
                  <a:cubicBezTo>
                    <a:pt x="499" y="654"/>
                    <a:pt x="500" y="654"/>
                    <a:pt x="501" y="653"/>
                  </a:cubicBezTo>
                  <a:cubicBezTo>
                    <a:pt x="500" y="652"/>
                    <a:pt x="499" y="651"/>
                    <a:pt x="499" y="651"/>
                  </a:cubicBezTo>
                  <a:cubicBezTo>
                    <a:pt x="497" y="647"/>
                    <a:pt x="501" y="650"/>
                    <a:pt x="502" y="650"/>
                  </a:cubicBezTo>
                  <a:cubicBezTo>
                    <a:pt x="503" y="653"/>
                    <a:pt x="501" y="654"/>
                    <a:pt x="500" y="655"/>
                  </a:cubicBezTo>
                  <a:close/>
                  <a:moveTo>
                    <a:pt x="450" y="724"/>
                  </a:moveTo>
                  <a:cubicBezTo>
                    <a:pt x="448" y="720"/>
                    <a:pt x="451" y="721"/>
                    <a:pt x="447" y="718"/>
                  </a:cubicBezTo>
                  <a:cubicBezTo>
                    <a:pt x="449" y="717"/>
                    <a:pt x="449" y="717"/>
                    <a:pt x="449" y="717"/>
                  </a:cubicBezTo>
                  <a:cubicBezTo>
                    <a:pt x="449" y="718"/>
                    <a:pt x="450" y="718"/>
                    <a:pt x="450" y="717"/>
                  </a:cubicBezTo>
                  <a:cubicBezTo>
                    <a:pt x="450" y="719"/>
                    <a:pt x="452" y="723"/>
                    <a:pt x="450" y="724"/>
                  </a:cubicBezTo>
                  <a:close/>
                  <a:moveTo>
                    <a:pt x="463" y="721"/>
                  </a:moveTo>
                  <a:cubicBezTo>
                    <a:pt x="462" y="715"/>
                    <a:pt x="470" y="714"/>
                    <a:pt x="473" y="714"/>
                  </a:cubicBezTo>
                  <a:cubicBezTo>
                    <a:pt x="474" y="720"/>
                    <a:pt x="465" y="721"/>
                    <a:pt x="463" y="721"/>
                  </a:cubicBezTo>
                  <a:close/>
                  <a:moveTo>
                    <a:pt x="479" y="716"/>
                  </a:moveTo>
                  <a:cubicBezTo>
                    <a:pt x="477" y="713"/>
                    <a:pt x="480" y="713"/>
                    <a:pt x="482" y="711"/>
                  </a:cubicBezTo>
                  <a:cubicBezTo>
                    <a:pt x="485" y="715"/>
                    <a:pt x="480" y="715"/>
                    <a:pt x="479" y="716"/>
                  </a:cubicBezTo>
                  <a:close/>
                  <a:moveTo>
                    <a:pt x="524" y="704"/>
                  </a:moveTo>
                  <a:cubicBezTo>
                    <a:pt x="522" y="699"/>
                    <a:pt x="526" y="702"/>
                    <a:pt x="527" y="699"/>
                  </a:cubicBezTo>
                  <a:cubicBezTo>
                    <a:pt x="530" y="703"/>
                    <a:pt x="525" y="702"/>
                    <a:pt x="524" y="704"/>
                  </a:cubicBezTo>
                  <a:close/>
                  <a:moveTo>
                    <a:pt x="588" y="587"/>
                  </a:moveTo>
                  <a:cubicBezTo>
                    <a:pt x="585" y="589"/>
                    <a:pt x="586" y="590"/>
                    <a:pt x="582" y="591"/>
                  </a:cubicBezTo>
                  <a:cubicBezTo>
                    <a:pt x="583" y="589"/>
                    <a:pt x="585" y="581"/>
                    <a:pt x="588" y="587"/>
                  </a:cubicBezTo>
                  <a:close/>
                  <a:moveTo>
                    <a:pt x="582" y="583"/>
                  </a:moveTo>
                  <a:cubicBezTo>
                    <a:pt x="583" y="587"/>
                    <a:pt x="577" y="587"/>
                    <a:pt x="581" y="592"/>
                  </a:cubicBezTo>
                  <a:cubicBezTo>
                    <a:pt x="578" y="592"/>
                    <a:pt x="576" y="594"/>
                    <a:pt x="573" y="593"/>
                  </a:cubicBezTo>
                  <a:cubicBezTo>
                    <a:pt x="574" y="589"/>
                    <a:pt x="579" y="588"/>
                    <a:pt x="582" y="583"/>
                  </a:cubicBezTo>
                  <a:close/>
                  <a:moveTo>
                    <a:pt x="576" y="608"/>
                  </a:moveTo>
                  <a:cubicBezTo>
                    <a:pt x="576" y="613"/>
                    <a:pt x="573" y="612"/>
                    <a:pt x="570" y="615"/>
                  </a:cubicBezTo>
                  <a:cubicBezTo>
                    <a:pt x="567" y="609"/>
                    <a:pt x="573" y="611"/>
                    <a:pt x="576" y="608"/>
                  </a:cubicBezTo>
                  <a:close/>
                  <a:moveTo>
                    <a:pt x="546" y="642"/>
                  </a:moveTo>
                  <a:cubicBezTo>
                    <a:pt x="546" y="640"/>
                    <a:pt x="546" y="638"/>
                    <a:pt x="544" y="638"/>
                  </a:cubicBezTo>
                  <a:cubicBezTo>
                    <a:pt x="546" y="633"/>
                    <a:pt x="548" y="640"/>
                    <a:pt x="551" y="640"/>
                  </a:cubicBezTo>
                  <a:cubicBezTo>
                    <a:pt x="552" y="643"/>
                    <a:pt x="548" y="638"/>
                    <a:pt x="546" y="642"/>
                  </a:cubicBezTo>
                  <a:close/>
                  <a:moveTo>
                    <a:pt x="554" y="698"/>
                  </a:moveTo>
                  <a:cubicBezTo>
                    <a:pt x="553" y="696"/>
                    <a:pt x="554" y="695"/>
                    <a:pt x="552" y="693"/>
                  </a:cubicBezTo>
                  <a:cubicBezTo>
                    <a:pt x="551" y="695"/>
                    <a:pt x="553" y="701"/>
                    <a:pt x="548" y="700"/>
                  </a:cubicBezTo>
                  <a:cubicBezTo>
                    <a:pt x="551" y="696"/>
                    <a:pt x="545" y="694"/>
                    <a:pt x="550" y="694"/>
                  </a:cubicBezTo>
                  <a:cubicBezTo>
                    <a:pt x="547" y="691"/>
                    <a:pt x="544" y="694"/>
                    <a:pt x="541" y="690"/>
                  </a:cubicBezTo>
                  <a:cubicBezTo>
                    <a:pt x="540" y="688"/>
                    <a:pt x="544" y="688"/>
                    <a:pt x="545" y="687"/>
                  </a:cubicBezTo>
                  <a:cubicBezTo>
                    <a:pt x="547" y="690"/>
                    <a:pt x="548" y="689"/>
                    <a:pt x="550" y="692"/>
                  </a:cubicBezTo>
                  <a:cubicBezTo>
                    <a:pt x="550" y="689"/>
                    <a:pt x="550" y="686"/>
                    <a:pt x="552" y="684"/>
                  </a:cubicBezTo>
                  <a:cubicBezTo>
                    <a:pt x="556" y="690"/>
                    <a:pt x="551" y="691"/>
                    <a:pt x="557" y="694"/>
                  </a:cubicBezTo>
                  <a:cubicBezTo>
                    <a:pt x="557" y="696"/>
                    <a:pt x="556" y="697"/>
                    <a:pt x="554" y="698"/>
                  </a:cubicBezTo>
                  <a:close/>
                  <a:moveTo>
                    <a:pt x="559" y="689"/>
                  </a:moveTo>
                  <a:cubicBezTo>
                    <a:pt x="559" y="690"/>
                    <a:pt x="558" y="691"/>
                    <a:pt x="557" y="692"/>
                  </a:cubicBezTo>
                  <a:cubicBezTo>
                    <a:pt x="556" y="687"/>
                    <a:pt x="555" y="686"/>
                    <a:pt x="553" y="683"/>
                  </a:cubicBezTo>
                  <a:cubicBezTo>
                    <a:pt x="555" y="680"/>
                    <a:pt x="557" y="684"/>
                    <a:pt x="559" y="684"/>
                  </a:cubicBezTo>
                  <a:cubicBezTo>
                    <a:pt x="560" y="686"/>
                    <a:pt x="555" y="688"/>
                    <a:pt x="559" y="689"/>
                  </a:cubicBezTo>
                  <a:close/>
                  <a:moveTo>
                    <a:pt x="562" y="685"/>
                  </a:moveTo>
                  <a:cubicBezTo>
                    <a:pt x="560" y="682"/>
                    <a:pt x="564" y="683"/>
                    <a:pt x="561" y="679"/>
                  </a:cubicBezTo>
                  <a:cubicBezTo>
                    <a:pt x="563" y="679"/>
                    <a:pt x="564" y="685"/>
                    <a:pt x="566" y="681"/>
                  </a:cubicBezTo>
                  <a:cubicBezTo>
                    <a:pt x="562" y="680"/>
                    <a:pt x="565" y="677"/>
                    <a:pt x="568" y="680"/>
                  </a:cubicBezTo>
                  <a:cubicBezTo>
                    <a:pt x="569" y="685"/>
                    <a:pt x="565" y="686"/>
                    <a:pt x="562" y="685"/>
                  </a:cubicBezTo>
                  <a:close/>
                  <a:moveTo>
                    <a:pt x="568" y="691"/>
                  </a:moveTo>
                  <a:cubicBezTo>
                    <a:pt x="566" y="687"/>
                    <a:pt x="566" y="687"/>
                    <a:pt x="566" y="687"/>
                  </a:cubicBezTo>
                  <a:cubicBezTo>
                    <a:pt x="568" y="686"/>
                    <a:pt x="568" y="686"/>
                    <a:pt x="568" y="686"/>
                  </a:cubicBezTo>
                  <a:cubicBezTo>
                    <a:pt x="569" y="690"/>
                    <a:pt x="568" y="688"/>
                    <a:pt x="570" y="686"/>
                  </a:cubicBezTo>
                  <a:cubicBezTo>
                    <a:pt x="572" y="689"/>
                    <a:pt x="570" y="690"/>
                    <a:pt x="568" y="691"/>
                  </a:cubicBezTo>
                  <a:close/>
                  <a:moveTo>
                    <a:pt x="575" y="681"/>
                  </a:moveTo>
                  <a:cubicBezTo>
                    <a:pt x="572" y="678"/>
                    <a:pt x="577" y="678"/>
                    <a:pt x="576" y="675"/>
                  </a:cubicBezTo>
                  <a:cubicBezTo>
                    <a:pt x="579" y="674"/>
                    <a:pt x="578" y="677"/>
                    <a:pt x="581" y="678"/>
                  </a:cubicBezTo>
                  <a:cubicBezTo>
                    <a:pt x="581" y="676"/>
                    <a:pt x="584" y="675"/>
                    <a:pt x="586" y="673"/>
                  </a:cubicBezTo>
                  <a:cubicBezTo>
                    <a:pt x="586" y="682"/>
                    <a:pt x="580" y="680"/>
                    <a:pt x="575" y="681"/>
                  </a:cubicBezTo>
                  <a:close/>
                  <a:moveTo>
                    <a:pt x="574" y="673"/>
                  </a:moveTo>
                  <a:cubicBezTo>
                    <a:pt x="575" y="667"/>
                    <a:pt x="583" y="672"/>
                    <a:pt x="585" y="667"/>
                  </a:cubicBezTo>
                  <a:cubicBezTo>
                    <a:pt x="586" y="673"/>
                    <a:pt x="577" y="671"/>
                    <a:pt x="574" y="673"/>
                  </a:cubicBezTo>
                  <a:close/>
                  <a:moveTo>
                    <a:pt x="604" y="669"/>
                  </a:moveTo>
                  <a:cubicBezTo>
                    <a:pt x="606" y="673"/>
                    <a:pt x="600" y="670"/>
                    <a:pt x="602" y="676"/>
                  </a:cubicBezTo>
                  <a:cubicBezTo>
                    <a:pt x="601" y="676"/>
                    <a:pt x="594" y="670"/>
                    <a:pt x="597" y="676"/>
                  </a:cubicBezTo>
                  <a:cubicBezTo>
                    <a:pt x="595" y="676"/>
                    <a:pt x="594" y="675"/>
                    <a:pt x="593" y="675"/>
                  </a:cubicBezTo>
                  <a:cubicBezTo>
                    <a:pt x="591" y="671"/>
                    <a:pt x="596" y="669"/>
                    <a:pt x="597" y="665"/>
                  </a:cubicBezTo>
                  <a:cubicBezTo>
                    <a:pt x="598" y="670"/>
                    <a:pt x="602" y="667"/>
                    <a:pt x="607" y="665"/>
                  </a:cubicBezTo>
                  <a:cubicBezTo>
                    <a:pt x="607" y="666"/>
                    <a:pt x="608" y="667"/>
                    <a:pt x="609" y="669"/>
                  </a:cubicBezTo>
                  <a:cubicBezTo>
                    <a:pt x="607" y="671"/>
                    <a:pt x="605" y="668"/>
                    <a:pt x="604" y="669"/>
                  </a:cubicBezTo>
                  <a:close/>
                  <a:moveTo>
                    <a:pt x="597" y="635"/>
                  </a:moveTo>
                  <a:cubicBezTo>
                    <a:pt x="596" y="631"/>
                    <a:pt x="601" y="635"/>
                    <a:pt x="603" y="637"/>
                  </a:cubicBezTo>
                  <a:cubicBezTo>
                    <a:pt x="601" y="638"/>
                    <a:pt x="599" y="635"/>
                    <a:pt x="597" y="635"/>
                  </a:cubicBezTo>
                  <a:close/>
                  <a:moveTo>
                    <a:pt x="606" y="635"/>
                  </a:moveTo>
                  <a:cubicBezTo>
                    <a:pt x="606" y="632"/>
                    <a:pt x="604" y="633"/>
                    <a:pt x="603" y="630"/>
                  </a:cubicBezTo>
                  <a:cubicBezTo>
                    <a:pt x="605" y="628"/>
                    <a:pt x="607" y="631"/>
                    <a:pt x="609" y="634"/>
                  </a:cubicBezTo>
                  <a:lnTo>
                    <a:pt x="606" y="635"/>
                  </a:lnTo>
                  <a:close/>
                  <a:moveTo>
                    <a:pt x="611" y="626"/>
                  </a:moveTo>
                  <a:cubicBezTo>
                    <a:pt x="606" y="624"/>
                    <a:pt x="606" y="634"/>
                    <a:pt x="602" y="626"/>
                  </a:cubicBezTo>
                  <a:cubicBezTo>
                    <a:pt x="600" y="626"/>
                    <a:pt x="602" y="629"/>
                    <a:pt x="599" y="629"/>
                  </a:cubicBezTo>
                  <a:cubicBezTo>
                    <a:pt x="597" y="630"/>
                    <a:pt x="601" y="630"/>
                    <a:pt x="602" y="633"/>
                  </a:cubicBezTo>
                  <a:cubicBezTo>
                    <a:pt x="597" y="631"/>
                    <a:pt x="596" y="631"/>
                    <a:pt x="592" y="635"/>
                  </a:cubicBezTo>
                  <a:cubicBezTo>
                    <a:pt x="594" y="638"/>
                    <a:pt x="596" y="638"/>
                    <a:pt x="599" y="638"/>
                  </a:cubicBezTo>
                  <a:cubicBezTo>
                    <a:pt x="598" y="641"/>
                    <a:pt x="596" y="645"/>
                    <a:pt x="593" y="642"/>
                  </a:cubicBezTo>
                  <a:cubicBezTo>
                    <a:pt x="592" y="643"/>
                    <a:pt x="596" y="644"/>
                    <a:pt x="595" y="647"/>
                  </a:cubicBezTo>
                  <a:cubicBezTo>
                    <a:pt x="591" y="646"/>
                    <a:pt x="588" y="648"/>
                    <a:pt x="584" y="646"/>
                  </a:cubicBezTo>
                  <a:cubicBezTo>
                    <a:pt x="582" y="649"/>
                    <a:pt x="587" y="647"/>
                    <a:pt x="588" y="651"/>
                  </a:cubicBezTo>
                  <a:cubicBezTo>
                    <a:pt x="589" y="653"/>
                    <a:pt x="584" y="646"/>
                    <a:pt x="582" y="650"/>
                  </a:cubicBezTo>
                  <a:cubicBezTo>
                    <a:pt x="581" y="649"/>
                    <a:pt x="582" y="648"/>
                    <a:pt x="581" y="646"/>
                  </a:cubicBezTo>
                  <a:cubicBezTo>
                    <a:pt x="579" y="643"/>
                    <a:pt x="582" y="653"/>
                    <a:pt x="578" y="650"/>
                  </a:cubicBezTo>
                  <a:cubicBezTo>
                    <a:pt x="576" y="644"/>
                    <a:pt x="578" y="641"/>
                    <a:pt x="580" y="639"/>
                  </a:cubicBezTo>
                  <a:cubicBezTo>
                    <a:pt x="577" y="638"/>
                    <a:pt x="577" y="642"/>
                    <a:pt x="572" y="642"/>
                  </a:cubicBezTo>
                  <a:cubicBezTo>
                    <a:pt x="575" y="645"/>
                    <a:pt x="578" y="647"/>
                    <a:pt x="574" y="646"/>
                  </a:cubicBezTo>
                  <a:cubicBezTo>
                    <a:pt x="575" y="649"/>
                    <a:pt x="577" y="652"/>
                    <a:pt x="578" y="651"/>
                  </a:cubicBezTo>
                  <a:cubicBezTo>
                    <a:pt x="574" y="651"/>
                    <a:pt x="574" y="659"/>
                    <a:pt x="568" y="657"/>
                  </a:cubicBezTo>
                  <a:cubicBezTo>
                    <a:pt x="567" y="652"/>
                    <a:pt x="575" y="655"/>
                    <a:pt x="573" y="649"/>
                  </a:cubicBezTo>
                  <a:cubicBezTo>
                    <a:pt x="571" y="647"/>
                    <a:pt x="570" y="651"/>
                    <a:pt x="570" y="653"/>
                  </a:cubicBezTo>
                  <a:cubicBezTo>
                    <a:pt x="570" y="653"/>
                    <a:pt x="570" y="653"/>
                    <a:pt x="569" y="652"/>
                  </a:cubicBezTo>
                  <a:cubicBezTo>
                    <a:pt x="569" y="651"/>
                    <a:pt x="568" y="651"/>
                    <a:pt x="568" y="651"/>
                  </a:cubicBezTo>
                  <a:cubicBezTo>
                    <a:pt x="568" y="649"/>
                    <a:pt x="570" y="647"/>
                    <a:pt x="572" y="646"/>
                  </a:cubicBezTo>
                  <a:cubicBezTo>
                    <a:pt x="570" y="643"/>
                    <a:pt x="568" y="643"/>
                    <a:pt x="567" y="641"/>
                  </a:cubicBezTo>
                  <a:cubicBezTo>
                    <a:pt x="569" y="647"/>
                    <a:pt x="566" y="650"/>
                    <a:pt x="563" y="653"/>
                  </a:cubicBezTo>
                  <a:cubicBezTo>
                    <a:pt x="564" y="656"/>
                    <a:pt x="566" y="649"/>
                    <a:pt x="568" y="654"/>
                  </a:cubicBezTo>
                  <a:cubicBezTo>
                    <a:pt x="566" y="657"/>
                    <a:pt x="565" y="654"/>
                    <a:pt x="563" y="655"/>
                  </a:cubicBezTo>
                  <a:cubicBezTo>
                    <a:pt x="565" y="657"/>
                    <a:pt x="567" y="655"/>
                    <a:pt x="568" y="659"/>
                  </a:cubicBezTo>
                  <a:cubicBezTo>
                    <a:pt x="567" y="661"/>
                    <a:pt x="565" y="658"/>
                    <a:pt x="564" y="660"/>
                  </a:cubicBezTo>
                  <a:cubicBezTo>
                    <a:pt x="563" y="657"/>
                    <a:pt x="563" y="654"/>
                    <a:pt x="561" y="653"/>
                  </a:cubicBezTo>
                  <a:cubicBezTo>
                    <a:pt x="559" y="654"/>
                    <a:pt x="561" y="657"/>
                    <a:pt x="563" y="660"/>
                  </a:cubicBezTo>
                  <a:cubicBezTo>
                    <a:pt x="560" y="661"/>
                    <a:pt x="562" y="663"/>
                    <a:pt x="559" y="664"/>
                  </a:cubicBezTo>
                  <a:cubicBezTo>
                    <a:pt x="558" y="662"/>
                    <a:pt x="559" y="660"/>
                    <a:pt x="557" y="661"/>
                  </a:cubicBezTo>
                  <a:cubicBezTo>
                    <a:pt x="556" y="658"/>
                    <a:pt x="560" y="659"/>
                    <a:pt x="560" y="659"/>
                  </a:cubicBezTo>
                  <a:cubicBezTo>
                    <a:pt x="558" y="657"/>
                    <a:pt x="559" y="657"/>
                    <a:pt x="556" y="653"/>
                  </a:cubicBezTo>
                  <a:cubicBezTo>
                    <a:pt x="560" y="653"/>
                    <a:pt x="559" y="646"/>
                    <a:pt x="557" y="641"/>
                  </a:cubicBezTo>
                  <a:cubicBezTo>
                    <a:pt x="559" y="643"/>
                    <a:pt x="561" y="644"/>
                    <a:pt x="563" y="647"/>
                  </a:cubicBezTo>
                  <a:cubicBezTo>
                    <a:pt x="568" y="646"/>
                    <a:pt x="563" y="639"/>
                    <a:pt x="568" y="639"/>
                  </a:cubicBezTo>
                  <a:cubicBezTo>
                    <a:pt x="567" y="638"/>
                    <a:pt x="565" y="634"/>
                    <a:pt x="563" y="636"/>
                  </a:cubicBezTo>
                  <a:cubicBezTo>
                    <a:pt x="563" y="630"/>
                    <a:pt x="572" y="643"/>
                    <a:pt x="573" y="636"/>
                  </a:cubicBezTo>
                  <a:cubicBezTo>
                    <a:pt x="568" y="633"/>
                    <a:pt x="558" y="628"/>
                    <a:pt x="558" y="639"/>
                  </a:cubicBezTo>
                  <a:cubicBezTo>
                    <a:pt x="555" y="638"/>
                    <a:pt x="552" y="637"/>
                    <a:pt x="550" y="634"/>
                  </a:cubicBezTo>
                  <a:cubicBezTo>
                    <a:pt x="557" y="635"/>
                    <a:pt x="561" y="626"/>
                    <a:pt x="557" y="620"/>
                  </a:cubicBezTo>
                  <a:cubicBezTo>
                    <a:pt x="561" y="622"/>
                    <a:pt x="564" y="623"/>
                    <a:pt x="568" y="622"/>
                  </a:cubicBezTo>
                  <a:cubicBezTo>
                    <a:pt x="564" y="618"/>
                    <a:pt x="559" y="619"/>
                    <a:pt x="555" y="618"/>
                  </a:cubicBezTo>
                  <a:cubicBezTo>
                    <a:pt x="554" y="615"/>
                    <a:pt x="558" y="615"/>
                    <a:pt x="557" y="618"/>
                  </a:cubicBezTo>
                  <a:cubicBezTo>
                    <a:pt x="560" y="617"/>
                    <a:pt x="559" y="613"/>
                    <a:pt x="562" y="617"/>
                  </a:cubicBezTo>
                  <a:cubicBezTo>
                    <a:pt x="563" y="616"/>
                    <a:pt x="562" y="614"/>
                    <a:pt x="561" y="613"/>
                  </a:cubicBezTo>
                  <a:cubicBezTo>
                    <a:pt x="564" y="612"/>
                    <a:pt x="564" y="612"/>
                    <a:pt x="566" y="610"/>
                  </a:cubicBezTo>
                  <a:cubicBezTo>
                    <a:pt x="568" y="614"/>
                    <a:pt x="568" y="617"/>
                    <a:pt x="567" y="620"/>
                  </a:cubicBezTo>
                  <a:cubicBezTo>
                    <a:pt x="570" y="619"/>
                    <a:pt x="573" y="618"/>
                    <a:pt x="577" y="620"/>
                  </a:cubicBezTo>
                  <a:cubicBezTo>
                    <a:pt x="578" y="617"/>
                    <a:pt x="574" y="617"/>
                    <a:pt x="575" y="615"/>
                  </a:cubicBezTo>
                  <a:cubicBezTo>
                    <a:pt x="577" y="613"/>
                    <a:pt x="579" y="615"/>
                    <a:pt x="581" y="615"/>
                  </a:cubicBezTo>
                  <a:cubicBezTo>
                    <a:pt x="580" y="619"/>
                    <a:pt x="579" y="625"/>
                    <a:pt x="575" y="621"/>
                  </a:cubicBezTo>
                  <a:cubicBezTo>
                    <a:pt x="573" y="622"/>
                    <a:pt x="575" y="627"/>
                    <a:pt x="571" y="623"/>
                  </a:cubicBezTo>
                  <a:cubicBezTo>
                    <a:pt x="574" y="629"/>
                    <a:pt x="565" y="629"/>
                    <a:pt x="571" y="634"/>
                  </a:cubicBezTo>
                  <a:cubicBezTo>
                    <a:pt x="573" y="633"/>
                    <a:pt x="567" y="632"/>
                    <a:pt x="571" y="631"/>
                  </a:cubicBezTo>
                  <a:cubicBezTo>
                    <a:pt x="572" y="635"/>
                    <a:pt x="574" y="634"/>
                    <a:pt x="576" y="636"/>
                  </a:cubicBezTo>
                  <a:cubicBezTo>
                    <a:pt x="579" y="632"/>
                    <a:pt x="585" y="630"/>
                    <a:pt x="590" y="632"/>
                  </a:cubicBezTo>
                  <a:cubicBezTo>
                    <a:pt x="591" y="631"/>
                    <a:pt x="589" y="629"/>
                    <a:pt x="589" y="628"/>
                  </a:cubicBezTo>
                  <a:cubicBezTo>
                    <a:pt x="598" y="626"/>
                    <a:pt x="601" y="620"/>
                    <a:pt x="610" y="624"/>
                  </a:cubicBezTo>
                  <a:cubicBezTo>
                    <a:pt x="614" y="629"/>
                    <a:pt x="610" y="629"/>
                    <a:pt x="610" y="633"/>
                  </a:cubicBezTo>
                  <a:cubicBezTo>
                    <a:pt x="606" y="632"/>
                    <a:pt x="610" y="628"/>
                    <a:pt x="611" y="626"/>
                  </a:cubicBezTo>
                  <a:close/>
                  <a:moveTo>
                    <a:pt x="578" y="628"/>
                  </a:moveTo>
                  <a:cubicBezTo>
                    <a:pt x="575" y="625"/>
                    <a:pt x="580" y="625"/>
                    <a:pt x="581" y="623"/>
                  </a:cubicBezTo>
                  <a:cubicBezTo>
                    <a:pt x="583" y="626"/>
                    <a:pt x="580" y="627"/>
                    <a:pt x="578" y="628"/>
                  </a:cubicBezTo>
                  <a:close/>
                  <a:moveTo>
                    <a:pt x="572" y="631"/>
                  </a:moveTo>
                  <a:cubicBezTo>
                    <a:pt x="574" y="629"/>
                    <a:pt x="574" y="629"/>
                    <a:pt x="574" y="629"/>
                  </a:cubicBezTo>
                  <a:cubicBezTo>
                    <a:pt x="578" y="633"/>
                    <a:pt x="574" y="635"/>
                    <a:pt x="572" y="631"/>
                  </a:cubicBezTo>
                  <a:close/>
                  <a:moveTo>
                    <a:pt x="612" y="660"/>
                  </a:moveTo>
                  <a:cubicBezTo>
                    <a:pt x="616" y="661"/>
                    <a:pt x="614" y="670"/>
                    <a:pt x="611" y="663"/>
                  </a:cubicBezTo>
                  <a:cubicBezTo>
                    <a:pt x="612" y="662"/>
                    <a:pt x="613" y="662"/>
                    <a:pt x="612" y="660"/>
                  </a:cubicBezTo>
                  <a:close/>
                  <a:moveTo>
                    <a:pt x="610" y="674"/>
                  </a:moveTo>
                  <a:cubicBezTo>
                    <a:pt x="608" y="670"/>
                    <a:pt x="612" y="669"/>
                    <a:pt x="611" y="666"/>
                  </a:cubicBezTo>
                  <a:cubicBezTo>
                    <a:pt x="613" y="667"/>
                    <a:pt x="612" y="669"/>
                    <a:pt x="615" y="671"/>
                  </a:cubicBezTo>
                  <a:cubicBezTo>
                    <a:pt x="612" y="669"/>
                    <a:pt x="613" y="673"/>
                    <a:pt x="610" y="674"/>
                  </a:cubicBezTo>
                  <a:close/>
                  <a:moveTo>
                    <a:pt x="615" y="628"/>
                  </a:moveTo>
                  <a:cubicBezTo>
                    <a:pt x="613" y="625"/>
                    <a:pt x="612" y="624"/>
                    <a:pt x="611" y="620"/>
                  </a:cubicBezTo>
                  <a:cubicBezTo>
                    <a:pt x="613" y="618"/>
                    <a:pt x="615" y="621"/>
                    <a:pt x="617" y="618"/>
                  </a:cubicBezTo>
                  <a:cubicBezTo>
                    <a:pt x="619" y="621"/>
                    <a:pt x="618" y="623"/>
                    <a:pt x="619" y="626"/>
                  </a:cubicBezTo>
                  <a:lnTo>
                    <a:pt x="615" y="628"/>
                  </a:lnTo>
                  <a:close/>
                  <a:moveTo>
                    <a:pt x="622" y="618"/>
                  </a:moveTo>
                  <a:cubicBezTo>
                    <a:pt x="621" y="618"/>
                    <a:pt x="620" y="616"/>
                    <a:pt x="619" y="615"/>
                  </a:cubicBezTo>
                  <a:cubicBezTo>
                    <a:pt x="620" y="614"/>
                    <a:pt x="622" y="614"/>
                    <a:pt x="623" y="614"/>
                  </a:cubicBezTo>
                  <a:cubicBezTo>
                    <a:pt x="625" y="618"/>
                    <a:pt x="620" y="616"/>
                    <a:pt x="622" y="618"/>
                  </a:cubicBezTo>
                  <a:close/>
                  <a:moveTo>
                    <a:pt x="642" y="653"/>
                  </a:moveTo>
                  <a:cubicBezTo>
                    <a:pt x="639" y="651"/>
                    <a:pt x="642" y="648"/>
                    <a:pt x="643" y="650"/>
                  </a:cubicBezTo>
                  <a:cubicBezTo>
                    <a:pt x="645" y="648"/>
                    <a:pt x="640" y="648"/>
                    <a:pt x="641" y="645"/>
                  </a:cubicBezTo>
                  <a:cubicBezTo>
                    <a:pt x="643" y="645"/>
                    <a:pt x="645" y="647"/>
                    <a:pt x="647" y="649"/>
                  </a:cubicBezTo>
                  <a:lnTo>
                    <a:pt x="642" y="653"/>
                  </a:lnTo>
                  <a:close/>
                  <a:moveTo>
                    <a:pt x="648" y="650"/>
                  </a:moveTo>
                  <a:cubicBezTo>
                    <a:pt x="647" y="648"/>
                    <a:pt x="646" y="641"/>
                    <a:pt x="646" y="644"/>
                  </a:cubicBezTo>
                  <a:cubicBezTo>
                    <a:pt x="643" y="644"/>
                    <a:pt x="645" y="640"/>
                    <a:pt x="647" y="642"/>
                  </a:cubicBezTo>
                  <a:cubicBezTo>
                    <a:pt x="649" y="644"/>
                    <a:pt x="649" y="646"/>
                    <a:pt x="648" y="647"/>
                  </a:cubicBezTo>
                  <a:cubicBezTo>
                    <a:pt x="650" y="648"/>
                    <a:pt x="652" y="648"/>
                    <a:pt x="652" y="646"/>
                  </a:cubicBezTo>
                  <a:cubicBezTo>
                    <a:pt x="651" y="645"/>
                    <a:pt x="650" y="643"/>
                    <a:pt x="649" y="643"/>
                  </a:cubicBezTo>
                  <a:cubicBezTo>
                    <a:pt x="648" y="640"/>
                    <a:pt x="657" y="642"/>
                    <a:pt x="653" y="644"/>
                  </a:cubicBezTo>
                  <a:cubicBezTo>
                    <a:pt x="655" y="646"/>
                    <a:pt x="657" y="641"/>
                    <a:pt x="654" y="639"/>
                  </a:cubicBezTo>
                  <a:cubicBezTo>
                    <a:pt x="655" y="639"/>
                    <a:pt x="656" y="639"/>
                    <a:pt x="657" y="638"/>
                  </a:cubicBezTo>
                  <a:cubicBezTo>
                    <a:pt x="661" y="645"/>
                    <a:pt x="657" y="641"/>
                    <a:pt x="661" y="648"/>
                  </a:cubicBezTo>
                  <a:cubicBezTo>
                    <a:pt x="658" y="651"/>
                    <a:pt x="653" y="650"/>
                    <a:pt x="648" y="650"/>
                  </a:cubicBezTo>
                  <a:close/>
                  <a:moveTo>
                    <a:pt x="662" y="655"/>
                  </a:moveTo>
                  <a:cubicBezTo>
                    <a:pt x="661" y="653"/>
                    <a:pt x="662" y="653"/>
                    <a:pt x="661" y="651"/>
                  </a:cubicBezTo>
                  <a:cubicBezTo>
                    <a:pt x="662" y="649"/>
                    <a:pt x="664" y="653"/>
                    <a:pt x="665" y="652"/>
                  </a:cubicBezTo>
                  <a:cubicBezTo>
                    <a:pt x="667" y="654"/>
                    <a:pt x="663" y="654"/>
                    <a:pt x="662" y="655"/>
                  </a:cubicBezTo>
                  <a:close/>
                  <a:moveTo>
                    <a:pt x="676" y="637"/>
                  </a:moveTo>
                  <a:cubicBezTo>
                    <a:pt x="675" y="636"/>
                    <a:pt x="680" y="636"/>
                    <a:pt x="681" y="639"/>
                  </a:cubicBezTo>
                  <a:cubicBezTo>
                    <a:pt x="679" y="641"/>
                    <a:pt x="677" y="638"/>
                    <a:pt x="676" y="637"/>
                  </a:cubicBezTo>
                  <a:close/>
                  <a:moveTo>
                    <a:pt x="690" y="648"/>
                  </a:moveTo>
                  <a:cubicBezTo>
                    <a:pt x="693" y="649"/>
                    <a:pt x="695" y="647"/>
                    <a:pt x="698" y="651"/>
                  </a:cubicBezTo>
                  <a:cubicBezTo>
                    <a:pt x="695" y="653"/>
                    <a:pt x="692" y="652"/>
                    <a:pt x="690" y="648"/>
                  </a:cubicBezTo>
                  <a:close/>
                  <a:moveTo>
                    <a:pt x="700" y="651"/>
                  </a:moveTo>
                  <a:cubicBezTo>
                    <a:pt x="698" y="650"/>
                    <a:pt x="699" y="649"/>
                    <a:pt x="697" y="645"/>
                  </a:cubicBezTo>
                  <a:cubicBezTo>
                    <a:pt x="699" y="645"/>
                    <a:pt x="700" y="648"/>
                    <a:pt x="702" y="645"/>
                  </a:cubicBezTo>
                  <a:cubicBezTo>
                    <a:pt x="702" y="647"/>
                    <a:pt x="702" y="650"/>
                    <a:pt x="700" y="651"/>
                  </a:cubicBezTo>
                  <a:close/>
                  <a:moveTo>
                    <a:pt x="701" y="621"/>
                  </a:moveTo>
                  <a:cubicBezTo>
                    <a:pt x="698" y="616"/>
                    <a:pt x="706" y="620"/>
                    <a:pt x="707" y="625"/>
                  </a:cubicBezTo>
                  <a:cubicBezTo>
                    <a:pt x="705" y="625"/>
                    <a:pt x="703" y="618"/>
                    <a:pt x="701" y="621"/>
                  </a:cubicBezTo>
                  <a:close/>
                  <a:moveTo>
                    <a:pt x="719" y="642"/>
                  </a:moveTo>
                  <a:cubicBezTo>
                    <a:pt x="717" y="641"/>
                    <a:pt x="714" y="642"/>
                    <a:pt x="712" y="639"/>
                  </a:cubicBezTo>
                  <a:cubicBezTo>
                    <a:pt x="716" y="640"/>
                    <a:pt x="716" y="637"/>
                    <a:pt x="719" y="637"/>
                  </a:cubicBezTo>
                  <a:cubicBezTo>
                    <a:pt x="721" y="640"/>
                    <a:pt x="715" y="639"/>
                    <a:pt x="719" y="642"/>
                  </a:cubicBezTo>
                  <a:close/>
                  <a:moveTo>
                    <a:pt x="726" y="650"/>
                  </a:moveTo>
                  <a:cubicBezTo>
                    <a:pt x="726" y="648"/>
                    <a:pt x="726" y="646"/>
                    <a:pt x="724" y="644"/>
                  </a:cubicBezTo>
                  <a:cubicBezTo>
                    <a:pt x="728" y="642"/>
                    <a:pt x="732" y="650"/>
                    <a:pt x="726" y="650"/>
                  </a:cubicBezTo>
                  <a:close/>
                  <a:moveTo>
                    <a:pt x="738" y="658"/>
                  </a:moveTo>
                  <a:cubicBezTo>
                    <a:pt x="739" y="660"/>
                    <a:pt x="735" y="660"/>
                    <a:pt x="734" y="660"/>
                  </a:cubicBezTo>
                  <a:cubicBezTo>
                    <a:pt x="733" y="656"/>
                    <a:pt x="736" y="657"/>
                    <a:pt x="738" y="658"/>
                  </a:cubicBezTo>
                  <a:close/>
                  <a:moveTo>
                    <a:pt x="732" y="669"/>
                  </a:moveTo>
                  <a:cubicBezTo>
                    <a:pt x="735" y="665"/>
                    <a:pt x="737" y="673"/>
                    <a:pt x="739" y="671"/>
                  </a:cubicBezTo>
                  <a:cubicBezTo>
                    <a:pt x="740" y="674"/>
                    <a:pt x="734" y="674"/>
                    <a:pt x="732" y="669"/>
                  </a:cubicBezTo>
                  <a:close/>
                  <a:moveTo>
                    <a:pt x="739" y="649"/>
                  </a:moveTo>
                  <a:cubicBezTo>
                    <a:pt x="736" y="648"/>
                    <a:pt x="738" y="647"/>
                    <a:pt x="736" y="644"/>
                  </a:cubicBezTo>
                  <a:cubicBezTo>
                    <a:pt x="738" y="641"/>
                    <a:pt x="739" y="646"/>
                    <a:pt x="741" y="645"/>
                  </a:cubicBezTo>
                  <a:cubicBezTo>
                    <a:pt x="742" y="647"/>
                    <a:pt x="740" y="648"/>
                    <a:pt x="739" y="649"/>
                  </a:cubicBezTo>
                  <a:close/>
                  <a:moveTo>
                    <a:pt x="744" y="643"/>
                  </a:moveTo>
                  <a:cubicBezTo>
                    <a:pt x="742" y="640"/>
                    <a:pt x="746" y="639"/>
                    <a:pt x="748" y="638"/>
                  </a:cubicBezTo>
                  <a:cubicBezTo>
                    <a:pt x="749" y="643"/>
                    <a:pt x="745" y="643"/>
                    <a:pt x="744" y="643"/>
                  </a:cubicBezTo>
                  <a:close/>
                  <a:moveTo>
                    <a:pt x="664" y="691"/>
                  </a:moveTo>
                  <a:cubicBezTo>
                    <a:pt x="661" y="686"/>
                    <a:pt x="667" y="680"/>
                    <a:pt x="670" y="687"/>
                  </a:cubicBezTo>
                  <a:cubicBezTo>
                    <a:pt x="665" y="687"/>
                    <a:pt x="667" y="687"/>
                    <a:pt x="664" y="691"/>
                  </a:cubicBezTo>
                  <a:close/>
                  <a:moveTo>
                    <a:pt x="266" y="961"/>
                  </a:moveTo>
                  <a:cubicBezTo>
                    <a:pt x="266" y="961"/>
                    <a:pt x="266" y="960"/>
                    <a:pt x="267" y="960"/>
                  </a:cubicBezTo>
                  <a:cubicBezTo>
                    <a:pt x="267" y="961"/>
                    <a:pt x="267" y="961"/>
                    <a:pt x="267" y="961"/>
                  </a:cubicBezTo>
                  <a:cubicBezTo>
                    <a:pt x="267" y="961"/>
                    <a:pt x="266" y="961"/>
                    <a:pt x="266" y="961"/>
                  </a:cubicBezTo>
                  <a:close/>
                  <a:moveTo>
                    <a:pt x="213" y="1076"/>
                  </a:moveTo>
                  <a:cubicBezTo>
                    <a:pt x="210" y="1074"/>
                    <a:pt x="213" y="1073"/>
                    <a:pt x="211" y="1070"/>
                  </a:cubicBezTo>
                  <a:cubicBezTo>
                    <a:pt x="213" y="1071"/>
                    <a:pt x="216" y="1071"/>
                    <a:pt x="218" y="1075"/>
                  </a:cubicBezTo>
                  <a:cubicBezTo>
                    <a:pt x="216" y="1076"/>
                    <a:pt x="215" y="1075"/>
                    <a:pt x="213" y="1076"/>
                  </a:cubicBezTo>
                  <a:close/>
                  <a:moveTo>
                    <a:pt x="237" y="1077"/>
                  </a:moveTo>
                  <a:cubicBezTo>
                    <a:pt x="233" y="1080"/>
                    <a:pt x="231" y="1078"/>
                    <a:pt x="228" y="1078"/>
                  </a:cubicBezTo>
                  <a:cubicBezTo>
                    <a:pt x="221" y="1069"/>
                    <a:pt x="221" y="1069"/>
                    <a:pt x="218" y="1059"/>
                  </a:cubicBezTo>
                  <a:cubicBezTo>
                    <a:pt x="221" y="1056"/>
                    <a:pt x="227" y="1055"/>
                    <a:pt x="223" y="1050"/>
                  </a:cubicBezTo>
                  <a:cubicBezTo>
                    <a:pt x="225" y="1051"/>
                    <a:pt x="228" y="1049"/>
                    <a:pt x="230" y="1050"/>
                  </a:cubicBezTo>
                  <a:cubicBezTo>
                    <a:pt x="234" y="1054"/>
                    <a:pt x="229" y="1056"/>
                    <a:pt x="228" y="1060"/>
                  </a:cubicBezTo>
                  <a:cubicBezTo>
                    <a:pt x="233" y="1069"/>
                    <a:pt x="238" y="1069"/>
                    <a:pt x="237" y="1077"/>
                  </a:cubicBezTo>
                  <a:close/>
                  <a:moveTo>
                    <a:pt x="254" y="1006"/>
                  </a:moveTo>
                  <a:cubicBezTo>
                    <a:pt x="255" y="1003"/>
                    <a:pt x="263" y="994"/>
                    <a:pt x="267" y="1000"/>
                  </a:cubicBezTo>
                  <a:cubicBezTo>
                    <a:pt x="261" y="1001"/>
                    <a:pt x="258" y="1011"/>
                    <a:pt x="254" y="1006"/>
                  </a:cubicBezTo>
                  <a:close/>
                  <a:moveTo>
                    <a:pt x="306" y="1194"/>
                  </a:moveTo>
                  <a:cubicBezTo>
                    <a:pt x="306" y="1193"/>
                    <a:pt x="304" y="1190"/>
                    <a:pt x="307" y="1190"/>
                  </a:cubicBezTo>
                  <a:cubicBezTo>
                    <a:pt x="307" y="1191"/>
                    <a:pt x="307" y="1193"/>
                    <a:pt x="308" y="1193"/>
                  </a:cubicBezTo>
                  <a:cubicBezTo>
                    <a:pt x="307" y="1194"/>
                    <a:pt x="306" y="1194"/>
                    <a:pt x="306" y="1194"/>
                  </a:cubicBezTo>
                  <a:close/>
                  <a:moveTo>
                    <a:pt x="309" y="1193"/>
                  </a:moveTo>
                  <a:cubicBezTo>
                    <a:pt x="310" y="1190"/>
                    <a:pt x="313" y="1189"/>
                    <a:pt x="316" y="1188"/>
                  </a:cubicBezTo>
                  <a:cubicBezTo>
                    <a:pt x="316" y="1188"/>
                    <a:pt x="316" y="1188"/>
                    <a:pt x="316" y="1188"/>
                  </a:cubicBezTo>
                  <a:cubicBezTo>
                    <a:pt x="314" y="1191"/>
                    <a:pt x="312" y="1192"/>
                    <a:pt x="309" y="1193"/>
                  </a:cubicBezTo>
                  <a:close/>
                  <a:moveTo>
                    <a:pt x="331" y="986"/>
                  </a:moveTo>
                  <a:cubicBezTo>
                    <a:pt x="324" y="991"/>
                    <a:pt x="313" y="980"/>
                    <a:pt x="317" y="971"/>
                  </a:cubicBezTo>
                  <a:cubicBezTo>
                    <a:pt x="323" y="972"/>
                    <a:pt x="330" y="969"/>
                    <a:pt x="334" y="976"/>
                  </a:cubicBezTo>
                  <a:cubicBezTo>
                    <a:pt x="332" y="980"/>
                    <a:pt x="327" y="983"/>
                    <a:pt x="331" y="986"/>
                  </a:cubicBezTo>
                  <a:close/>
                  <a:moveTo>
                    <a:pt x="384" y="852"/>
                  </a:moveTo>
                  <a:cubicBezTo>
                    <a:pt x="384" y="852"/>
                    <a:pt x="385" y="852"/>
                    <a:pt x="385" y="852"/>
                  </a:cubicBezTo>
                  <a:cubicBezTo>
                    <a:pt x="385" y="852"/>
                    <a:pt x="384" y="852"/>
                    <a:pt x="384" y="852"/>
                  </a:cubicBezTo>
                  <a:cubicBezTo>
                    <a:pt x="384" y="852"/>
                    <a:pt x="384" y="852"/>
                    <a:pt x="384" y="852"/>
                  </a:cubicBezTo>
                  <a:close/>
                  <a:moveTo>
                    <a:pt x="396" y="862"/>
                  </a:moveTo>
                  <a:cubicBezTo>
                    <a:pt x="391" y="866"/>
                    <a:pt x="383" y="866"/>
                    <a:pt x="380" y="874"/>
                  </a:cubicBezTo>
                  <a:cubicBezTo>
                    <a:pt x="376" y="876"/>
                    <a:pt x="375" y="869"/>
                    <a:pt x="371" y="873"/>
                  </a:cubicBezTo>
                  <a:cubicBezTo>
                    <a:pt x="369" y="871"/>
                    <a:pt x="372" y="867"/>
                    <a:pt x="368" y="868"/>
                  </a:cubicBezTo>
                  <a:cubicBezTo>
                    <a:pt x="372" y="862"/>
                    <a:pt x="376" y="860"/>
                    <a:pt x="382" y="857"/>
                  </a:cubicBezTo>
                  <a:cubicBezTo>
                    <a:pt x="382" y="857"/>
                    <a:pt x="383" y="857"/>
                    <a:pt x="384" y="858"/>
                  </a:cubicBezTo>
                  <a:cubicBezTo>
                    <a:pt x="384" y="858"/>
                    <a:pt x="384" y="858"/>
                    <a:pt x="384" y="858"/>
                  </a:cubicBezTo>
                  <a:cubicBezTo>
                    <a:pt x="384" y="858"/>
                    <a:pt x="384" y="858"/>
                    <a:pt x="384" y="858"/>
                  </a:cubicBezTo>
                  <a:cubicBezTo>
                    <a:pt x="385" y="859"/>
                    <a:pt x="385" y="861"/>
                    <a:pt x="385" y="862"/>
                  </a:cubicBezTo>
                  <a:cubicBezTo>
                    <a:pt x="389" y="862"/>
                    <a:pt x="393" y="860"/>
                    <a:pt x="396" y="861"/>
                  </a:cubicBezTo>
                  <a:cubicBezTo>
                    <a:pt x="396" y="861"/>
                    <a:pt x="396" y="861"/>
                    <a:pt x="396" y="862"/>
                  </a:cubicBezTo>
                  <a:cubicBezTo>
                    <a:pt x="396" y="862"/>
                    <a:pt x="396" y="862"/>
                    <a:pt x="396" y="862"/>
                  </a:cubicBezTo>
                  <a:close/>
                  <a:moveTo>
                    <a:pt x="414" y="833"/>
                  </a:moveTo>
                  <a:cubicBezTo>
                    <a:pt x="414" y="833"/>
                    <a:pt x="414" y="832"/>
                    <a:pt x="414" y="832"/>
                  </a:cubicBezTo>
                  <a:cubicBezTo>
                    <a:pt x="415" y="832"/>
                    <a:pt x="416" y="831"/>
                    <a:pt x="417" y="833"/>
                  </a:cubicBezTo>
                  <a:cubicBezTo>
                    <a:pt x="416" y="833"/>
                    <a:pt x="415" y="833"/>
                    <a:pt x="414" y="833"/>
                  </a:cubicBezTo>
                  <a:close/>
                  <a:moveTo>
                    <a:pt x="354" y="1275"/>
                  </a:moveTo>
                  <a:cubicBezTo>
                    <a:pt x="354" y="1273"/>
                    <a:pt x="355" y="1271"/>
                    <a:pt x="357" y="1270"/>
                  </a:cubicBezTo>
                  <a:cubicBezTo>
                    <a:pt x="358" y="1272"/>
                    <a:pt x="359" y="1272"/>
                    <a:pt x="360" y="1271"/>
                  </a:cubicBezTo>
                  <a:cubicBezTo>
                    <a:pt x="361" y="1274"/>
                    <a:pt x="355" y="1275"/>
                    <a:pt x="354" y="1275"/>
                  </a:cubicBezTo>
                  <a:close/>
                  <a:moveTo>
                    <a:pt x="391" y="1442"/>
                  </a:moveTo>
                  <a:cubicBezTo>
                    <a:pt x="389" y="1444"/>
                    <a:pt x="389" y="1444"/>
                    <a:pt x="389" y="1444"/>
                  </a:cubicBezTo>
                  <a:cubicBezTo>
                    <a:pt x="387" y="1440"/>
                    <a:pt x="384" y="1440"/>
                    <a:pt x="388" y="1437"/>
                  </a:cubicBezTo>
                  <a:cubicBezTo>
                    <a:pt x="390" y="1441"/>
                    <a:pt x="392" y="1439"/>
                    <a:pt x="391" y="1442"/>
                  </a:cubicBezTo>
                  <a:close/>
                  <a:moveTo>
                    <a:pt x="420" y="833"/>
                  </a:moveTo>
                  <a:cubicBezTo>
                    <a:pt x="420" y="833"/>
                    <a:pt x="420" y="833"/>
                    <a:pt x="419" y="833"/>
                  </a:cubicBezTo>
                  <a:cubicBezTo>
                    <a:pt x="419" y="832"/>
                    <a:pt x="418" y="832"/>
                    <a:pt x="418" y="831"/>
                  </a:cubicBezTo>
                  <a:cubicBezTo>
                    <a:pt x="419" y="831"/>
                    <a:pt x="419" y="829"/>
                    <a:pt x="419" y="828"/>
                  </a:cubicBezTo>
                  <a:cubicBezTo>
                    <a:pt x="420" y="828"/>
                    <a:pt x="420" y="828"/>
                    <a:pt x="421" y="829"/>
                  </a:cubicBezTo>
                  <a:cubicBezTo>
                    <a:pt x="421" y="829"/>
                    <a:pt x="420" y="829"/>
                    <a:pt x="420" y="828"/>
                  </a:cubicBezTo>
                  <a:cubicBezTo>
                    <a:pt x="421" y="830"/>
                    <a:pt x="421" y="832"/>
                    <a:pt x="420" y="833"/>
                  </a:cubicBezTo>
                  <a:close/>
                  <a:moveTo>
                    <a:pt x="436" y="1438"/>
                  </a:moveTo>
                  <a:cubicBezTo>
                    <a:pt x="436" y="1434"/>
                    <a:pt x="440" y="1436"/>
                    <a:pt x="443" y="1435"/>
                  </a:cubicBezTo>
                  <a:cubicBezTo>
                    <a:pt x="446" y="1439"/>
                    <a:pt x="437" y="1442"/>
                    <a:pt x="436" y="1438"/>
                  </a:cubicBezTo>
                  <a:close/>
                  <a:moveTo>
                    <a:pt x="481" y="815"/>
                  </a:moveTo>
                  <a:cubicBezTo>
                    <a:pt x="481" y="815"/>
                    <a:pt x="481" y="815"/>
                    <a:pt x="480" y="814"/>
                  </a:cubicBezTo>
                  <a:cubicBezTo>
                    <a:pt x="481" y="815"/>
                    <a:pt x="481" y="815"/>
                    <a:pt x="481" y="815"/>
                  </a:cubicBezTo>
                  <a:cubicBezTo>
                    <a:pt x="481" y="815"/>
                    <a:pt x="481" y="815"/>
                    <a:pt x="481" y="815"/>
                  </a:cubicBezTo>
                  <a:close/>
                  <a:moveTo>
                    <a:pt x="481" y="806"/>
                  </a:moveTo>
                  <a:cubicBezTo>
                    <a:pt x="481" y="806"/>
                    <a:pt x="481" y="806"/>
                    <a:pt x="482" y="806"/>
                  </a:cubicBezTo>
                  <a:cubicBezTo>
                    <a:pt x="481" y="806"/>
                    <a:pt x="481" y="806"/>
                    <a:pt x="481" y="806"/>
                  </a:cubicBezTo>
                  <a:close/>
                  <a:moveTo>
                    <a:pt x="488" y="811"/>
                  </a:moveTo>
                  <a:cubicBezTo>
                    <a:pt x="487" y="811"/>
                    <a:pt x="487" y="811"/>
                    <a:pt x="486" y="809"/>
                  </a:cubicBezTo>
                  <a:cubicBezTo>
                    <a:pt x="486" y="810"/>
                    <a:pt x="485" y="811"/>
                    <a:pt x="484" y="812"/>
                  </a:cubicBezTo>
                  <a:cubicBezTo>
                    <a:pt x="483" y="810"/>
                    <a:pt x="483" y="810"/>
                    <a:pt x="483" y="808"/>
                  </a:cubicBezTo>
                  <a:cubicBezTo>
                    <a:pt x="482" y="808"/>
                    <a:pt x="482" y="808"/>
                    <a:pt x="482" y="808"/>
                  </a:cubicBezTo>
                  <a:cubicBezTo>
                    <a:pt x="483" y="807"/>
                    <a:pt x="484" y="807"/>
                    <a:pt x="485" y="807"/>
                  </a:cubicBezTo>
                  <a:cubicBezTo>
                    <a:pt x="485" y="808"/>
                    <a:pt x="486" y="808"/>
                    <a:pt x="486" y="809"/>
                  </a:cubicBezTo>
                  <a:cubicBezTo>
                    <a:pt x="489" y="806"/>
                    <a:pt x="492" y="805"/>
                    <a:pt x="495" y="805"/>
                  </a:cubicBezTo>
                  <a:cubicBezTo>
                    <a:pt x="495" y="805"/>
                    <a:pt x="496" y="805"/>
                    <a:pt x="496" y="806"/>
                  </a:cubicBezTo>
                  <a:cubicBezTo>
                    <a:pt x="493" y="808"/>
                    <a:pt x="491" y="810"/>
                    <a:pt x="488" y="811"/>
                  </a:cubicBezTo>
                  <a:close/>
                  <a:moveTo>
                    <a:pt x="500" y="806"/>
                  </a:moveTo>
                  <a:cubicBezTo>
                    <a:pt x="500" y="806"/>
                    <a:pt x="499" y="805"/>
                    <a:pt x="498" y="805"/>
                  </a:cubicBezTo>
                  <a:cubicBezTo>
                    <a:pt x="499" y="805"/>
                    <a:pt x="501" y="805"/>
                    <a:pt x="503" y="805"/>
                  </a:cubicBezTo>
                  <a:cubicBezTo>
                    <a:pt x="502" y="805"/>
                    <a:pt x="501" y="806"/>
                    <a:pt x="500" y="806"/>
                  </a:cubicBezTo>
                  <a:close/>
                  <a:moveTo>
                    <a:pt x="501" y="801"/>
                  </a:moveTo>
                  <a:cubicBezTo>
                    <a:pt x="500" y="797"/>
                    <a:pt x="506" y="796"/>
                    <a:pt x="507" y="793"/>
                  </a:cubicBezTo>
                  <a:cubicBezTo>
                    <a:pt x="511" y="800"/>
                    <a:pt x="505" y="798"/>
                    <a:pt x="501" y="801"/>
                  </a:cubicBezTo>
                  <a:close/>
                  <a:moveTo>
                    <a:pt x="518" y="788"/>
                  </a:moveTo>
                  <a:cubicBezTo>
                    <a:pt x="520" y="792"/>
                    <a:pt x="516" y="795"/>
                    <a:pt x="513" y="789"/>
                  </a:cubicBezTo>
                  <a:cubicBezTo>
                    <a:pt x="516" y="790"/>
                    <a:pt x="516" y="787"/>
                    <a:pt x="518" y="788"/>
                  </a:cubicBezTo>
                  <a:close/>
                  <a:moveTo>
                    <a:pt x="519" y="1376"/>
                  </a:moveTo>
                  <a:cubicBezTo>
                    <a:pt x="518" y="1374"/>
                    <a:pt x="516" y="1374"/>
                    <a:pt x="515" y="1372"/>
                  </a:cubicBezTo>
                  <a:cubicBezTo>
                    <a:pt x="518" y="1370"/>
                    <a:pt x="520" y="1369"/>
                    <a:pt x="522" y="1370"/>
                  </a:cubicBezTo>
                  <a:cubicBezTo>
                    <a:pt x="524" y="1373"/>
                    <a:pt x="522" y="1374"/>
                    <a:pt x="519" y="1376"/>
                  </a:cubicBezTo>
                  <a:close/>
                  <a:moveTo>
                    <a:pt x="527" y="798"/>
                  </a:moveTo>
                  <a:cubicBezTo>
                    <a:pt x="526" y="797"/>
                    <a:pt x="524" y="797"/>
                    <a:pt x="522" y="796"/>
                  </a:cubicBezTo>
                  <a:cubicBezTo>
                    <a:pt x="523" y="796"/>
                    <a:pt x="524" y="795"/>
                    <a:pt x="525" y="795"/>
                  </a:cubicBezTo>
                  <a:cubicBezTo>
                    <a:pt x="524" y="795"/>
                    <a:pt x="524" y="795"/>
                    <a:pt x="524" y="795"/>
                  </a:cubicBezTo>
                  <a:cubicBezTo>
                    <a:pt x="525" y="796"/>
                    <a:pt x="525" y="796"/>
                    <a:pt x="526" y="796"/>
                  </a:cubicBezTo>
                  <a:cubicBezTo>
                    <a:pt x="526" y="796"/>
                    <a:pt x="526" y="796"/>
                    <a:pt x="526" y="796"/>
                  </a:cubicBezTo>
                  <a:cubicBezTo>
                    <a:pt x="526" y="797"/>
                    <a:pt x="528" y="798"/>
                    <a:pt x="527" y="796"/>
                  </a:cubicBezTo>
                  <a:cubicBezTo>
                    <a:pt x="526" y="795"/>
                    <a:pt x="526" y="795"/>
                    <a:pt x="526" y="795"/>
                  </a:cubicBezTo>
                  <a:cubicBezTo>
                    <a:pt x="527" y="794"/>
                    <a:pt x="527" y="793"/>
                    <a:pt x="529" y="794"/>
                  </a:cubicBezTo>
                  <a:cubicBezTo>
                    <a:pt x="530" y="796"/>
                    <a:pt x="527" y="797"/>
                    <a:pt x="527" y="798"/>
                  </a:cubicBezTo>
                  <a:close/>
                  <a:moveTo>
                    <a:pt x="526" y="794"/>
                  </a:moveTo>
                  <a:cubicBezTo>
                    <a:pt x="524" y="792"/>
                    <a:pt x="524" y="792"/>
                    <a:pt x="524" y="792"/>
                  </a:cubicBezTo>
                  <a:cubicBezTo>
                    <a:pt x="524" y="794"/>
                    <a:pt x="521" y="793"/>
                    <a:pt x="521" y="796"/>
                  </a:cubicBezTo>
                  <a:cubicBezTo>
                    <a:pt x="521" y="795"/>
                    <a:pt x="520" y="794"/>
                    <a:pt x="520" y="793"/>
                  </a:cubicBezTo>
                  <a:cubicBezTo>
                    <a:pt x="518" y="796"/>
                    <a:pt x="517" y="797"/>
                    <a:pt x="514" y="799"/>
                  </a:cubicBezTo>
                  <a:cubicBezTo>
                    <a:pt x="510" y="792"/>
                    <a:pt x="521" y="791"/>
                    <a:pt x="524" y="792"/>
                  </a:cubicBezTo>
                  <a:cubicBezTo>
                    <a:pt x="528" y="791"/>
                    <a:pt x="525" y="788"/>
                    <a:pt x="528" y="787"/>
                  </a:cubicBezTo>
                  <a:cubicBezTo>
                    <a:pt x="530" y="790"/>
                    <a:pt x="532" y="790"/>
                    <a:pt x="533" y="790"/>
                  </a:cubicBezTo>
                  <a:cubicBezTo>
                    <a:pt x="531" y="791"/>
                    <a:pt x="528" y="793"/>
                    <a:pt x="526" y="794"/>
                  </a:cubicBezTo>
                  <a:close/>
                  <a:moveTo>
                    <a:pt x="534" y="789"/>
                  </a:moveTo>
                  <a:cubicBezTo>
                    <a:pt x="535" y="789"/>
                    <a:pt x="535" y="789"/>
                    <a:pt x="535" y="788"/>
                  </a:cubicBezTo>
                  <a:cubicBezTo>
                    <a:pt x="533" y="782"/>
                    <a:pt x="530" y="789"/>
                    <a:pt x="528" y="785"/>
                  </a:cubicBezTo>
                  <a:cubicBezTo>
                    <a:pt x="530" y="783"/>
                    <a:pt x="534" y="787"/>
                    <a:pt x="535" y="782"/>
                  </a:cubicBezTo>
                  <a:cubicBezTo>
                    <a:pt x="535" y="785"/>
                    <a:pt x="537" y="786"/>
                    <a:pt x="538" y="787"/>
                  </a:cubicBezTo>
                  <a:cubicBezTo>
                    <a:pt x="537" y="788"/>
                    <a:pt x="536" y="789"/>
                    <a:pt x="534" y="789"/>
                  </a:cubicBezTo>
                  <a:close/>
                  <a:moveTo>
                    <a:pt x="540" y="786"/>
                  </a:moveTo>
                  <a:cubicBezTo>
                    <a:pt x="542" y="784"/>
                    <a:pt x="544" y="783"/>
                    <a:pt x="546" y="782"/>
                  </a:cubicBezTo>
                  <a:cubicBezTo>
                    <a:pt x="544" y="783"/>
                    <a:pt x="542" y="785"/>
                    <a:pt x="540" y="786"/>
                  </a:cubicBezTo>
                  <a:close/>
                  <a:moveTo>
                    <a:pt x="573" y="778"/>
                  </a:moveTo>
                  <a:cubicBezTo>
                    <a:pt x="568" y="781"/>
                    <a:pt x="565" y="777"/>
                    <a:pt x="560" y="779"/>
                  </a:cubicBezTo>
                  <a:cubicBezTo>
                    <a:pt x="560" y="778"/>
                    <a:pt x="560" y="778"/>
                    <a:pt x="560" y="777"/>
                  </a:cubicBezTo>
                  <a:cubicBezTo>
                    <a:pt x="564" y="775"/>
                    <a:pt x="568" y="773"/>
                    <a:pt x="572" y="770"/>
                  </a:cubicBezTo>
                  <a:cubicBezTo>
                    <a:pt x="573" y="771"/>
                    <a:pt x="574" y="772"/>
                    <a:pt x="575" y="774"/>
                  </a:cubicBezTo>
                  <a:cubicBezTo>
                    <a:pt x="570" y="775"/>
                    <a:pt x="575" y="776"/>
                    <a:pt x="573" y="778"/>
                  </a:cubicBezTo>
                  <a:close/>
                  <a:moveTo>
                    <a:pt x="581" y="774"/>
                  </a:moveTo>
                  <a:cubicBezTo>
                    <a:pt x="580" y="772"/>
                    <a:pt x="579" y="772"/>
                    <a:pt x="578" y="772"/>
                  </a:cubicBezTo>
                  <a:cubicBezTo>
                    <a:pt x="578" y="772"/>
                    <a:pt x="577" y="772"/>
                    <a:pt x="577" y="772"/>
                  </a:cubicBezTo>
                  <a:cubicBezTo>
                    <a:pt x="577" y="772"/>
                    <a:pt x="577" y="772"/>
                    <a:pt x="578" y="772"/>
                  </a:cubicBezTo>
                  <a:cubicBezTo>
                    <a:pt x="577" y="772"/>
                    <a:pt x="577" y="773"/>
                    <a:pt x="576" y="773"/>
                  </a:cubicBezTo>
                  <a:cubicBezTo>
                    <a:pt x="577" y="771"/>
                    <a:pt x="576" y="770"/>
                    <a:pt x="574" y="769"/>
                  </a:cubicBezTo>
                  <a:cubicBezTo>
                    <a:pt x="577" y="767"/>
                    <a:pt x="580" y="765"/>
                    <a:pt x="583" y="762"/>
                  </a:cubicBezTo>
                  <a:cubicBezTo>
                    <a:pt x="583" y="762"/>
                    <a:pt x="583" y="763"/>
                    <a:pt x="583" y="763"/>
                  </a:cubicBezTo>
                  <a:cubicBezTo>
                    <a:pt x="582" y="764"/>
                    <a:pt x="581" y="766"/>
                    <a:pt x="582" y="767"/>
                  </a:cubicBezTo>
                  <a:cubicBezTo>
                    <a:pt x="584" y="767"/>
                    <a:pt x="584" y="762"/>
                    <a:pt x="587" y="765"/>
                  </a:cubicBezTo>
                  <a:cubicBezTo>
                    <a:pt x="584" y="767"/>
                    <a:pt x="582" y="770"/>
                    <a:pt x="581" y="774"/>
                  </a:cubicBezTo>
                  <a:close/>
                  <a:moveTo>
                    <a:pt x="588" y="764"/>
                  </a:moveTo>
                  <a:cubicBezTo>
                    <a:pt x="588" y="764"/>
                    <a:pt x="588" y="764"/>
                    <a:pt x="588" y="764"/>
                  </a:cubicBezTo>
                  <a:cubicBezTo>
                    <a:pt x="589" y="764"/>
                    <a:pt x="589" y="764"/>
                    <a:pt x="589" y="764"/>
                  </a:cubicBezTo>
                  <a:cubicBezTo>
                    <a:pt x="588" y="764"/>
                    <a:pt x="588" y="764"/>
                    <a:pt x="588" y="764"/>
                  </a:cubicBezTo>
                  <a:close/>
                  <a:moveTo>
                    <a:pt x="611" y="754"/>
                  </a:moveTo>
                  <a:cubicBezTo>
                    <a:pt x="612" y="754"/>
                    <a:pt x="612" y="755"/>
                    <a:pt x="612" y="755"/>
                  </a:cubicBezTo>
                  <a:cubicBezTo>
                    <a:pt x="606" y="760"/>
                    <a:pt x="603" y="761"/>
                    <a:pt x="597" y="765"/>
                  </a:cubicBezTo>
                  <a:cubicBezTo>
                    <a:pt x="597" y="765"/>
                    <a:pt x="597" y="764"/>
                    <a:pt x="597" y="764"/>
                  </a:cubicBezTo>
                  <a:cubicBezTo>
                    <a:pt x="597" y="764"/>
                    <a:pt x="597" y="764"/>
                    <a:pt x="597" y="764"/>
                  </a:cubicBezTo>
                  <a:cubicBezTo>
                    <a:pt x="596" y="763"/>
                    <a:pt x="596" y="762"/>
                    <a:pt x="596" y="761"/>
                  </a:cubicBezTo>
                  <a:cubicBezTo>
                    <a:pt x="594" y="764"/>
                    <a:pt x="592" y="765"/>
                    <a:pt x="589" y="764"/>
                  </a:cubicBezTo>
                  <a:cubicBezTo>
                    <a:pt x="590" y="759"/>
                    <a:pt x="597" y="763"/>
                    <a:pt x="598" y="755"/>
                  </a:cubicBezTo>
                  <a:cubicBezTo>
                    <a:pt x="598" y="756"/>
                    <a:pt x="597" y="754"/>
                    <a:pt x="599" y="754"/>
                  </a:cubicBezTo>
                  <a:cubicBezTo>
                    <a:pt x="601" y="757"/>
                    <a:pt x="598" y="757"/>
                    <a:pt x="600" y="759"/>
                  </a:cubicBezTo>
                  <a:cubicBezTo>
                    <a:pt x="601" y="758"/>
                    <a:pt x="605" y="758"/>
                    <a:pt x="603" y="755"/>
                  </a:cubicBezTo>
                  <a:cubicBezTo>
                    <a:pt x="602" y="756"/>
                    <a:pt x="602" y="756"/>
                    <a:pt x="601" y="754"/>
                  </a:cubicBezTo>
                  <a:cubicBezTo>
                    <a:pt x="606" y="751"/>
                    <a:pt x="611" y="752"/>
                    <a:pt x="616" y="752"/>
                  </a:cubicBezTo>
                  <a:cubicBezTo>
                    <a:pt x="615" y="755"/>
                    <a:pt x="614" y="755"/>
                    <a:pt x="611" y="754"/>
                  </a:cubicBezTo>
                  <a:close/>
                  <a:moveTo>
                    <a:pt x="624" y="753"/>
                  </a:moveTo>
                  <a:cubicBezTo>
                    <a:pt x="620" y="752"/>
                    <a:pt x="620" y="753"/>
                    <a:pt x="618" y="757"/>
                  </a:cubicBezTo>
                  <a:cubicBezTo>
                    <a:pt x="616" y="756"/>
                    <a:pt x="616" y="756"/>
                    <a:pt x="616" y="756"/>
                  </a:cubicBezTo>
                  <a:cubicBezTo>
                    <a:pt x="617" y="754"/>
                    <a:pt x="618" y="752"/>
                    <a:pt x="618" y="750"/>
                  </a:cubicBezTo>
                  <a:cubicBezTo>
                    <a:pt x="618" y="750"/>
                    <a:pt x="618" y="750"/>
                    <a:pt x="618" y="750"/>
                  </a:cubicBezTo>
                  <a:cubicBezTo>
                    <a:pt x="620" y="752"/>
                    <a:pt x="624" y="748"/>
                    <a:pt x="625" y="750"/>
                  </a:cubicBezTo>
                  <a:cubicBezTo>
                    <a:pt x="626" y="751"/>
                    <a:pt x="625" y="752"/>
                    <a:pt x="624" y="753"/>
                  </a:cubicBezTo>
                  <a:close/>
                  <a:moveTo>
                    <a:pt x="655" y="1453"/>
                  </a:moveTo>
                  <a:cubicBezTo>
                    <a:pt x="654" y="1449"/>
                    <a:pt x="660" y="1450"/>
                    <a:pt x="659" y="1448"/>
                  </a:cubicBezTo>
                  <a:cubicBezTo>
                    <a:pt x="660" y="1448"/>
                    <a:pt x="660" y="1448"/>
                    <a:pt x="660" y="1448"/>
                  </a:cubicBezTo>
                  <a:cubicBezTo>
                    <a:pt x="658" y="1449"/>
                    <a:pt x="657" y="1451"/>
                    <a:pt x="655" y="1453"/>
                  </a:cubicBezTo>
                  <a:close/>
                  <a:moveTo>
                    <a:pt x="671" y="1489"/>
                  </a:moveTo>
                  <a:cubicBezTo>
                    <a:pt x="672" y="1489"/>
                    <a:pt x="673" y="1488"/>
                    <a:pt x="674" y="1488"/>
                  </a:cubicBezTo>
                  <a:cubicBezTo>
                    <a:pt x="674" y="1489"/>
                    <a:pt x="674" y="1490"/>
                    <a:pt x="675" y="1490"/>
                  </a:cubicBezTo>
                  <a:cubicBezTo>
                    <a:pt x="675" y="1490"/>
                    <a:pt x="675" y="1490"/>
                    <a:pt x="675" y="1490"/>
                  </a:cubicBezTo>
                  <a:cubicBezTo>
                    <a:pt x="669" y="1493"/>
                    <a:pt x="662" y="1496"/>
                    <a:pt x="656" y="1498"/>
                  </a:cubicBezTo>
                  <a:cubicBezTo>
                    <a:pt x="658" y="1491"/>
                    <a:pt x="670" y="1485"/>
                    <a:pt x="675" y="1484"/>
                  </a:cubicBezTo>
                  <a:cubicBezTo>
                    <a:pt x="676" y="1486"/>
                    <a:pt x="666" y="1489"/>
                    <a:pt x="671" y="1489"/>
                  </a:cubicBezTo>
                  <a:close/>
                  <a:moveTo>
                    <a:pt x="733" y="1543"/>
                  </a:moveTo>
                  <a:cubicBezTo>
                    <a:pt x="731" y="1538"/>
                    <a:pt x="727" y="1541"/>
                    <a:pt x="723" y="1540"/>
                  </a:cubicBezTo>
                  <a:cubicBezTo>
                    <a:pt x="728" y="1537"/>
                    <a:pt x="732" y="1535"/>
                    <a:pt x="737" y="1532"/>
                  </a:cubicBezTo>
                  <a:cubicBezTo>
                    <a:pt x="738" y="1536"/>
                    <a:pt x="736" y="1540"/>
                    <a:pt x="733" y="1543"/>
                  </a:cubicBezTo>
                  <a:close/>
                  <a:moveTo>
                    <a:pt x="747" y="1443"/>
                  </a:moveTo>
                  <a:cubicBezTo>
                    <a:pt x="749" y="1442"/>
                    <a:pt x="752" y="1441"/>
                    <a:pt x="754" y="1440"/>
                  </a:cubicBezTo>
                  <a:cubicBezTo>
                    <a:pt x="752" y="1441"/>
                    <a:pt x="749" y="1442"/>
                    <a:pt x="747" y="1443"/>
                  </a:cubicBezTo>
                  <a:close/>
                  <a:moveTo>
                    <a:pt x="762" y="1439"/>
                  </a:moveTo>
                  <a:cubicBezTo>
                    <a:pt x="761" y="1437"/>
                    <a:pt x="759" y="1439"/>
                    <a:pt x="758" y="1438"/>
                  </a:cubicBezTo>
                  <a:cubicBezTo>
                    <a:pt x="761" y="1437"/>
                    <a:pt x="764" y="1435"/>
                    <a:pt x="767" y="1434"/>
                  </a:cubicBezTo>
                  <a:cubicBezTo>
                    <a:pt x="765" y="1435"/>
                    <a:pt x="764" y="1437"/>
                    <a:pt x="762" y="1439"/>
                  </a:cubicBezTo>
                  <a:close/>
                  <a:moveTo>
                    <a:pt x="771" y="663"/>
                  </a:moveTo>
                  <a:cubicBezTo>
                    <a:pt x="775" y="666"/>
                    <a:pt x="778" y="665"/>
                    <a:pt x="779" y="661"/>
                  </a:cubicBezTo>
                  <a:cubicBezTo>
                    <a:pt x="781" y="668"/>
                    <a:pt x="775" y="666"/>
                    <a:pt x="773" y="671"/>
                  </a:cubicBezTo>
                  <a:cubicBezTo>
                    <a:pt x="772" y="670"/>
                    <a:pt x="770" y="669"/>
                    <a:pt x="769" y="666"/>
                  </a:cubicBezTo>
                  <a:cubicBezTo>
                    <a:pt x="770" y="665"/>
                    <a:pt x="769" y="664"/>
                    <a:pt x="771" y="663"/>
                  </a:cubicBezTo>
                  <a:close/>
                  <a:moveTo>
                    <a:pt x="767" y="668"/>
                  </a:moveTo>
                  <a:cubicBezTo>
                    <a:pt x="767" y="670"/>
                    <a:pt x="769" y="673"/>
                    <a:pt x="766" y="674"/>
                  </a:cubicBezTo>
                  <a:cubicBezTo>
                    <a:pt x="766" y="671"/>
                    <a:pt x="765" y="670"/>
                    <a:pt x="763" y="671"/>
                  </a:cubicBezTo>
                  <a:cubicBezTo>
                    <a:pt x="762" y="668"/>
                    <a:pt x="766" y="668"/>
                    <a:pt x="767" y="668"/>
                  </a:cubicBezTo>
                  <a:close/>
                  <a:moveTo>
                    <a:pt x="707" y="705"/>
                  </a:moveTo>
                  <a:cubicBezTo>
                    <a:pt x="707" y="705"/>
                    <a:pt x="707" y="705"/>
                    <a:pt x="707" y="706"/>
                  </a:cubicBezTo>
                  <a:cubicBezTo>
                    <a:pt x="707" y="706"/>
                    <a:pt x="706" y="706"/>
                    <a:pt x="705" y="707"/>
                  </a:cubicBezTo>
                  <a:cubicBezTo>
                    <a:pt x="704" y="706"/>
                    <a:pt x="704" y="705"/>
                    <a:pt x="703" y="705"/>
                  </a:cubicBezTo>
                  <a:cubicBezTo>
                    <a:pt x="704" y="704"/>
                    <a:pt x="704" y="704"/>
                    <a:pt x="705" y="704"/>
                  </a:cubicBezTo>
                  <a:cubicBezTo>
                    <a:pt x="706" y="704"/>
                    <a:pt x="706" y="705"/>
                    <a:pt x="707" y="705"/>
                  </a:cubicBezTo>
                  <a:close/>
                  <a:moveTo>
                    <a:pt x="703" y="701"/>
                  </a:moveTo>
                  <a:cubicBezTo>
                    <a:pt x="703" y="702"/>
                    <a:pt x="704" y="702"/>
                    <a:pt x="704" y="703"/>
                  </a:cubicBezTo>
                  <a:cubicBezTo>
                    <a:pt x="704" y="703"/>
                    <a:pt x="703" y="703"/>
                    <a:pt x="702" y="704"/>
                  </a:cubicBezTo>
                  <a:cubicBezTo>
                    <a:pt x="702" y="704"/>
                    <a:pt x="702" y="704"/>
                    <a:pt x="702" y="703"/>
                  </a:cubicBezTo>
                  <a:cubicBezTo>
                    <a:pt x="703" y="703"/>
                    <a:pt x="702" y="702"/>
                    <a:pt x="703" y="701"/>
                  </a:cubicBezTo>
                  <a:close/>
                  <a:moveTo>
                    <a:pt x="703" y="708"/>
                  </a:moveTo>
                  <a:cubicBezTo>
                    <a:pt x="702" y="708"/>
                    <a:pt x="702" y="708"/>
                    <a:pt x="702" y="708"/>
                  </a:cubicBezTo>
                  <a:cubicBezTo>
                    <a:pt x="702" y="708"/>
                    <a:pt x="702" y="708"/>
                    <a:pt x="703" y="708"/>
                  </a:cubicBezTo>
                  <a:close/>
                  <a:moveTo>
                    <a:pt x="701" y="709"/>
                  </a:moveTo>
                  <a:cubicBezTo>
                    <a:pt x="700" y="709"/>
                    <a:pt x="698" y="709"/>
                    <a:pt x="697" y="708"/>
                  </a:cubicBezTo>
                  <a:cubicBezTo>
                    <a:pt x="698" y="707"/>
                    <a:pt x="698" y="706"/>
                    <a:pt x="697" y="705"/>
                  </a:cubicBezTo>
                  <a:cubicBezTo>
                    <a:pt x="699" y="706"/>
                    <a:pt x="700" y="707"/>
                    <a:pt x="701" y="709"/>
                  </a:cubicBezTo>
                  <a:close/>
                  <a:moveTo>
                    <a:pt x="695" y="708"/>
                  </a:moveTo>
                  <a:cubicBezTo>
                    <a:pt x="695" y="709"/>
                    <a:pt x="694" y="711"/>
                    <a:pt x="694" y="711"/>
                  </a:cubicBezTo>
                  <a:cubicBezTo>
                    <a:pt x="693" y="711"/>
                    <a:pt x="693" y="711"/>
                    <a:pt x="693" y="711"/>
                  </a:cubicBezTo>
                  <a:cubicBezTo>
                    <a:pt x="694" y="710"/>
                    <a:pt x="694" y="709"/>
                    <a:pt x="695" y="708"/>
                  </a:cubicBezTo>
                  <a:close/>
                  <a:moveTo>
                    <a:pt x="678" y="724"/>
                  </a:moveTo>
                  <a:cubicBezTo>
                    <a:pt x="679" y="727"/>
                    <a:pt x="675" y="731"/>
                    <a:pt x="673" y="730"/>
                  </a:cubicBezTo>
                  <a:cubicBezTo>
                    <a:pt x="673" y="728"/>
                    <a:pt x="675" y="726"/>
                    <a:pt x="678" y="724"/>
                  </a:cubicBezTo>
                  <a:close/>
                  <a:moveTo>
                    <a:pt x="672" y="731"/>
                  </a:moveTo>
                  <a:cubicBezTo>
                    <a:pt x="672" y="731"/>
                    <a:pt x="672" y="731"/>
                    <a:pt x="672" y="731"/>
                  </a:cubicBezTo>
                  <a:cubicBezTo>
                    <a:pt x="671" y="731"/>
                    <a:pt x="671" y="731"/>
                    <a:pt x="671" y="731"/>
                  </a:cubicBezTo>
                  <a:cubicBezTo>
                    <a:pt x="671" y="731"/>
                    <a:pt x="672" y="731"/>
                    <a:pt x="672" y="731"/>
                  </a:cubicBezTo>
                  <a:close/>
                  <a:moveTo>
                    <a:pt x="651" y="729"/>
                  </a:moveTo>
                  <a:cubicBezTo>
                    <a:pt x="652" y="729"/>
                    <a:pt x="652" y="729"/>
                    <a:pt x="652" y="729"/>
                  </a:cubicBezTo>
                  <a:cubicBezTo>
                    <a:pt x="651" y="729"/>
                    <a:pt x="651" y="730"/>
                    <a:pt x="650" y="730"/>
                  </a:cubicBezTo>
                  <a:cubicBezTo>
                    <a:pt x="651" y="730"/>
                    <a:pt x="651" y="729"/>
                    <a:pt x="651" y="729"/>
                  </a:cubicBezTo>
                  <a:close/>
                  <a:moveTo>
                    <a:pt x="651" y="743"/>
                  </a:moveTo>
                  <a:cubicBezTo>
                    <a:pt x="652" y="741"/>
                    <a:pt x="651" y="738"/>
                    <a:pt x="651" y="736"/>
                  </a:cubicBezTo>
                  <a:cubicBezTo>
                    <a:pt x="651" y="735"/>
                    <a:pt x="651" y="735"/>
                    <a:pt x="651" y="734"/>
                  </a:cubicBezTo>
                  <a:cubicBezTo>
                    <a:pt x="656" y="732"/>
                    <a:pt x="662" y="734"/>
                    <a:pt x="666" y="729"/>
                  </a:cubicBezTo>
                  <a:cubicBezTo>
                    <a:pt x="667" y="730"/>
                    <a:pt x="668" y="731"/>
                    <a:pt x="669" y="732"/>
                  </a:cubicBezTo>
                  <a:cubicBezTo>
                    <a:pt x="667" y="732"/>
                    <a:pt x="666" y="734"/>
                    <a:pt x="667" y="736"/>
                  </a:cubicBezTo>
                  <a:cubicBezTo>
                    <a:pt x="662" y="739"/>
                    <a:pt x="654" y="739"/>
                    <a:pt x="651" y="743"/>
                  </a:cubicBezTo>
                  <a:close/>
                  <a:moveTo>
                    <a:pt x="670" y="734"/>
                  </a:moveTo>
                  <a:cubicBezTo>
                    <a:pt x="669" y="734"/>
                    <a:pt x="668" y="735"/>
                    <a:pt x="668" y="736"/>
                  </a:cubicBezTo>
                  <a:cubicBezTo>
                    <a:pt x="668" y="734"/>
                    <a:pt x="669" y="734"/>
                    <a:pt x="670" y="734"/>
                  </a:cubicBezTo>
                  <a:close/>
                  <a:moveTo>
                    <a:pt x="688" y="765"/>
                  </a:moveTo>
                  <a:cubicBezTo>
                    <a:pt x="687" y="765"/>
                    <a:pt x="686" y="765"/>
                    <a:pt x="686" y="764"/>
                  </a:cubicBezTo>
                  <a:cubicBezTo>
                    <a:pt x="689" y="761"/>
                    <a:pt x="692" y="759"/>
                    <a:pt x="695" y="757"/>
                  </a:cubicBezTo>
                  <a:cubicBezTo>
                    <a:pt x="696" y="763"/>
                    <a:pt x="692" y="764"/>
                    <a:pt x="688" y="765"/>
                  </a:cubicBezTo>
                  <a:close/>
                  <a:moveTo>
                    <a:pt x="698" y="769"/>
                  </a:moveTo>
                  <a:cubicBezTo>
                    <a:pt x="697" y="769"/>
                    <a:pt x="697" y="768"/>
                    <a:pt x="697" y="768"/>
                  </a:cubicBezTo>
                  <a:cubicBezTo>
                    <a:pt x="697" y="767"/>
                    <a:pt x="698" y="766"/>
                    <a:pt x="697" y="764"/>
                  </a:cubicBezTo>
                  <a:cubicBezTo>
                    <a:pt x="697" y="764"/>
                    <a:pt x="697" y="764"/>
                    <a:pt x="697" y="764"/>
                  </a:cubicBezTo>
                  <a:cubicBezTo>
                    <a:pt x="697" y="764"/>
                    <a:pt x="697" y="763"/>
                    <a:pt x="696" y="762"/>
                  </a:cubicBezTo>
                  <a:cubicBezTo>
                    <a:pt x="698" y="762"/>
                    <a:pt x="701" y="769"/>
                    <a:pt x="698" y="769"/>
                  </a:cubicBezTo>
                  <a:close/>
                  <a:moveTo>
                    <a:pt x="700" y="767"/>
                  </a:moveTo>
                  <a:cubicBezTo>
                    <a:pt x="699" y="763"/>
                    <a:pt x="697" y="760"/>
                    <a:pt x="699" y="759"/>
                  </a:cubicBezTo>
                  <a:cubicBezTo>
                    <a:pt x="701" y="761"/>
                    <a:pt x="701" y="762"/>
                    <a:pt x="699" y="763"/>
                  </a:cubicBezTo>
                  <a:cubicBezTo>
                    <a:pt x="701" y="762"/>
                    <a:pt x="702" y="761"/>
                    <a:pt x="703" y="760"/>
                  </a:cubicBezTo>
                  <a:cubicBezTo>
                    <a:pt x="704" y="761"/>
                    <a:pt x="700" y="766"/>
                    <a:pt x="705" y="763"/>
                  </a:cubicBezTo>
                  <a:cubicBezTo>
                    <a:pt x="705" y="760"/>
                    <a:pt x="706" y="758"/>
                    <a:pt x="707" y="757"/>
                  </a:cubicBezTo>
                  <a:cubicBezTo>
                    <a:pt x="708" y="758"/>
                    <a:pt x="709" y="758"/>
                    <a:pt x="710" y="760"/>
                  </a:cubicBezTo>
                  <a:cubicBezTo>
                    <a:pt x="705" y="760"/>
                    <a:pt x="705" y="767"/>
                    <a:pt x="700" y="767"/>
                  </a:cubicBezTo>
                  <a:close/>
                  <a:moveTo>
                    <a:pt x="704" y="758"/>
                  </a:moveTo>
                  <a:cubicBezTo>
                    <a:pt x="704" y="758"/>
                    <a:pt x="704" y="757"/>
                    <a:pt x="705" y="757"/>
                  </a:cubicBezTo>
                  <a:cubicBezTo>
                    <a:pt x="705" y="757"/>
                    <a:pt x="705" y="757"/>
                    <a:pt x="705" y="757"/>
                  </a:cubicBezTo>
                  <a:cubicBezTo>
                    <a:pt x="705" y="758"/>
                    <a:pt x="705" y="758"/>
                    <a:pt x="704" y="758"/>
                  </a:cubicBezTo>
                  <a:close/>
                  <a:moveTo>
                    <a:pt x="721" y="735"/>
                  </a:moveTo>
                  <a:cubicBezTo>
                    <a:pt x="720" y="735"/>
                    <a:pt x="720" y="734"/>
                    <a:pt x="719" y="734"/>
                  </a:cubicBezTo>
                  <a:cubicBezTo>
                    <a:pt x="719" y="733"/>
                    <a:pt x="720" y="732"/>
                    <a:pt x="720" y="732"/>
                  </a:cubicBezTo>
                  <a:cubicBezTo>
                    <a:pt x="720" y="732"/>
                    <a:pt x="721" y="733"/>
                    <a:pt x="722" y="734"/>
                  </a:cubicBezTo>
                  <a:cubicBezTo>
                    <a:pt x="721" y="734"/>
                    <a:pt x="721" y="734"/>
                    <a:pt x="721" y="735"/>
                  </a:cubicBezTo>
                  <a:close/>
                  <a:moveTo>
                    <a:pt x="763" y="1277"/>
                  </a:moveTo>
                  <a:cubicBezTo>
                    <a:pt x="763" y="1278"/>
                    <a:pt x="763" y="1280"/>
                    <a:pt x="764" y="1282"/>
                  </a:cubicBezTo>
                  <a:cubicBezTo>
                    <a:pt x="754" y="1289"/>
                    <a:pt x="744" y="1296"/>
                    <a:pt x="734" y="1303"/>
                  </a:cubicBezTo>
                  <a:cubicBezTo>
                    <a:pt x="733" y="1302"/>
                    <a:pt x="732" y="1301"/>
                    <a:pt x="731" y="1300"/>
                  </a:cubicBezTo>
                  <a:cubicBezTo>
                    <a:pt x="735" y="1301"/>
                    <a:pt x="736" y="1295"/>
                    <a:pt x="740" y="1297"/>
                  </a:cubicBezTo>
                  <a:cubicBezTo>
                    <a:pt x="741" y="1295"/>
                    <a:pt x="741" y="1293"/>
                    <a:pt x="740" y="1291"/>
                  </a:cubicBezTo>
                  <a:cubicBezTo>
                    <a:pt x="749" y="1288"/>
                    <a:pt x="754" y="1286"/>
                    <a:pt x="763" y="1280"/>
                  </a:cubicBezTo>
                  <a:cubicBezTo>
                    <a:pt x="759" y="1280"/>
                    <a:pt x="755" y="1287"/>
                    <a:pt x="751" y="1282"/>
                  </a:cubicBezTo>
                  <a:cubicBezTo>
                    <a:pt x="749" y="1285"/>
                    <a:pt x="749" y="1287"/>
                    <a:pt x="745" y="1288"/>
                  </a:cubicBezTo>
                  <a:cubicBezTo>
                    <a:pt x="743" y="1286"/>
                    <a:pt x="740" y="1286"/>
                    <a:pt x="741" y="1283"/>
                  </a:cubicBezTo>
                  <a:cubicBezTo>
                    <a:pt x="743" y="1282"/>
                    <a:pt x="744" y="1286"/>
                    <a:pt x="745" y="1285"/>
                  </a:cubicBezTo>
                  <a:cubicBezTo>
                    <a:pt x="748" y="1284"/>
                    <a:pt x="746" y="1281"/>
                    <a:pt x="744" y="1282"/>
                  </a:cubicBezTo>
                  <a:cubicBezTo>
                    <a:pt x="752" y="1275"/>
                    <a:pt x="757" y="1272"/>
                    <a:pt x="766" y="1269"/>
                  </a:cubicBezTo>
                  <a:cubicBezTo>
                    <a:pt x="765" y="1271"/>
                    <a:pt x="764" y="1273"/>
                    <a:pt x="764" y="1275"/>
                  </a:cubicBezTo>
                  <a:cubicBezTo>
                    <a:pt x="763" y="1275"/>
                    <a:pt x="763" y="1275"/>
                    <a:pt x="762" y="1275"/>
                  </a:cubicBezTo>
                  <a:cubicBezTo>
                    <a:pt x="763" y="1276"/>
                    <a:pt x="763" y="1276"/>
                    <a:pt x="763" y="1277"/>
                  </a:cubicBezTo>
                  <a:close/>
                  <a:moveTo>
                    <a:pt x="759" y="702"/>
                  </a:moveTo>
                  <a:cubicBezTo>
                    <a:pt x="764" y="700"/>
                    <a:pt x="764" y="700"/>
                    <a:pt x="764" y="700"/>
                  </a:cubicBezTo>
                  <a:cubicBezTo>
                    <a:pt x="765" y="703"/>
                    <a:pt x="764" y="705"/>
                    <a:pt x="762" y="707"/>
                  </a:cubicBezTo>
                  <a:lnTo>
                    <a:pt x="759" y="702"/>
                  </a:lnTo>
                  <a:close/>
                  <a:moveTo>
                    <a:pt x="765" y="700"/>
                  </a:moveTo>
                  <a:cubicBezTo>
                    <a:pt x="768" y="701"/>
                    <a:pt x="772" y="698"/>
                    <a:pt x="775" y="705"/>
                  </a:cubicBezTo>
                  <a:cubicBezTo>
                    <a:pt x="770" y="701"/>
                    <a:pt x="769" y="708"/>
                    <a:pt x="765" y="700"/>
                  </a:cubicBezTo>
                  <a:close/>
                  <a:moveTo>
                    <a:pt x="779" y="699"/>
                  </a:moveTo>
                  <a:cubicBezTo>
                    <a:pt x="777" y="696"/>
                    <a:pt x="776" y="694"/>
                    <a:pt x="779" y="693"/>
                  </a:cubicBezTo>
                  <a:cubicBezTo>
                    <a:pt x="780" y="696"/>
                    <a:pt x="781" y="698"/>
                    <a:pt x="779" y="699"/>
                  </a:cubicBezTo>
                  <a:close/>
                  <a:moveTo>
                    <a:pt x="769" y="681"/>
                  </a:moveTo>
                  <a:cubicBezTo>
                    <a:pt x="770" y="682"/>
                    <a:pt x="770" y="683"/>
                    <a:pt x="769" y="684"/>
                  </a:cubicBezTo>
                  <a:cubicBezTo>
                    <a:pt x="770" y="689"/>
                    <a:pt x="775" y="688"/>
                    <a:pt x="774" y="691"/>
                  </a:cubicBezTo>
                  <a:cubicBezTo>
                    <a:pt x="772" y="690"/>
                    <a:pt x="772" y="690"/>
                    <a:pt x="772" y="693"/>
                  </a:cubicBezTo>
                  <a:cubicBezTo>
                    <a:pt x="770" y="690"/>
                    <a:pt x="767" y="690"/>
                    <a:pt x="764" y="692"/>
                  </a:cubicBezTo>
                  <a:cubicBezTo>
                    <a:pt x="767" y="698"/>
                    <a:pt x="766" y="690"/>
                    <a:pt x="769" y="693"/>
                  </a:cubicBezTo>
                  <a:cubicBezTo>
                    <a:pt x="765" y="703"/>
                    <a:pt x="758" y="697"/>
                    <a:pt x="752" y="704"/>
                  </a:cubicBezTo>
                  <a:cubicBezTo>
                    <a:pt x="754" y="710"/>
                    <a:pt x="749" y="709"/>
                    <a:pt x="753" y="714"/>
                  </a:cubicBezTo>
                  <a:cubicBezTo>
                    <a:pt x="750" y="710"/>
                    <a:pt x="746" y="709"/>
                    <a:pt x="748" y="705"/>
                  </a:cubicBezTo>
                  <a:cubicBezTo>
                    <a:pt x="745" y="706"/>
                    <a:pt x="744" y="711"/>
                    <a:pt x="747" y="712"/>
                  </a:cubicBezTo>
                  <a:cubicBezTo>
                    <a:pt x="747" y="710"/>
                    <a:pt x="747" y="716"/>
                    <a:pt x="751" y="714"/>
                  </a:cubicBezTo>
                  <a:cubicBezTo>
                    <a:pt x="751" y="716"/>
                    <a:pt x="750" y="718"/>
                    <a:pt x="748" y="720"/>
                  </a:cubicBezTo>
                  <a:cubicBezTo>
                    <a:pt x="746" y="719"/>
                    <a:pt x="748" y="718"/>
                    <a:pt x="745" y="714"/>
                  </a:cubicBezTo>
                  <a:cubicBezTo>
                    <a:pt x="742" y="716"/>
                    <a:pt x="743" y="715"/>
                    <a:pt x="740" y="718"/>
                  </a:cubicBezTo>
                  <a:cubicBezTo>
                    <a:pt x="739" y="720"/>
                    <a:pt x="744" y="721"/>
                    <a:pt x="743" y="724"/>
                  </a:cubicBezTo>
                  <a:cubicBezTo>
                    <a:pt x="740" y="722"/>
                    <a:pt x="737" y="721"/>
                    <a:pt x="734" y="721"/>
                  </a:cubicBezTo>
                  <a:cubicBezTo>
                    <a:pt x="734" y="723"/>
                    <a:pt x="734" y="724"/>
                    <a:pt x="734" y="725"/>
                  </a:cubicBezTo>
                  <a:cubicBezTo>
                    <a:pt x="734" y="725"/>
                    <a:pt x="733" y="725"/>
                    <a:pt x="733" y="725"/>
                  </a:cubicBezTo>
                  <a:cubicBezTo>
                    <a:pt x="730" y="727"/>
                    <a:pt x="727" y="729"/>
                    <a:pt x="725" y="731"/>
                  </a:cubicBezTo>
                  <a:cubicBezTo>
                    <a:pt x="723" y="731"/>
                    <a:pt x="722" y="732"/>
                    <a:pt x="721" y="733"/>
                  </a:cubicBezTo>
                  <a:cubicBezTo>
                    <a:pt x="720" y="730"/>
                    <a:pt x="715" y="726"/>
                    <a:pt x="716" y="730"/>
                  </a:cubicBezTo>
                  <a:cubicBezTo>
                    <a:pt x="717" y="730"/>
                    <a:pt x="718" y="730"/>
                    <a:pt x="718" y="731"/>
                  </a:cubicBezTo>
                  <a:cubicBezTo>
                    <a:pt x="718" y="731"/>
                    <a:pt x="718" y="731"/>
                    <a:pt x="718" y="731"/>
                  </a:cubicBezTo>
                  <a:cubicBezTo>
                    <a:pt x="717" y="733"/>
                    <a:pt x="715" y="734"/>
                    <a:pt x="714" y="735"/>
                  </a:cubicBezTo>
                  <a:cubicBezTo>
                    <a:pt x="713" y="735"/>
                    <a:pt x="712" y="736"/>
                    <a:pt x="712" y="736"/>
                  </a:cubicBezTo>
                  <a:cubicBezTo>
                    <a:pt x="711" y="737"/>
                    <a:pt x="711" y="737"/>
                    <a:pt x="710" y="737"/>
                  </a:cubicBezTo>
                  <a:cubicBezTo>
                    <a:pt x="710" y="737"/>
                    <a:pt x="709" y="737"/>
                    <a:pt x="708" y="736"/>
                  </a:cubicBezTo>
                  <a:cubicBezTo>
                    <a:pt x="708" y="737"/>
                    <a:pt x="709" y="737"/>
                    <a:pt x="709" y="738"/>
                  </a:cubicBezTo>
                  <a:cubicBezTo>
                    <a:pt x="708" y="738"/>
                    <a:pt x="708" y="738"/>
                    <a:pt x="707" y="738"/>
                  </a:cubicBezTo>
                  <a:cubicBezTo>
                    <a:pt x="707" y="737"/>
                    <a:pt x="707" y="735"/>
                    <a:pt x="706" y="733"/>
                  </a:cubicBezTo>
                  <a:cubicBezTo>
                    <a:pt x="702" y="733"/>
                    <a:pt x="708" y="738"/>
                    <a:pt x="705" y="738"/>
                  </a:cubicBezTo>
                  <a:cubicBezTo>
                    <a:pt x="705" y="739"/>
                    <a:pt x="705" y="739"/>
                    <a:pt x="705" y="739"/>
                  </a:cubicBezTo>
                  <a:cubicBezTo>
                    <a:pt x="697" y="741"/>
                    <a:pt x="688" y="742"/>
                    <a:pt x="684" y="743"/>
                  </a:cubicBezTo>
                  <a:cubicBezTo>
                    <a:pt x="688" y="743"/>
                    <a:pt x="683" y="749"/>
                    <a:pt x="680" y="747"/>
                  </a:cubicBezTo>
                  <a:cubicBezTo>
                    <a:pt x="681" y="750"/>
                    <a:pt x="687" y="748"/>
                    <a:pt x="684" y="751"/>
                  </a:cubicBezTo>
                  <a:cubicBezTo>
                    <a:pt x="680" y="747"/>
                    <a:pt x="675" y="754"/>
                    <a:pt x="672" y="752"/>
                  </a:cubicBezTo>
                  <a:cubicBezTo>
                    <a:pt x="668" y="749"/>
                    <a:pt x="676" y="750"/>
                    <a:pt x="674" y="747"/>
                  </a:cubicBezTo>
                  <a:cubicBezTo>
                    <a:pt x="668" y="747"/>
                    <a:pt x="662" y="747"/>
                    <a:pt x="655" y="749"/>
                  </a:cubicBezTo>
                  <a:cubicBezTo>
                    <a:pt x="663" y="739"/>
                    <a:pt x="688" y="738"/>
                    <a:pt x="698" y="722"/>
                  </a:cubicBezTo>
                  <a:cubicBezTo>
                    <a:pt x="696" y="720"/>
                    <a:pt x="694" y="725"/>
                    <a:pt x="692" y="726"/>
                  </a:cubicBezTo>
                  <a:cubicBezTo>
                    <a:pt x="687" y="719"/>
                    <a:pt x="688" y="728"/>
                    <a:pt x="683" y="726"/>
                  </a:cubicBezTo>
                  <a:cubicBezTo>
                    <a:pt x="682" y="717"/>
                    <a:pt x="693" y="720"/>
                    <a:pt x="698" y="717"/>
                  </a:cubicBezTo>
                  <a:cubicBezTo>
                    <a:pt x="699" y="717"/>
                    <a:pt x="699" y="718"/>
                    <a:pt x="698" y="719"/>
                  </a:cubicBezTo>
                  <a:cubicBezTo>
                    <a:pt x="698" y="719"/>
                    <a:pt x="697" y="717"/>
                    <a:pt x="696" y="718"/>
                  </a:cubicBezTo>
                  <a:cubicBezTo>
                    <a:pt x="702" y="724"/>
                    <a:pt x="701" y="717"/>
                    <a:pt x="705" y="717"/>
                  </a:cubicBezTo>
                  <a:cubicBezTo>
                    <a:pt x="703" y="714"/>
                    <a:pt x="701" y="714"/>
                    <a:pt x="700" y="713"/>
                  </a:cubicBezTo>
                  <a:cubicBezTo>
                    <a:pt x="701" y="717"/>
                    <a:pt x="698" y="715"/>
                    <a:pt x="695" y="714"/>
                  </a:cubicBezTo>
                  <a:cubicBezTo>
                    <a:pt x="696" y="714"/>
                    <a:pt x="696" y="713"/>
                    <a:pt x="697" y="712"/>
                  </a:cubicBezTo>
                  <a:cubicBezTo>
                    <a:pt x="704" y="710"/>
                    <a:pt x="718" y="708"/>
                    <a:pt x="716" y="702"/>
                  </a:cubicBezTo>
                  <a:cubicBezTo>
                    <a:pt x="716" y="702"/>
                    <a:pt x="717" y="702"/>
                    <a:pt x="717" y="703"/>
                  </a:cubicBezTo>
                  <a:cubicBezTo>
                    <a:pt x="717" y="700"/>
                    <a:pt x="721" y="703"/>
                    <a:pt x="722" y="701"/>
                  </a:cubicBezTo>
                  <a:cubicBezTo>
                    <a:pt x="724" y="702"/>
                    <a:pt x="726" y="702"/>
                    <a:pt x="728" y="702"/>
                  </a:cubicBezTo>
                  <a:cubicBezTo>
                    <a:pt x="725" y="704"/>
                    <a:pt x="725" y="704"/>
                    <a:pt x="724" y="708"/>
                  </a:cubicBezTo>
                  <a:cubicBezTo>
                    <a:pt x="725" y="708"/>
                    <a:pt x="729" y="704"/>
                    <a:pt x="730" y="702"/>
                  </a:cubicBezTo>
                  <a:cubicBezTo>
                    <a:pt x="731" y="702"/>
                    <a:pt x="732" y="702"/>
                    <a:pt x="733" y="700"/>
                  </a:cubicBezTo>
                  <a:cubicBezTo>
                    <a:pt x="729" y="701"/>
                    <a:pt x="726" y="701"/>
                    <a:pt x="722" y="700"/>
                  </a:cubicBezTo>
                  <a:cubicBezTo>
                    <a:pt x="722" y="699"/>
                    <a:pt x="722" y="699"/>
                    <a:pt x="722" y="698"/>
                  </a:cubicBezTo>
                  <a:cubicBezTo>
                    <a:pt x="719" y="698"/>
                    <a:pt x="717" y="697"/>
                    <a:pt x="715" y="695"/>
                  </a:cubicBezTo>
                  <a:cubicBezTo>
                    <a:pt x="716" y="695"/>
                    <a:pt x="716" y="694"/>
                    <a:pt x="717" y="694"/>
                  </a:cubicBezTo>
                  <a:cubicBezTo>
                    <a:pt x="717" y="694"/>
                    <a:pt x="717" y="695"/>
                    <a:pt x="717" y="695"/>
                  </a:cubicBezTo>
                  <a:cubicBezTo>
                    <a:pt x="720" y="694"/>
                    <a:pt x="722" y="699"/>
                    <a:pt x="724" y="699"/>
                  </a:cubicBezTo>
                  <a:cubicBezTo>
                    <a:pt x="722" y="696"/>
                    <a:pt x="720" y="694"/>
                    <a:pt x="720" y="692"/>
                  </a:cubicBezTo>
                  <a:cubicBezTo>
                    <a:pt x="723" y="692"/>
                    <a:pt x="722" y="686"/>
                    <a:pt x="725" y="689"/>
                  </a:cubicBezTo>
                  <a:cubicBezTo>
                    <a:pt x="725" y="689"/>
                    <a:pt x="725" y="690"/>
                    <a:pt x="725" y="690"/>
                  </a:cubicBezTo>
                  <a:cubicBezTo>
                    <a:pt x="724" y="690"/>
                    <a:pt x="724" y="690"/>
                    <a:pt x="724" y="691"/>
                  </a:cubicBezTo>
                  <a:cubicBezTo>
                    <a:pt x="724" y="691"/>
                    <a:pt x="723" y="692"/>
                    <a:pt x="722" y="693"/>
                  </a:cubicBezTo>
                  <a:cubicBezTo>
                    <a:pt x="725" y="696"/>
                    <a:pt x="732" y="699"/>
                    <a:pt x="733" y="694"/>
                  </a:cubicBezTo>
                  <a:cubicBezTo>
                    <a:pt x="732" y="695"/>
                    <a:pt x="730" y="696"/>
                    <a:pt x="728" y="693"/>
                  </a:cubicBezTo>
                  <a:cubicBezTo>
                    <a:pt x="738" y="689"/>
                    <a:pt x="747" y="676"/>
                    <a:pt x="756" y="689"/>
                  </a:cubicBezTo>
                  <a:cubicBezTo>
                    <a:pt x="754" y="684"/>
                    <a:pt x="762" y="694"/>
                    <a:pt x="761" y="687"/>
                  </a:cubicBezTo>
                  <a:cubicBezTo>
                    <a:pt x="760" y="687"/>
                    <a:pt x="758" y="689"/>
                    <a:pt x="757" y="685"/>
                  </a:cubicBezTo>
                  <a:cubicBezTo>
                    <a:pt x="760" y="683"/>
                    <a:pt x="756" y="686"/>
                    <a:pt x="755" y="682"/>
                  </a:cubicBezTo>
                  <a:cubicBezTo>
                    <a:pt x="760" y="679"/>
                    <a:pt x="760" y="679"/>
                    <a:pt x="760" y="679"/>
                  </a:cubicBezTo>
                  <a:cubicBezTo>
                    <a:pt x="757" y="674"/>
                    <a:pt x="754" y="678"/>
                    <a:pt x="751" y="674"/>
                  </a:cubicBezTo>
                  <a:cubicBezTo>
                    <a:pt x="759" y="674"/>
                    <a:pt x="775" y="683"/>
                    <a:pt x="769" y="670"/>
                  </a:cubicBezTo>
                  <a:cubicBezTo>
                    <a:pt x="771" y="669"/>
                    <a:pt x="771" y="669"/>
                    <a:pt x="771" y="669"/>
                  </a:cubicBezTo>
                  <a:cubicBezTo>
                    <a:pt x="773" y="671"/>
                    <a:pt x="771" y="675"/>
                    <a:pt x="774" y="675"/>
                  </a:cubicBezTo>
                  <a:cubicBezTo>
                    <a:pt x="773" y="673"/>
                    <a:pt x="773" y="671"/>
                    <a:pt x="775" y="670"/>
                  </a:cubicBezTo>
                  <a:cubicBezTo>
                    <a:pt x="778" y="675"/>
                    <a:pt x="778" y="667"/>
                    <a:pt x="781" y="669"/>
                  </a:cubicBezTo>
                  <a:cubicBezTo>
                    <a:pt x="781" y="676"/>
                    <a:pt x="775" y="679"/>
                    <a:pt x="769" y="681"/>
                  </a:cubicBezTo>
                  <a:close/>
                  <a:moveTo>
                    <a:pt x="781" y="1427"/>
                  </a:moveTo>
                  <a:cubicBezTo>
                    <a:pt x="781" y="1427"/>
                    <a:pt x="781" y="1427"/>
                    <a:pt x="781" y="1427"/>
                  </a:cubicBezTo>
                  <a:cubicBezTo>
                    <a:pt x="781" y="1427"/>
                    <a:pt x="781" y="1427"/>
                    <a:pt x="781" y="1427"/>
                  </a:cubicBezTo>
                  <a:cubicBezTo>
                    <a:pt x="781" y="1427"/>
                    <a:pt x="781" y="1427"/>
                    <a:pt x="781" y="1427"/>
                  </a:cubicBezTo>
                  <a:close/>
                  <a:moveTo>
                    <a:pt x="784" y="675"/>
                  </a:moveTo>
                  <a:cubicBezTo>
                    <a:pt x="782" y="671"/>
                    <a:pt x="784" y="670"/>
                    <a:pt x="783" y="667"/>
                  </a:cubicBezTo>
                  <a:cubicBezTo>
                    <a:pt x="786" y="668"/>
                    <a:pt x="783" y="671"/>
                    <a:pt x="787" y="673"/>
                  </a:cubicBezTo>
                  <a:lnTo>
                    <a:pt x="784" y="675"/>
                  </a:lnTo>
                  <a:close/>
                  <a:moveTo>
                    <a:pt x="801" y="1419"/>
                  </a:moveTo>
                  <a:cubicBezTo>
                    <a:pt x="802" y="1418"/>
                    <a:pt x="803" y="1417"/>
                    <a:pt x="804" y="1416"/>
                  </a:cubicBezTo>
                  <a:cubicBezTo>
                    <a:pt x="812" y="1413"/>
                    <a:pt x="812" y="1413"/>
                    <a:pt x="812" y="1413"/>
                  </a:cubicBezTo>
                  <a:cubicBezTo>
                    <a:pt x="809" y="1415"/>
                    <a:pt x="805" y="1417"/>
                    <a:pt x="801" y="1419"/>
                  </a:cubicBezTo>
                  <a:close/>
                  <a:moveTo>
                    <a:pt x="813" y="655"/>
                  </a:moveTo>
                  <a:cubicBezTo>
                    <a:pt x="810" y="651"/>
                    <a:pt x="817" y="650"/>
                    <a:pt x="818" y="654"/>
                  </a:cubicBezTo>
                  <a:cubicBezTo>
                    <a:pt x="816" y="657"/>
                    <a:pt x="815" y="653"/>
                    <a:pt x="813" y="655"/>
                  </a:cubicBezTo>
                  <a:close/>
                  <a:moveTo>
                    <a:pt x="1030" y="85"/>
                  </a:moveTo>
                  <a:cubicBezTo>
                    <a:pt x="1029" y="78"/>
                    <a:pt x="1038" y="79"/>
                    <a:pt x="1042" y="73"/>
                  </a:cubicBezTo>
                  <a:cubicBezTo>
                    <a:pt x="1044" y="81"/>
                    <a:pt x="1035" y="85"/>
                    <a:pt x="1030" y="85"/>
                  </a:cubicBezTo>
                  <a:close/>
                  <a:moveTo>
                    <a:pt x="1042" y="586"/>
                  </a:moveTo>
                  <a:cubicBezTo>
                    <a:pt x="1045" y="589"/>
                    <a:pt x="1043" y="590"/>
                    <a:pt x="1045" y="592"/>
                  </a:cubicBezTo>
                  <a:cubicBezTo>
                    <a:pt x="1043" y="594"/>
                    <a:pt x="1039" y="587"/>
                    <a:pt x="1042" y="586"/>
                  </a:cubicBezTo>
                  <a:close/>
                  <a:moveTo>
                    <a:pt x="1041" y="60"/>
                  </a:moveTo>
                  <a:cubicBezTo>
                    <a:pt x="1037" y="55"/>
                    <a:pt x="1043" y="56"/>
                    <a:pt x="1045" y="56"/>
                  </a:cubicBezTo>
                  <a:cubicBezTo>
                    <a:pt x="1047" y="60"/>
                    <a:pt x="1043" y="60"/>
                    <a:pt x="1041" y="60"/>
                  </a:cubicBezTo>
                  <a:close/>
                  <a:moveTo>
                    <a:pt x="1047" y="56"/>
                  </a:moveTo>
                  <a:cubicBezTo>
                    <a:pt x="1050" y="54"/>
                    <a:pt x="1050" y="54"/>
                    <a:pt x="1050" y="54"/>
                  </a:cubicBezTo>
                  <a:cubicBezTo>
                    <a:pt x="1053" y="58"/>
                    <a:pt x="1049" y="61"/>
                    <a:pt x="1047" y="56"/>
                  </a:cubicBezTo>
                  <a:close/>
                  <a:moveTo>
                    <a:pt x="1071" y="36"/>
                  </a:moveTo>
                  <a:cubicBezTo>
                    <a:pt x="1070" y="33"/>
                    <a:pt x="1074" y="30"/>
                    <a:pt x="1076" y="35"/>
                  </a:cubicBezTo>
                  <a:cubicBezTo>
                    <a:pt x="1076" y="39"/>
                    <a:pt x="1073" y="34"/>
                    <a:pt x="1071" y="36"/>
                  </a:cubicBezTo>
                  <a:close/>
                  <a:moveTo>
                    <a:pt x="1123" y="11"/>
                  </a:moveTo>
                  <a:cubicBezTo>
                    <a:pt x="1124" y="13"/>
                    <a:pt x="1123" y="17"/>
                    <a:pt x="1126" y="15"/>
                  </a:cubicBezTo>
                  <a:cubicBezTo>
                    <a:pt x="1127" y="17"/>
                    <a:pt x="1125" y="17"/>
                    <a:pt x="1124" y="18"/>
                  </a:cubicBezTo>
                  <a:cubicBezTo>
                    <a:pt x="1124" y="15"/>
                    <a:pt x="1122" y="15"/>
                    <a:pt x="1120" y="13"/>
                  </a:cubicBezTo>
                  <a:lnTo>
                    <a:pt x="1123" y="11"/>
                  </a:lnTo>
                  <a:close/>
                  <a:moveTo>
                    <a:pt x="1114" y="10"/>
                  </a:moveTo>
                  <a:cubicBezTo>
                    <a:pt x="1114" y="12"/>
                    <a:pt x="1113" y="15"/>
                    <a:pt x="1112" y="16"/>
                  </a:cubicBezTo>
                  <a:cubicBezTo>
                    <a:pt x="1109" y="13"/>
                    <a:pt x="1113" y="14"/>
                    <a:pt x="1110" y="10"/>
                  </a:cubicBezTo>
                  <a:cubicBezTo>
                    <a:pt x="1111" y="9"/>
                    <a:pt x="1113" y="12"/>
                    <a:pt x="1114" y="10"/>
                  </a:cubicBezTo>
                  <a:close/>
                  <a:moveTo>
                    <a:pt x="1104" y="6"/>
                  </a:moveTo>
                  <a:cubicBezTo>
                    <a:pt x="1108" y="12"/>
                    <a:pt x="1104" y="18"/>
                    <a:pt x="1101" y="19"/>
                  </a:cubicBezTo>
                  <a:cubicBezTo>
                    <a:pt x="1099" y="16"/>
                    <a:pt x="1104" y="15"/>
                    <a:pt x="1100" y="13"/>
                  </a:cubicBezTo>
                  <a:cubicBezTo>
                    <a:pt x="1102" y="14"/>
                    <a:pt x="1104" y="8"/>
                    <a:pt x="1104" y="6"/>
                  </a:cubicBezTo>
                  <a:close/>
                  <a:moveTo>
                    <a:pt x="1103" y="28"/>
                  </a:moveTo>
                  <a:cubicBezTo>
                    <a:pt x="1107" y="30"/>
                    <a:pt x="1104" y="35"/>
                    <a:pt x="1100" y="36"/>
                  </a:cubicBezTo>
                  <a:cubicBezTo>
                    <a:pt x="1098" y="32"/>
                    <a:pt x="1104" y="32"/>
                    <a:pt x="1103" y="28"/>
                  </a:cubicBezTo>
                  <a:close/>
                  <a:moveTo>
                    <a:pt x="1082" y="26"/>
                  </a:moveTo>
                  <a:cubicBezTo>
                    <a:pt x="1083" y="29"/>
                    <a:pt x="1084" y="28"/>
                    <a:pt x="1084" y="31"/>
                  </a:cubicBezTo>
                  <a:cubicBezTo>
                    <a:pt x="1086" y="30"/>
                    <a:pt x="1086" y="30"/>
                    <a:pt x="1086" y="30"/>
                  </a:cubicBezTo>
                  <a:cubicBezTo>
                    <a:pt x="1089" y="33"/>
                    <a:pt x="1076" y="30"/>
                    <a:pt x="1082" y="26"/>
                  </a:cubicBezTo>
                  <a:close/>
                  <a:moveTo>
                    <a:pt x="1093" y="34"/>
                  </a:moveTo>
                  <a:cubicBezTo>
                    <a:pt x="1095" y="37"/>
                    <a:pt x="1092" y="38"/>
                    <a:pt x="1090" y="39"/>
                  </a:cubicBezTo>
                  <a:cubicBezTo>
                    <a:pt x="1090" y="36"/>
                    <a:pt x="1091" y="34"/>
                    <a:pt x="1093" y="34"/>
                  </a:cubicBezTo>
                  <a:close/>
                  <a:moveTo>
                    <a:pt x="1108" y="65"/>
                  </a:moveTo>
                  <a:cubicBezTo>
                    <a:pt x="1105" y="66"/>
                    <a:pt x="1103" y="63"/>
                    <a:pt x="1101" y="67"/>
                  </a:cubicBezTo>
                  <a:cubicBezTo>
                    <a:pt x="1098" y="61"/>
                    <a:pt x="1102" y="64"/>
                    <a:pt x="1103" y="60"/>
                  </a:cubicBezTo>
                  <a:cubicBezTo>
                    <a:pt x="1097" y="53"/>
                    <a:pt x="1097" y="62"/>
                    <a:pt x="1093" y="61"/>
                  </a:cubicBezTo>
                  <a:cubicBezTo>
                    <a:pt x="1095" y="49"/>
                    <a:pt x="1108" y="51"/>
                    <a:pt x="1107" y="39"/>
                  </a:cubicBezTo>
                  <a:cubicBezTo>
                    <a:pt x="1109" y="36"/>
                    <a:pt x="1110" y="42"/>
                    <a:pt x="1112" y="40"/>
                  </a:cubicBezTo>
                  <a:cubicBezTo>
                    <a:pt x="1114" y="46"/>
                    <a:pt x="1114" y="49"/>
                    <a:pt x="1116" y="55"/>
                  </a:cubicBezTo>
                  <a:cubicBezTo>
                    <a:pt x="1110" y="53"/>
                    <a:pt x="1110" y="62"/>
                    <a:pt x="1108" y="65"/>
                  </a:cubicBezTo>
                  <a:close/>
                  <a:moveTo>
                    <a:pt x="1118" y="46"/>
                  </a:moveTo>
                  <a:cubicBezTo>
                    <a:pt x="1120" y="42"/>
                    <a:pt x="1111" y="37"/>
                    <a:pt x="1117" y="35"/>
                  </a:cubicBezTo>
                  <a:cubicBezTo>
                    <a:pt x="1120" y="40"/>
                    <a:pt x="1122" y="44"/>
                    <a:pt x="1118" y="46"/>
                  </a:cubicBezTo>
                  <a:close/>
                  <a:moveTo>
                    <a:pt x="1120" y="22"/>
                  </a:moveTo>
                  <a:cubicBezTo>
                    <a:pt x="1122" y="20"/>
                    <a:pt x="1123" y="21"/>
                    <a:pt x="1125" y="20"/>
                  </a:cubicBezTo>
                  <a:cubicBezTo>
                    <a:pt x="1125" y="24"/>
                    <a:pt x="1123" y="26"/>
                    <a:pt x="1124" y="30"/>
                  </a:cubicBezTo>
                  <a:cubicBezTo>
                    <a:pt x="1122" y="30"/>
                    <a:pt x="1121" y="24"/>
                    <a:pt x="1120" y="22"/>
                  </a:cubicBezTo>
                  <a:close/>
                  <a:moveTo>
                    <a:pt x="1123" y="41"/>
                  </a:moveTo>
                  <a:cubicBezTo>
                    <a:pt x="1125" y="37"/>
                    <a:pt x="1125" y="35"/>
                    <a:pt x="1129" y="36"/>
                  </a:cubicBezTo>
                  <a:cubicBezTo>
                    <a:pt x="1130" y="35"/>
                    <a:pt x="1130" y="33"/>
                    <a:pt x="1129" y="33"/>
                  </a:cubicBezTo>
                  <a:cubicBezTo>
                    <a:pt x="1126" y="32"/>
                    <a:pt x="1131" y="32"/>
                    <a:pt x="1132" y="33"/>
                  </a:cubicBezTo>
                  <a:cubicBezTo>
                    <a:pt x="1135" y="40"/>
                    <a:pt x="1137" y="44"/>
                    <a:pt x="1137" y="49"/>
                  </a:cubicBezTo>
                  <a:cubicBezTo>
                    <a:pt x="1133" y="48"/>
                    <a:pt x="1128" y="43"/>
                    <a:pt x="1123" y="41"/>
                  </a:cubicBezTo>
                  <a:close/>
                  <a:moveTo>
                    <a:pt x="1130" y="59"/>
                  </a:moveTo>
                  <a:cubicBezTo>
                    <a:pt x="1129" y="57"/>
                    <a:pt x="1130" y="56"/>
                    <a:pt x="1131" y="55"/>
                  </a:cubicBezTo>
                  <a:cubicBezTo>
                    <a:pt x="1134" y="59"/>
                    <a:pt x="1134" y="59"/>
                    <a:pt x="1134" y="59"/>
                  </a:cubicBezTo>
                  <a:cubicBezTo>
                    <a:pt x="1133" y="62"/>
                    <a:pt x="1131" y="56"/>
                    <a:pt x="1130" y="59"/>
                  </a:cubicBezTo>
                  <a:close/>
                  <a:moveTo>
                    <a:pt x="1165" y="89"/>
                  </a:moveTo>
                  <a:cubicBezTo>
                    <a:pt x="1167" y="92"/>
                    <a:pt x="1162" y="92"/>
                    <a:pt x="1163" y="94"/>
                  </a:cubicBezTo>
                  <a:cubicBezTo>
                    <a:pt x="1162" y="95"/>
                    <a:pt x="1161" y="89"/>
                    <a:pt x="1158" y="87"/>
                  </a:cubicBezTo>
                  <a:cubicBezTo>
                    <a:pt x="1161" y="85"/>
                    <a:pt x="1163" y="89"/>
                    <a:pt x="1165" y="89"/>
                  </a:cubicBezTo>
                  <a:close/>
                  <a:moveTo>
                    <a:pt x="1160" y="123"/>
                  </a:moveTo>
                  <a:cubicBezTo>
                    <a:pt x="1157" y="125"/>
                    <a:pt x="1158" y="125"/>
                    <a:pt x="1155" y="124"/>
                  </a:cubicBezTo>
                  <a:cubicBezTo>
                    <a:pt x="1153" y="121"/>
                    <a:pt x="1158" y="118"/>
                    <a:pt x="1160" y="123"/>
                  </a:cubicBezTo>
                  <a:close/>
                  <a:moveTo>
                    <a:pt x="1158" y="147"/>
                  </a:moveTo>
                  <a:cubicBezTo>
                    <a:pt x="1155" y="147"/>
                    <a:pt x="1159" y="144"/>
                    <a:pt x="1156" y="142"/>
                  </a:cubicBezTo>
                  <a:cubicBezTo>
                    <a:pt x="1158" y="142"/>
                    <a:pt x="1160" y="142"/>
                    <a:pt x="1162" y="145"/>
                  </a:cubicBezTo>
                  <a:cubicBezTo>
                    <a:pt x="1161" y="149"/>
                    <a:pt x="1157" y="143"/>
                    <a:pt x="1158" y="147"/>
                  </a:cubicBezTo>
                  <a:close/>
                  <a:moveTo>
                    <a:pt x="1171" y="158"/>
                  </a:moveTo>
                  <a:cubicBezTo>
                    <a:pt x="1170" y="157"/>
                    <a:pt x="1172" y="153"/>
                    <a:pt x="1169" y="155"/>
                  </a:cubicBezTo>
                  <a:cubicBezTo>
                    <a:pt x="1171" y="143"/>
                    <a:pt x="1178" y="158"/>
                    <a:pt x="1177" y="157"/>
                  </a:cubicBezTo>
                  <a:cubicBezTo>
                    <a:pt x="1178" y="158"/>
                    <a:pt x="1178" y="159"/>
                    <a:pt x="1177" y="159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6" y="161"/>
                    <a:pt x="1174" y="158"/>
                    <a:pt x="1171" y="158"/>
                  </a:cubicBezTo>
                  <a:close/>
                  <a:moveTo>
                    <a:pt x="1253" y="97"/>
                  </a:moveTo>
                  <a:cubicBezTo>
                    <a:pt x="1251" y="98"/>
                    <a:pt x="1249" y="96"/>
                    <a:pt x="1246" y="95"/>
                  </a:cubicBezTo>
                  <a:cubicBezTo>
                    <a:pt x="1244" y="89"/>
                    <a:pt x="1254" y="94"/>
                    <a:pt x="1253" y="97"/>
                  </a:cubicBezTo>
                  <a:close/>
                  <a:moveTo>
                    <a:pt x="1245" y="105"/>
                  </a:moveTo>
                  <a:cubicBezTo>
                    <a:pt x="1245" y="103"/>
                    <a:pt x="1242" y="99"/>
                    <a:pt x="1245" y="98"/>
                  </a:cubicBezTo>
                  <a:cubicBezTo>
                    <a:pt x="1246" y="99"/>
                    <a:pt x="1245" y="100"/>
                    <a:pt x="1245" y="101"/>
                  </a:cubicBezTo>
                  <a:cubicBezTo>
                    <a:pt x="1246" y="101"/>
                    <a:pt x="1247" y="102"/>
                    <a:pt x="1248" y="102"/>
                  </a:cubicBezTo>
                  <a:cubicBezTo>
                    <a:pt x="1250" y="104"/>
                    <a:pt x="1247" y="106"/>
                    <a:pt x="1245" y="105"/>
                  </a:cubicBezTo>
                  <a:close/>
                  <a:moveTo>
                    <a:pt x="1248" y="108"/>
                  </a:moveTo>
                  <a:cubicBezTo>
                    <a:pt x="1248" y="106"/>
                    <a:pt x="1251" y="105"/>
                    <a:pt x="1253" y="108"/>
                  </a:cubicBezTo>
                  <a:cubicBezTo>
                    <a:pt x="1254" y="107"/>
                    <a:pt x="1252" y="105"/>
                    <a:pt x="1252" y="104"/>
                  </a:cubicBezTo>
                  <a:cubicBezTo>
                    <a:pt x="1253" y="103"/>
                    <a:pt x="1255" y="104"/>
                    <a:pt x="1257" y="104"/>
                  </a:cubicBezTo>
                  <a:cubicBezTo>
                    <a:pt x="1259" y="108"/>
                    <a:pt x="1250" y="109"/>
                    <a:pt x="1253" y="109"/>
                  </a:cubicBezTo>
                  <a:cubicBezTo>
                    <a:pt x="1254" y="113"/>
                    <a:pt x="1249" y="110"/>
                    <a:pt x="1248" y="108"/>
                  </a:cubicBezTo>
                  <a:close/>
                  <a:moveTo>
                    <a:pt x="1303" y="185"/>
                  </a:moveTo>
                  <a:cubicBezTo>
                    <a:pt x="1301" y="187"/>
                    <a:pt x="1300" y="186"/>
                    <a:pt x="1298" y="182"/>
                  </a:cubicBezTo>
                  <a:cubicBezTo>
                    <a:pt x="1301" y="180"/>
                    <a:pt x="1301" y="180"/>
                    <a:pt x="1301" y="180"/>
                  </a:cubicBezTo>
                  <a:lnTo>
                    <a:pt x="1303" y="185"/>
                  </a:lnTo>
                  <a:close/>
                  <a:moveTo>
                    <a:pt x="1298" y="134"/>
                  </a:moveTo>
                  <a:cubicBezTo>
                    <a:pt x="1300" y="137"/>
                    <a:pt x="1297" y="137"/>
                    <a:pt x="1298" y="139"/>
                  </a:cubicBezTo>
                  <a:cubicBezTo>
                    <a:pt x="1297" y="139"/>
                    <a:pt x="1295" y="138"/>
                    <a:pt x="1294" y="135"/>
                  </a:cubicBezTo>
                  <a:cubicBezTo>
                    <a:pt x="1296" y="134"/>
                    <a:pt x="1297" y="134"/>
                    <a:pt x="1298" y="134"/>
                  </a:cubicBezTo>
                  <a:close/>
                  <a:moveTo>
                    <a:pt x="1295" y="144"/>
                  </a:moveTo>
                  <a:cubicBezTo>
                    <a:pt x="1293" y="145"/>
                    <a:pt x="1292" y="143"/>
                    <a:pt x="1290" y="144"/>
                  </a:cubicBezTo>
                  <a:cubicBezTo>
                    <a:pt x="1288" y="139"/>
                    <a:pt x="1293" y="140"/>
                    <a:pt x="1295" y="144"/>
                  </a:cubicBezTo>
                  <a:close/>
                  <a:moveTo>
                    <a:pt x="1280" y="170"/>
                  </a:moveTo>
                  <a:cubicBezTo>
                    <a:pt x="1283" y="168"/>
                    <a:pt x="1281" y="172"/>
                    <a:pt x="1283" y="173"/>
                  </a:cubicBezTo>
                  <a:cubicBezTo>
                    <a:pt x="1285" y="170"/>
                    <a:pt x="1290" y="168"/>
                    <a:pt x="1291" y="167"/>
                  </a:cubicBezTo>
                  <a:cubicBezTo>
                    <a:pt x="1293" y="169"/>
                    <a:pt x="1290" y="170"/>
                    <a:pt x="1289" y="171"/>
                  </a:cubicBezTo>
                  <a:cubicBezTo>
                    <a:pt x="1292" y="175"/>
                    <a:pt x="1296" y="173"/>
                    <a:pt x="1299" y="171"/>
                  </a:cubicBezTo>
                  <a:cubicBezTo>
                    <a:pt x="1301" y="174"/>
                    <a:pt x="1299" y="177"/>
                    <a:pt x="1301" y="179"/>
                  </a:cubicBezTo>
                  <a:cubicBezTo>
                    <a:pt x="1298" y="179"/>
                    <a:pt x="1299" y="176"/>
                    <a:pt x="1296" y="180"/>
                  </a:cubicBezTo>
                  <a:cubicBezTo>
                    <a:pt x="1295" y="178"/>
                    <a:pt x="1296" y="177"/>
                    <a:pt x="1295" y="174"/>
                  </a:cubicBezTo>
                  <a:cubicBezTo>
                    <a:pt x="1294" y="180"/>
                    <a:pt x="1291" y="184"/>
                    <a:pt x="1285" y="184"/>
                  </a:cubicBezTo>
                  <a:cubicBezTo>
                    <a:pt x="1288" y="181"/>
                    <a:pt x="1289" y="177"/>
                    <a:pt x="1290" y="173"/>
                  </a:cubicBezTo>
                  <a:cubicBezTo>
                    <a:pt x="1286" y="172"/>
                    <a:pt x="1281" y="184"/>
                    <a:pt x="1276" y="177"/>
                  </a:cubicBezTo>
                  <a:cubicBezTo>
                    <a:pt x="1277" y="173"/>
                    <a:pt x="1282" y="176"/>
                    <a:pt x="1280" y="170"/>
                  </a:cubicBezTo>
                  <a:close/>
                  <a:moveTo>
                    <a:pt x="1266" y="138"/>
                  </a:moveTo>
                  <a:cubicBezTo>
                    <a:pt x="1268" y="135"/>
                    <a:pt x="1270" y="138"/>
                    <a:pt x="1271" y="137"/>
                  </a:cubicBezTo>
                  <a:cubicBezTo>
                    <a:pt x="1272" y="140"/>
                    <a:pt x="1268" y="141"/>
                    <a:pt x="1266" y="138"/>
                  </a:cubicBezTo>
                  <a:close/>
                  <a:moveTo>
                    <a:pt x="1271" y="188"/>
                  </a:moveTo>
                  <a:cubicBezTo>
                    <a:pt x="1274" y="187"/>
                    <a:pt x="1276" y="188"/>
                    <a:pt x="1272" y="183"/>
                  </a:cubicBezTo>
                  <a:cubicBezTo>
                    <a:pt x="1274" y="183"/>
                    <a:pt x="1278" y="187"/>
                    <a:pt x="1277" y="182"/>
                  </a:cubicBezTo>
                  <a:cubicBezTo>
                    <a:pt x="1279" y="180"/>
                    <a:pt x="1281" y="184"/>
                    <a:pt x="1283" y="184"/>
                  </a:cubicBezTo>
                  <a:cubicBezTo>
                    <a:pt x="1282" y="186"/>
                    <a:pt x="1281" y="189"/>
                    <a:pt x="1279" y="191"/>
                  </a:cubicBezTo>
                  <a:cubicBezTo>
                    <a:pt x="1275" y="181"/>
                    <a:pt x="1275" y="195"/>
                    <a:pt x="1271" y="188"/>
                  </a:cubicBezTo>
                  <a:close/>
                  <a:moveTo>
                    <a:pt x="1293" y="237"/>
                  </a:moveTo>
                  <a:cubicBezTo>
                    <a:pt x="1293" y="234"/>
                    <a:pt x="1295" y="231"/>
                    <a:pt x="1297" y="232"/>
                  </a:cubicBezTo>
                  <a:cubicBezTo>
                    <a:pt x="1300" y="237"/>
                    <a:pt x="1296" y="237"/>
                    <a:pt x="1293" y="237"/>
                  </a:cubicBezTo>
                  <a:close/>
                  <a:moveTo>
                    <a:pt x="1311" y="221"/>
                  </a:moveTo>
                  <a:cubicBezTo>
                    <a:pt x="1311" y="220"/>
                    <a:pt x="1311" y="219"/>
                    <a:pt x="1311" y="218"/>
                  </a:cubicBezTo>
                  <a:cubicBezTo>
                    <a:pt x="1301" y="219"/>
                    <a:pt x="1300" y="226"/>
                    <a:pt x="1295" y="225"/>
                  </a:cubicBezTo>
                  <a:cubicBezTo>
                    <a:pt x="1291" y="218"/>
                    <a:pt x="1291" y="218"/>
                    <a:pt x="1291" y="218"/>
                  </a:cubicBezTo>
                  <a:cubicBezTo>
                    <a:pt x="1290" y="222"/>
                    <a:pt x="1288" y="220"/>
                    <a:pt x="1285" y="221"/>
                  </a:cubicBezTo>
                  <a:cubicBezTo>
                    <a:pt x="1284" y="215"/>
                    <a:pt x="1282" y="220"/>
                    <a:pt x="1280" y="215"/>
                  </a:cubicBezTo>
                  <a:cubicBezTo>
                    <a:pt x="1283" y="215"/>
                    <a:pt x="1286" y="218"/>
                    <a:pt x="1289" y="219"/>
                  </a:cubicBezTo>
                  <a:cubicBezTo>
                    <a:pt x="1290" y="218"/>
                    <a:pt x="1289" y="216"/>
                    <a:pt x="1291" y="216"/>
                  </a:cubicBezTo>
                  <a:cubicBezTo>
                    <a:pt x="1289" y="213"/>
                    <a:pt x="1288" y="211"/>
                    <a:pt x="1286" y="211"/>
                  </a:cubicBezTo>
                  <a:cubicBezTo>
                    <a:pt x="1285" y="212"/>
                    <a:pt x="1287" y="212"/>
                    <a:pt x="1288" y="214"/>
                  </a:cubicBezTo>
                  <a:cubicBezTo>
                    <a:pt x="1287" y="215"/>
                    <a:pt x="1286" y="214"/>
                    <a:pt x="1284" y="215"/>
                  </a:cubicBezTo>
                  <a:cubicBezTo>
                    <a:pt x="1282" y="212"/>
                    <a:pt x="1286" y="212"/>
                    <a:pt x="1283" y="209"/>
                  </a:cubicBezTo>
                  <a:cubicBezTo>
                    <a:pt x="1280" y="206"/>
                    <a:pt x="1281" y="212"/>
                    <a:pt x="1278" y="210"/>
                  </a:cubicBezTo>
                  <a:cubicBezTo>
                    <a:pt x="1276" y="206"/>
                    <a:pt x="1283" y="206"/>
                    <a:pt x="1279" y="201"/>
                  </a:cubicBezTo>
                  <a:cubicBezTo>
                    <a:pt x="1281" y="199"/>
                    <a:pt x="1283" y="201"/>
                    <a:pt x="1284" y="200"/>
                  </a:cubicBezTo>
                  <a:cubicBezTo>
                    <a:pt x="1283" y="196"/>
                    <a:pt x="1282" y="199"/>
                    <a:pt x="1280" y="199"/>
                  </a:cubicBezTo>
                  <a:cubicBezTo>
                    <a:pt x="1278" y="195"/>
                    <a:pt x="1278" y="195"/>
                    <a:pt x="1278" y="195"/>
                  </a:cubicBezTo>
                  <a:cubicBezTo>
                    <a:pt x="1280" y="193"/>
                    <a:pt x="1282" y="193"/>
                    <a:pt x="1284" y="192"/>
                  </a:cubicBezTo>
                  <a:cubicBezTo>
                    <a:pt x="1284" y="192"/>
                    <a:pt x="1284" y="188"/>
                    <a:pt x="1283" y="188"/>
                  </a:cubicBezTo>
                  <a:cubicBezTo>
                    <a:pt x="1286" y="185"/>
                    <a:pt x="1291" y="184"/>
                    <a:pt x="1296" y="187"/>
                  </a:cubicBezTo>
                  <a:cubicBezTo>
                    <a:pt x="1298" y="185"/>
                    <a:pt x="1291" y="182"/>
                    <a:pt x="1294" y="182"/>
                  </a:cubicBezTo>
                  <a:cubicBezTo>
                    <a:pt x="1296" y="182"/>
                    <a:pt x="1300" y="187"/>
                    <a:pt x="1302" y="190"/>
                  </a:cubicBezTo>
                  <a:cubicBezTo>
                    <a:pt x="1296" y="192"/>
                    <a:pt x="1291" y="190"/>
                    <a:pt x="1286" y="191"/>
                  </a:cubicBezTo>
                  <a:cubicBezTo>
                    <a:pt x="1289" y="194"/>
                    <a:pt x="1292" y="192"/>
                    <a:pt x="1295" y="192"/>
                  </a:cubicBezTo>
                  <a:cubicBezTo>
                    <a:pt x="1296" y="197"/>
                    <a:pt x="1297" y="194"/>
                    <a:pt x="1299" y="195"/>
                  </a:cubicBezTo>
                  <a:cubicBezTo>
                    <a:pt x="1301" y="201"/>
                    <a:pt x="1295" y="200"/>
                    <a:pt x="1293" y="204"/>
                  </a:cubicBezTo>
                  <a:cubicBezTo>
                    <a:pt x="1297" y="207"/>
                    <a:pt x="1302" y="203"/>
                    <a:pt x="1304" y="198"/>
                  </a:cubicBezTo>
                  <a:cubicBezTo>
                    <a:pt x="1307" y="201"/>
                    <a:pt x="1304" y="202"/>
                    <a:pt x="1307" y="205"/>
                  </a:cubicBezTo>
                  <a:cubicBezTo>
                    <a:pt x="1309" y="206"/>
                    <a:pt x="1309" y="204"/>
                    <a:pt x="1311" y="203"/>
                  </a:cubicBezTo>
                  <a:cubicBezTo>
                    <a:pt x="1314" y="207"/>
                    <a:pt x="1309" y="208"/>
                    <a:pt x="1307" y="210"/>
                  </a:cubicBezTo>
                  <a:cubicBezTo>
                    <a:pt x="1308" y="209"/>
                    <a:pt x="1306" y="204"/>
                    <a:pt x="1303" y="205"/>
                  </a:cubicBezTo>
                  <a:cubicBezTo>
                    <a:pt x="1303" y="211"/>
                    <a:pt x="1299" y="212"/>
                    <a:pt x="1298" y="218"/>
                  </a:cubicBezTo>
                  <a:cubicBezTo>
                    <a:pt x="1303" y="220"/>
                    <a:pt x="1301" y="212"/>
                    <a:pt x="1306" y="211"/>
                  </a:cubicBezTo>
                  <a:cubicBezTo>
                    <a:pt x="1306" y="215"/>
                    <a:pt x="1307" y="210"/>
                    <a:pt x="1310" y="213"/>
                  </a:cubicBezTo>
                  <a:cubicBezTo>
                    <a:pt x="1312" y="216"/>
                    <a:pt x="1313" y="219"/>
                    <a:pt x="1311" y="221"/>
                  </a:cubicBezTo>
                  <a:close/>
                  <a:moveTo>
                    <a:pt x="1327" y="217"/>
                  </a:moveTo>
                  <a:cubicBezTo>
                    <a:pt x="1325" y="212"/>
                    <a:pt x="1325" y="212"/>
                    <a:pt x="1325" y="212"/>
                  </a:cubicBezTo>
                  <a:cubicBezTo>
                    <a:pt x="1326" y="212"/>
                    <a:pt x="1326" y="211"/>
                    <a:pt x="1326" y="210"/>
                  </a:cubicBezTo>
                  <a:cubicBezTo>
                    <a:pt x="1328" y="210"/>
                    <a:pt x="1330" y="216"/>
                    <a:pt x="1327" y="217"/>
                  </a:cubicBezTo>
                  <a:close/>
                  <a:moveTo>
                    <a:pt x="1333" y="859"/>
                  </a:moveTo>
                  <a:cubicBezTo>
                    <a:pt x="1333" y="859"/>
                    <a:pt x="1333" y="859"/>
                    <a:pt x="1333" y="859"/>
                  </a:cubicBezTo>
                  <a:cubicBezTo>
                    <a:pt x="1336" y="857"/>
                    <a:pt x="1338" y="856"/>
                    <a:pt x="1340" y="855"/>
                  </a:cubicBezTo>
                  <a:cubicBezTo>
                    <a:pt x="1339" y="857"/>
                    <a:pt x="1336" y="858"/>
                    <a:pt x="1333" y="859"/>
                  </a:cubicBezTo>
                  <a:close/>
                  <a:moveTo>
                    <a:pt x="1358" y="196"/>
                  </a:moveTo>
                  <a:cubicBezTo>
                    <a:pt x="1353" y="187"/>
                    <a:pt x="1363" y="192"/>
                    <a:pt x="1358" y="196"/>
                  </a:cubicBezTo>
                  <a:close/>
                  <a:moveTo>
                    <a:pt x="1361" y="200"/>
                  </a:moveTo>
                  <a:cubicBezTo>
                    <a:pt x="1359" y="197"/>
                    <a:pt x="1364" y="194"/>
                    <a:pt x="1366" y="199"/>
                  </a:cubicBezTo>
                  <a:cubicBezTo>
                    <a:pt x="1364" y="200"/>
                    <a:pt x="1363" y="198"/>
                    <a:pt x="1361" y="200"/>
                  </a:cubicBezTo>
                  <a:close/>
                  <a:moveTo>
                    <a:pt x="1663" y="1061"/>
                  </a:moveTo>
                  <a:cubicBezTo>
                    <a:pt x="1665" y="1065"/>
                    <a:pt x="1665" y="1065"/>
                    <a:pt x="1665" y="1065"/>
                  </a:cubicBezTo>
                  <a:cubicBezTo>
                    <a:pt x="1662" y="1068"/>
                    <a:pt x="1662" y="1064"/>
                    <a:pt x="1660" y="1064"/>
                  </a:cubicBezTo>
                  <a:cubicBezTo>
                    <a:pt x="1659" y="1063"/>
                    <a:pt x="1662" y="1062"/>
                    <a:pt x="1663" y="1061"/>
                  </a:cubicBezTo>
                  <a:close/>
                  <a:moveTo>
                    <a:pt x="1644" y="1064"/>
                  </a:moveTo>
                  <a:cubicBezTo>
                    <a:pt x="1648" y="1064"/>
                    <a:pt x="1644" y="1067"/>
                    <a:pt x="1645" y="1068"/>
                  </a:cubicBezTo>
                  <a:cubicBezTo>
                    <a:pt x="1649" y="1070"/>
                    <a:pt x="1646" y="1061"/>
                    <a:pt x="1653" y="1060"/>
                  </a:cubicBezTo>
                  <a:cubicBezTo>
                    <a:pt x="1651" y="1066"/>
                    <a:pt x="1649" y="1074"/>
                    <a:pt x="1641" y="1071"/>
                  </a:cubicBezTo>
                  <a:cubicBezTo>
                    <a:pt x="1639" y="1067"/>
                    <a:pt x="1639" y="1067"/>
                    <a:pt x="1639" y="1067"/>
                  </a:cubicBezTo>
                  <a:cubicBezTo>
                    <a:pt x="1640" y="1065"/>
                    <a:pt x="1645" y="1068"/>
                    <a:pt x="1644" y="1064"/>
                  </a:cubicBezTo>
                  <a:close/>
                  <a:moveTo>
                    <a:pt x="1602" y="1085"/>
                  </a:moveTo>
                  <a:cubicBezTo>
                    <a:pt x="1601" y="1089"/>
                    <a:pt x="1592" y="1094"/>
                    <a:pt x="1588" y="1090"/>
                  </a:cubicBezTo>
                  <a:cubicBezTo>
                    <a:pt x="1593" y="1088"/>
                    <a:pt x="1598" y="1084"/>
                    <a:pt x="1602" y="1085"/>
                  </a:cubicBezTo>
                  <a:close/>
                  <a:moveTo>
                    <a:pt x="1591" y="1080"/>
                  </a:moveTo>
                  <a:cubicBezTo>
                    <a:pt x="1592" y="1083"/>
                    <a:pt x="1587" y="1085"/>
                    <a:pt x="1583" y="1086"/>
                  </a:cubicBezTo>
                  <a:cubicBezTo>
                    <a:pt x="1582" y="1081"/>
                    <a:pt x="1587" y="1081"/>
                    <a:pt x="1591" y="1080"/>
                  </a:cubicBezTo>
                  <a:close/>
                  <a:moveTo>
                    <a:pt x="1586" y="1091"/>
                  </a:moveTo>
                  <a:cubicBezTo>
                    <a:pt x="1586" y="1093"/>
                    <a:pt x="1583" y="1094"/>
                    <a:pt x="1581" y="1096"/>
                  </a:cubicBezTo>
                  <a:cubicBezTo>
                    <a:pt x="1578" y="1092"/>
                    <a:pt x="1584" y="1090"/>
                    <a:pt x="1586" y="1091"/>
                  </a:cubicBezTo>
                  <a:close/>
                  <a:moveTo>
                    <a:pt x="1577" y="1083"/>
                  </a:moveTo>
                  <a:cubicBezTo>
                    <a:pt x="1579" y="1086"/>
                    <a:pt x="1578" y="1088"/>
                    <a:pt x="1575" y="1089"/>
                  </a:cubicBezTo>
                  <a:cubicBezTo>
                    <a:pt x="1573" y="1086"/>
                    <a:pt x="1574" y="1084"/>
                    <a:pt x="1577" y="1083"/>
                  </a:cubicBezTo>
                  <a:close/>
                  <a:moveTo>
                    <a:pt x="1579" y="1094"/>
                  </a:moveTo>
                  <a:cubicBezTo>
                    <a:pt x="1580" y="1103"/>
                    <a:pt x="1564" y="1099"/>
                    <a:pt x="1565" y="1095"/>
                  </a:cubicBezTo>
                  <a:cubicBezTo>
                    <a:pt x="1570" y="1097"/>
                    <a:pt x="1574" y="1096"/>
                    <a:pt x="1579" y="1094"/>
                  </a:cubicBezTo>
                  <a:close/>
                  <a:moveTo>
                    <a:pt x="1571" y="1103"/>
                  </a:moveTo>
                  <a:cubicBezTo>
                    <a:pt x="1573" y="1104"/>
                    <a:pt x="1567" y="1106"/>
                    <a:pt x="1563" y="1108"/>
                  </a:cubicBezTo>
                  <a:cubicBezTo>
                    <a:pt x="1562" y="1103"/>
                    <a:pt x="1568" y="1102"/>
                    <a:pt x="1571" y="1103"/>
                  </a:cubicBezTo>
                  <a:close/>
                  <a:moveTo>
                    <a:pt x="1549" y="1103"/>
                  </a:moveTo>
                  <a:cubicBezTo>
                    <a:pt x="1549" y="1098"/>
                    <a:pt x="1554" y="1095"/>
                    <a:pt x="1561" y="1092"/>
                  </a:cubicBezTo>
                  <a:cubicBezTo>
                    <a:pt x="1563" y="1095"/>
                    <a:pt x="1560" y="1099"/>
                    <a:pt x="1564" y="1099"/>
                  </a:cubicBezTo>
                  <a:cubicBezTo>
                    <a:pt x="1559" y="1101"/>
                    <a:pt x="1557" y="1101"/>
                    <a:pt x="1549" y="1103"/>
                  </a:cubicBezTo>
                  <a:close/>
                  <a:moveTo>
                    <a:pt x="1876" y="926"/>
                  </a:moveTo>
                  <a:cubicBezTo>
                    <a:pt x="1877" y="931"/>
                    <a:pt x="1872" y="929"/>
                    <a:pt x="1870" y="929"/>
                  </a:cubicBezTo>
                  <a:cubicBezTo>
                    <a:pt x="1869" y="926"/>
                    <a:pt x="1875" y="926"/>
                    <a:pt x="1876" y="926"/>
                  </a:cubicBezTo>
                  <a:close/>
                  <a:moveTo>
                    <a:pt x="1706" y="1009"/>
                  </a:moveTo>
                  <a:cubicBezTo>
                    <a:pt x="1708" y="1009"/>
                    <a:pt x="1708" y="1011"/>
                    <a:pt x="1709" y="1010"/>
                  </a:cubicBezTo>
                  <a:cubicBezTo>
                    <a:pt x="1708" y="1012"/>
                    <a:pt x="1704" y="1015"/>
                    <a:pt x="1701" y="1018"/>
                  </a:cubicBezTo>
                  <a:cubicBezTo>
                    <a:pt x="1702" y="1017"/>
                    <a:pt x="1702" y="1016"/>
                    <a:pt x="1701" y="1014"/>
                  </a:cubicBezTo>
                  <a:cubicBezTo>
                    <a:pt x="1704" y="1013"/>
                    <a:pt x="1706" y="1012"/>
                    <a:pt x="1706" y="1009"/>
                  </a:cubicBezTo>
                  <a:close/>
                  <a:moveTo>
                    <a:pt x="1601" y="1047"/>
                  </a:moveTo>
                  <a:cubicBezTo>
                    <a:pt x="1597" y="1045"/>
                    <a:pt x="1596" y="1051"/>
                    <a:pt x="1593" y="1049"/>
                  </a:cubicBezTo>
                  <a:cubicBezTo>
                    <a:pt x="1591" y="1045"/>
                    <a:pt x="1601" y="1042"/>
                    <a:pt x="1601" y="1047"/>
                  </a:cubicBezTo>
                  <a:close/>
                  <a:moveTo>
                    <a:pt x="1486" y="1148"/>
                  </a:moveTo>
                  <a:cubicBezTo>
                    <a:pt x="1485" y="1148"/>
                    <a:pt x="1484" y="1147"/>
                    <a:pt x="1483" y="1146"/>
                  </a:cubicBezTo>
                  <a:cubicBezTo>
                    <a:pt x="1483" y="1146"/>
                    <a:pt x="1483" y="1146"/>
                    <a:pt x="1486" y="1148"/>
                  </a:cubicBezTo>
                  <a:close/>
                  <a:moveTo>
                    <a:pt x="1556" y="745"/>
                  </a:moveTo>
                  <a:cubicBezTo>
                    <a:pt x="1554" y="741"/>
                    <a:pt x="1554" y="741"/>
                    <a:pt x="1554" y="741"/>
                  </a:cubicBezTo>
                  <a:cubicBezTo>
                    <a:pt x="1559" y="739"/>
                    <a:pt x="1559" y="739"/>
                    <a:pt x="1559" y="739"/>
                  </a:cubicBezTo>
                  <a:cubicBezTo>
                    <a:pt x="1560" y="742"/>
                    <a:pt x="1559" y="744"/>
                    <a:pt x="1556" y="745"/>
                  </a:cubicBezTo>
                  <a:close/>
                  <a:moveTo>
                    <a:pt x="1728" y="649"/>
                  </a:moveTo>
                  <a:cubicBezTo>
                    <a:pt x="1725" y="661"/>
                    <a:pt x="1707" y="660"/>
                    <a:pt x="1697" y="668"/>
                  </a:cubicBezTo>
                  <a:cubicBezTo>
                    <a:pt x="1701" y="657"/>
                    <a:pt x="1720" y="654"/>
                    <a:pt x="1728" y="649"/>
                  </a:cubicBezTo>
                  <a:close/>
                  <a:moveTo>
                    <a:pt x="1575" y="481"/>
                  </a:moveTo>
                  <a:cubicBezTo>
                    <a:pt x="1575" y="482"/>
                    <a:pt x="1575" y="482"/>
                    <a:pt x="1575" y="482"/>
                  </a:cubicBezTo>
                  <a:cubicBezTo>
                    <a:pt x="1575" y="482"/>
                    <a:pt x="1575" y="482"/>
                    <a:pt x="1575" y="482"/>
                  </a:cubicBezTo>
                  <a:cubicBezTo>
                    <a:pt x="1575" y="482"/>
                    <a:pt x="1575" y="482"/>
                    <a:pt x="1575" y="481"/>
                  </a:cubicBezTo>
                  <a:close/>
                  <a:moveTo>
                    <a:pt x="1575" y="485"/>
                  </a:moveTo>
                  <a:cubicBezTo>
                    <a:pt x="1576" y="485"/>
                    <a:pt x="1576" y="485"/>
                    <a:pt x="1577" y="485"/>
                  </a:cubicBezTo>
                  <a:cubicBezTo>
                    <a:pt x="1577" y="487"/>
                    <a:pt x="1576" y="488"/>
                    <a:pt x="1575" y="489"/>
                  </a:cubicBezTo>
                  <a:cubicBezTo>
                    <a:pt x="1575" y="488"/>
                    <a:pt x="1575" y="487"/>
                    <a:pt x="1575" y="485"/>
                  </a:cubicBezTo>
                  <a:close/>
                  <a:moveTo>
                    <a:pt x="1541" y="445"/>
                  </a:moveTo>
                  <a:cubicBezTo>
                    <a:pt x="1542" y="447"/>
                    <a:pt x="1544" y="447"/>
                    <a:pt x="1545" y="448"/>
                  </a:cubicBezTo>
                  <a:cubicBezTo>
                    <a:pt x="1545" y="448"/>
                    <a:pt x="1545" y="448"/>
                    <a:pt x="1545" y="449"/>
                  </a:cubicBezTo>
                  <a:cubicBezTo>
                    <a:pt x="1546" y="449"/>
                    <a:pt x="1548" y="449"/>
                    <a:pt x="1549" y="449"/>
                  </a:cubicBezTo>
                  <a:cubicBezTo>
                    <a:pt x="1549" y="450"/>
                    <a:pt x="1549" y="450"/>
                    <a:pt x="1549" y="450"/>
                  </a:cubicBezTo>
                  <a:cubicBezTo>
                    <a:pt x="1547" y="451"/>
                    <a:pt x="1545" y="453"/>
                    <a:pt x="1545" y="455"/>
                  </a:cubicBezTo>
                  <a:cubicBezTo>
                    <a:pt x="1543" y="456"/>
                    <a:pt x="1542" y="456"/>
                    <a:pt x="1540" y="457"/>
                  </a:cubicBezTo>
                  <a:cubicBezTo>
                    <a:pt x="1540" y="455"/>
                    <a:pt x="1540" y="454"/>
                    <a:pt x="1540" y="452"/>
                  </a:cubicBezTo>
                  <a:cubicBezTo>
                    <a:pt x="1541" y="452"/>
                    <a:pt x="1541" y="452"/>
                    <a:pt x="1541" y="452"/>
                  </a:cubicBezTo>
                  <a:cubicBezTo>
                    <a:pt x="1541" y="452"/>
                    <a:pt x="1541" y="452"/>
                    <a:pt x="1541" y="452"/>
                  </a:cubicBezTo>
                  <a:cubicBezTo>
                    <a:pt x="1541" y="451"/>
                    <a:pt x="1541" y="450"/>
                    <a:pt x="1541" y="449"/>
                  </a:cubicBezTo>
                  <a:cubicBezTo>
                    <a:pt x="1538" y="445"/>
                    <a:pt x="1539" y="451"/>
                    <a:pt x="1538" y="450"/>
                  </a:cubicBezTo>
                  <a:cubicBezTo>
                    <a:pt x="1538" y="449"/>
                    <a:pt x="1539" y="447"/>
                    <a:pt x="1539" y="447"/>
                  </a:cubicBezTo>
                  <a:cubicBezTo>
                    <a:pt x="1538" y="447"/>
                    <a:pt x="1538" y="447"/>
                    <a:pt x="1537" y="447"/>
                  </a:cubicBezTo>
                  <a:cubicBezTo>
                    <a:pt x="1538" y="446"/>
                    <a:pt x="1540" y="446"/>
                    <a:pt x="1541" y="445"/>
                  </a:cubicBezTo>
                  <a:close/>
                  <a:moveTo>
                    <a:pt x="1546" y="457"/>
                  </a:moveTo>
                  <a:cubicBezTo>
                    <a:pt x="1544" y="459"/>
                    <a:pt x="1542" y="458"/>
                    <a:pt x="1541" y="459"/>
                  </a:cubicBezTo>
                  <a:cubicBezTo>
                    <a:pt x="1541" y="459"/>
                    <a:pt x="1541" y="458"/>
                    <a:pt x="1541" y="458"/>
                  </a:cubicBezTo>
                  <a:cubicBezTo>
                    <a:pt x="1542" y="457"/>
                    <a:pt x="1544" y="457"/>
                    <a:pt x="1545" y="456"/>
                  </a:cubicBezTo>
                  <a:cubicBezTo>
                    <a:pt x="1545" y="456"/>
                    <a:pt x="1545" y="457"/>
                    <a:pt x="1546" y="457"/>
                  </a:cubicBezTo>
                  <a:close/>
                  <a:moveTo>
                    <a:pt x="1534" y="722"/>
                  </a:moveTo>
                  <a:cubicBezTo>
                    <a:pt x="1539" y="721"/>
                    <a:pt x="1538" y="726"/>
                    <a:pt x="1539" y="730"/>
                  </a:cubicBezTo>
                  <a:cubicBezTo>
                    <a:pt x="1536" y="731"/>
                    <a:pt x="1534" y="724"/>
                    <a:pt x="1534" y="722"/>
                  </a:cubicBezTo>
                  <a:close/>
                  <a:moveTo>
                    <a:pt x="1533" y="733"/>
                  </a:moveTo>
                  <a:cubicBezTo>
                    <a:pt x="1532" y="729"/>
                    <a:pt x="1530" y="730"/>
                    <a:pt x="1529" y="727"/>
                  </a:cubicBezTo>
                  <a:cubicBezTo>
                    <a:pt x="1532" y="726"/>
                    <a:pt x="1533" y="729"/>
                    <a:pt x="1536" y="730"/>
                  </a:cubicBezTo>
                  <a:cubicBezTo>
                    <a:pt x="1536" y="731"/>
                    <a:pt x="1534" y="732"/>
                    <a:pt x="1533" y="733"/>
                  </a:cubicBezTo>
                  <a:close/>
                  <a:moveTo>
                    <a:pt x="1532" y="472"/>
                  </a:moveTo>
                  <a:cubicBezTo>
                    <a:pt x="1532" y="474"/>
                    <a:pt x="1531" y="476"/>
                    <a:pt x="1530" y="478"/>
                  </a:cubicBezTo>
                  <a:cubicBezTo>
                    <a:pt x="1529" y="477"/>
                    <a:pt x="1527" y="475"/>
                    <a:pt x="1526" y="473"/>
                  </a:cubicBezTo>
                  <a:cubicBezTo>
                    <a:pt x="1528" y="469"/>
                    <a:pt x="1530" y="473"/>
                    <a:pt x="1532" y="472"/>
                  </a:cubicBezTo>
                  <a:close/>
                  <a:moveTo>
                    <a:pt x="1513" y="364"/>
                  </a:moveTo>
                  <a:cubicBezTo>
                    <a:pt x="1521" y="369"/>
                    <a:pt x="1521" y="375"/>
                    <a:pt x="1529" y="380"/>
                  </a:cubicBezTo>
                  <a:cubicBezTo>
                    <a:pt x="1525" y="381"/>
                    <a:pt x="1530" y="386"/>
                    <a:pt x="1526" y="387"/>
                  </a:cubicBezTo>
                  <a:cubicBezTo>
                    <a:pt x="1525" y="383"/>
                    <a:pt x="1524" y="380"/>
                    <a:pt x="1521" y="378"/>
                  </a:cubicBezTo>
                  <a:cubicBezTo>
                    <a:pt x="1519" y="381"/>
                    <a:pt x="1519" y="383"/>
                    <a:pt x="1516" y="381"/>
                  </a:cubicBezTo>
                  <a:cubicBezTo>
                    <a:pt x="1513" y="376"/>
                    <a:pt x="1518" y="378"/>
                    <a:pt x="1519" y="375"/>
                  </a:cubicBezTo>
                  <a:cubicBezTo>
                    <a:pt x="1517" y="372"/>
                    <a:pt x="1515" y="374"/>
                    <a:pt x="1513" y="373"/>
                  </a:cubicBezTo>
                  <a:cubicBezTo>
                    <a:pt x="1511" y="370"/>
                    <a:pt x="1512" y="366"/>
                    <a:pt x="1513" y="364"/>
                  </a:cubicBezTo>
                  <a:close/>
                  <a:moveTo>
                    <a:pt x="1498" y="358"/>
                  </a:moveTo>
                  <a:cubicBezTo>
                    <a:pt x="1500" y="362"/>
                    <a:pt x="1502" y="366"/>
                    <a:pt x="1505" y="363"/>
                  </a:cubicBezTo>
                  <a:cubicBezTo>
                    <a:pt x="1506" y="368"/>
                    <a:pt x="1508" y="369"/>
                    <a:pt x="1511" y="373"/>
                  </a:cubicBezTo>
                  <a:cubicBezTo>
                    <a:pt x="1508" y="374"/>
                    <a:pt x="1506" y="371"/>
                    <a:pt x="1503" y="370"/>
                  </a:cubicBezTo>
                  <a:cubicBezTo>
                    <a:pt x="1503" y="377"/>
                    <a:pt x="1497" y="375"/>
                    <a:pt x="1497" y="379"/>
                  </a:cubicBezTo>
                  <a:cubicBezTo>
                    <a:pt x="1495" y="379"/>
                    <a:pt x="1492" y="376"/>
                    <a:pt x="1490" y="373"/>
                  </a:cubicBezTo>
                  <a:cubicBezTo>
                    <a:pt x="1489" y="377"/>
                    <a:pt x="1487" y="377"/>
                    <a:pt x="1483" y="373"/>
                  </a:cubicBezTo>
                  <a:cubicBezTo>
                    <a:pt x="1483" y="371"/>
                    <a:pt x="1485" y="370"/>
                    <a:pt x="1486" y="372"/>
                  </a:cubicBezTo>
                  <a:cubicBezTo>
                    <a:pt x="1487" y="368"/>
                    <a:pt x="1481" y="371"/>
                    <a:pt x="1479" y="366"/>
                  </a:cubicBezTo>
                  <a:cubicBezTo>
                    <a:pt x="1487" y="366"/>
                    <a:pt x="1489" y="356"/>
                    <a:pt x="1498" y="358"/>
                  </a:cubicBezTo>
                  <a:close/>
                  <a:moveTo>
                    <a:pt x="1466" y="387"/>
                  </a:moveTo>
                  <a:cubicBezTo>
                    <a:pt x="1465" y="385"/>
                    <a:pt x="1464" y="386"/>
                    <a:pt x="1463" y="387"/>
                  </a:cubicBezTo>
                  <a:cubicBezTo>
                    <a:pt x="1462" y="373"/>
                    <a:pt x="1472" y="382"/>
                    <a:pt x="1478" y="371"/>
                  </a:cubicBezTo>
                  <a:cubicBezTo>
                    <a:pt x="1480" y="373"/>
                    <a:pt x="1482" y="376"/>
                    <a:pt x="1485" y="379"/>
                  </a:cubicBezTo>
                  <a:cubicBezTo>
                    <a:pt x="1485" y="378"/>
                    <a:pt x="1484" y="376"/>
                    <a:pt x="1485" y="376"/>
                  </a:cubicBezTo>
                  <a:cubicBezTo>
                    <a:pt x="1486" y="383"/>
                    <a:pt x="1491" y="380"/>
                    <a:pt x="1494" y="385"/>
                  </a:cubicBezTo>
                  <a:cubicBezTo>
                    <a:pt x="1484" y="387"/>
                    <a:pt x="1474" y="402"/>
                    <a:pt x="1464" y="393"/>
                  </a:cubicBezTo>
                  <a:cubicBezTo>
                    <a:pt x="1462" y="396"/>
                    <a:pt x="1461" y="396"/>
                    <a:pt x="1458" y="395"/>
                  </a:cubicBezTo>
                  <a:cubicBezTo>
                    <a:pt x="1456" y="397"/>
                    <a:pt x="1460" y="397"/>
                    <a:pt x="1460" y="399"/>
                  </a:cubicBezTo>
                  <a:cubicBezTo>
                    <a:pt x="1457" y="399"/>
                    <a:pt x="1453" y="399"/>
                    <a:pt x="1450" y="395"/>
                  </a:cubicBezTo>
                  <a:cubicBezTo>
                    <a:pt x="1458" y="391"/>
                    <a:pt x="1460" y="388"/>
                    <a:pt x="1466" y="387"/>
                  </a:cubicBezTo>
                  <a:close/>
                  <a:moveTo>
                    <a:pt x="1431" y="186"/>
                  </a:moveTo>
                  <a:cubicBezTo>
                    <a:pt x="1431" y="190"/>
                    <a:pt x="1430" y="193"/>
                    <a:pt x="1426" y="191"/>
                  </a:cubicBezTo>
                  <a:cubicBezTo>
                    <a:pt x="1425" y="186"/>
                    <a:pt x="1428" y="189"/>
                    <a:pt x="1431" y="186"/>
                  </a:cubicBezTo>
                  <a:close/>
                  <a:moveTo>
                    <a:pt x="1415" y="198"/>
                  </a:moveTo>
                  <a:cubicBezTo>
                    <a:pt x="1416" y="198"/>
                    <a:pt x="1416" y="193"/>
                    <a:pt x="1414" y="194"/>
                  </a:cubicBezTo>
                  <a:cubicBezTo>
                    <a:pt x="1414" y="191"/>
                    <a:pt x="1419" y="192"/>
                    <a:pt x="1422" y="192"/>
                  </a:cubicBezTo>
                  <a:cubicBezTo>
                    <a:pt x="1424" y="197"/>
                    <a:pt x="1417" y="196"/>
                    <a:pt x="1416" y="196"/>
                  </a:cubicBezTo>
                  <a:cubicBezTo>
                    <a:pt x="1419" y="199"/>
                    <a:pt x="1421" y="197"/>
                    <a:pt x="1421" y="202"/>
                  </a:cubicBezTo>
                  <a:cubicBezTo>
                    <a:pt x="1425" y="203"/>
                    <a:pt x="1427" y="195"/>
                    <a:pt x="1432" y="203"/>
                  </a:cubicBezTo>
                  <a:cubicBezTo>
                    <a:pt x="1427" y="206"/>
                    <a:pt x="1423" y="212"/>
                    <a:pt x="1415" y="207"/>
                  </a:cubicBezTo>
                  <a:cubicBezTo>
                    <a:pt x="1414" y="207"/>
                    <a:pt x="1412" y="209"/>
                    <a:pt x="1410" y="206"/>
                  </a:cubicBezTo>
                  <a:cubicBezTo>
                    <a:pt x="1412" y="205"/>
                    <a:pt x="1414" y="202"/>
                    <a:pt x="1415" y="207"/>
                  </a:cubicBezTo>
                  <a:cubicBezTo>
                    <a:pt x="1414" y="204"/>
                    <a:pt x="1417" y="203"/>
                    <a:pt x="1418" y="201"/>
                  </a:cubicBezTo>
                  <a:cubicBezTo>
                    <a:pt x="1413" y="200"/>
                    <a:pt x="1408" y="200"/>
                    <a:pt x="1407" y="206"/>
                  </a:cubicBezTo>
                  <a:cubicBezTo>
                    <a:pt x="1402" y="200"/>
                    <a:pt x="1410" y="195"/>
                    <a:pt x="1415" y="198"/>
                  </a:cubicBezTo>
                  <a:close/>
                  <a:moveTo>
                    <a:pt x="1398" y="190"/>
                  </a:moveTo>
                  <a:cubicBezTo>
                    <a:pt x="1397" y="192"/>
                    <a:pt x="1396" y="192"/>
                    <a:pt x="1394" y="191"/>
                  </a:cubicBezTo>
                  <a:cubicBezTo>
                    <a:pt x="1392" y="188"/>
                    <a:pt x="1397" y="187"/>
                    <a:pt x="1398" y="190"/>
                  </a:cubicBezTo>
                  <a:close/>
                  <a:moveTo>
                    <a:pt x="1387" y="822"/>
                  </a:moveTo>
                  <a:cubicBezTo>
                    <a:pt x="1386" y="820"/>
                    <a:pt x="1386" y="819"/>
                    <a:pt x="1386" y="818"/>
                  </a:cubicBezTo>
                  <a:cubicBezTo>
                    <a:pt x="1386" y="818"/>
                    <a:pt x="1387" y="818"/>
                    <a:pt x="1387" y="818"/>
                  </a:cubicBezTo>
                  <a:cubicBezTo>
                    <a:pt x="1389" y="820"/>
                    <a:pt x="1389" y="822"/>
                    <a:pt x="1387" y="822"/>
                  </a:cubicBezTo>
                  <a:close/>
                  <a:moveTo>
                    <a:pt x="1386" y="830"/>
                  </a:moveTo>
                  <a:cubicBezTo>
                    <a:pt x="1385" y="827"/>
                    <a:pt x="1386" y="825"/>
                    <a:pt x="1387" y="823"/>
                  </a:cubicBezTo>
                  <a:cubicBezTo>
                    <a:pt x="1389" y="827"/>
                    <a:pt x="1388" y="828"/>
                    <a:pt x="1386" y="830"/>
                  </a:cubicBezTo>
                  <a:close/>
                  <a:moveTo>
                    <a:pt x="1385" y="814"/>
                  </a:moveTo>
                  <a:cubicBezTo>
                    <a:pt x="1385" y="815"/>
                    <a:pt x="1386" y="816"/>
                    <a:pt x="1387" y="817"/>
                  </a:cubicBezTo>
                  <a:cubicBezTo>
                    <a:pt x="1386" y="817"/>
                    <a:pt x="1386" y="817"/>
                    <a:pt x="1385" y="818"/>
                  </a:cubicBezTo>
                  <a:cubicBezTo>
                    <a:pt x="1385" y="817"/>
                    <a:pt x="1384" y="818"/>
                    <a:pt x="1381" y="818"/>
                  </a:cubicBezTo>
                  <a:cubicBezTo>
                    <a:pt x="1380" y="816"/>
                    <a:pt x="1380" y="815"/>
                    <a:pt x="1380" y="813"/>
                  </a:cubicBezTo>
                  <a:cubicBezTo>
                    <a:pt x="1383" y="812"/>
                    <a:pt x="1387" y="811"/>
                    <a:pt x="1390" y="810"/>
                  </a:cubicBezTo>
                  <a:cubicBezTo>
                    <a:pt x="1390" y="814"/>
                    <a:pt x="1388" y="815"/>
                    <a:pt x="1385" y="814"/>
                  </a:cubicBezTo>
                  <a:close/>
                  <a:moveTo>
                    <a:pt x="1377" y="815"/>
                  </a:moveTo>
                  <a:cubicBezTo>
                    <a:pt x="1377" y="815"/>
                    <a:pt x="1377" y="815"/>
                    <a:pt x="1377" y="816"/>
                  </a:cubicBezTo>
                  <a:cubicBezTo>
                    <a:pt x="1377" y="816"/>
                    <a:pt x="1377" y="815"/>
                    <a:pt x="1377" y="815"/>
                  </a:cubicBezTo>
                  <a:cubicBezTo>
                    <a:pt x="1377" y="815"/>
                    <a:pt x="1377" y="815"/>
                    <a:pt x="1377" y="815"/>
                  </a:cubicBezTo>
                  <a:close/>
                  <a:moveTo>
                    <a:pt x="1374" y="1226"/>
                  </a:moveTo>
                  <a:cubicBezTo>
                    <a:pt x="1377" y="1224"/>
                    <a:pt x="1377" y="1224"/>
                    <a:pt x="1377" y="1224"/>
                  </a:cubicBezTo>
                  <a:cubicBezTo>
                    <a:pt x="1378" y="1223"/>
                    <a:pt x="1380" y="1222"/>
                    <a:pt x="1377" y="1219"/>
                  </a:cubicBezTo>
                  <a:cubicBezTo>
                    <a:pt x="1387" y="1216"/>
                    <a:pt x="1398" y="1211"/>
                    <a:pt x="1408" y="1206"/>
                  </a:cubicBezTo>
                  <a:cubicBezTo>
                    <a:pt x="1412" y="1205"/>
                    <a:pt x="1415" y="1202"/>
                    <a:pt x="1418" y="1199"/>
                  </a:cubicBezTo>
                  <a:cubicBezTo>
                    <a:pt x="1425" y="1203"/>
                    <a:pt x="1433" y="1206"/>
                    <a:pt x="1441" y="1207"/>
                  </a:cubicBezTo>
                  <a:cubicBezTo>
                    <a:pt x="1430" y="1209"/>
                    <a:pt x="1419" y="1214"/>
                    <a:pt x="1409" y="1217"/>
                  </a:cubicBezTo>
                  <a:cubicBezTo>
                    <a:pt x="1397" y="1220"/>
                    <a:pt x="1385" y="1223"/>
                    <a:pt x="1374" y="1226"/>
                  </a:cubicBezTo>
                  <a:close/>
                  <a:moveTo>
                    <a:pt x="1392" y="817"/>
                  </a:moveTo>
                  <a:cubicBezTo>
                    <a:pt x="1393" y="816"/>
                    <a:pt x="1394" y="816"/>
                    <a:pt x="1395" y="816"/>
                  </a:cubicBezTo>
                  <a:cubicBezTo>
                    <a:pt x="1396" y="818"/>
                    <a:pt x="1397" y="818"/>
                    <a:pt x="1399" y="821"/>
                  </a:cubicBezTo>
                  <a:cubicBezTo>
                    <a:pt x="1396" y="822"/>
                    <a:pt x="1396" y="822"/>
                    <a:pt x="1396" y="822"/>
                  </a:cubicBezTo>
                  <a:cubicBezTo>
                    <a:pt x="1394" y="818"/>
                    <a:pt x="1393" y="822"/>
                    <a:pt x="1391" y="821"/>
                  </a:cubicBezTo>
                  <a:cubicBezTo>
                    <a:pt x="1393" y="820"/>
                    <a:pt x="1392" y="818"/>
                    <a:pt x="1392" y="817"/>
                  </a:cubicBezTo>
                  <a:close/>
                  <a:moveTo>
                    <a:pt x="1402" y="836"/>
                  </a:moveTo>
                  <a:cubicBezTo>
                    <a:pt x="1410" y="833"/>
                    <a:pt x="1413" y="829"/>
                    <a:pt x="1420" y="825"/>
                  </a:cubicBezTo>
                  <a:cubicBezTo>
                    <a:pt x="1413" y="834"/>
                    <a:pt x="1409" y="836"/>
                    <a:pt x="1401" y="842"/>
                  </a:cubicBezTo>
                  <a:cubicBezTo>
                    <a:pt x="1400" y="840"/>
                    <a:pt x="1406" y="840"/>
                    <a:pt x="1402" y="836"/>
                  </a:cubicBezTo>
                  <a:close/>
                  <a:moveTo>
                    <a:pt x="1417" y="1130"/>
                  </a:move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lose/>
                  <a:moveTo>
                    <a:pt x="1455" y="1268"/>
                  </a:moveTo>
                  <a:cubicBezTo>
                    <a:pt x="1461" y="1266"/>
                    <a:pt x="1466" y="1264"/>
                    <a:pt x="1471" y="1262"/>
                  </a:cubicBezTo>
                  <a:cubicBezTo>
                    <a:pt x="1469" y="1266"/>
                    <a:pt x="1466" y="1272"/>
                    <a:pt x="1465" y="1277"/>
                  </a:cubicBezTo>
                  <a:cubicBezTo>
                    <a:pt x="1442" y="1281"/>
                    <a:pt x="1419" y="1283"/>
                    <a:pt x="1398" y="1291"/>
                  </a:cubicBezTo>
                  <a:cubicBezTo>
                    <a:pt x="1393" y="1292"/>
                    <a:pt x="1393" y="1292"/>
                    <a:pt x="1393" y="1292"/>
                  </a:cubicBezTo>
                  <a:cubicBezTo>
                    <a:pt x="1384" y="1288"/>
                    <a:pt x="1384" y="1288"/>
                    <a:pt x="1384" y="1288"/>
                  </a:cubicBezTo>
                  <a:cubicBezTo>
                    <a:pt x="1385" y="1288"/>
                    <a:pt x="1385" y="1288"/>
                    <a:pt x="1385" y="1288"/>
                  </a:cubicBezTo>
                  <a:cubicBezTo>
                    <a:pt x="1388" y="1287"/>
                    <a:pt x="1391" y="1287"/>
                    <a:pt x="1394" y="1286"/>
                  </a:cubicBezTo>
                  <a:cubicBezTo>
                    <a:pt x="1391" y="1285"/>
                    <a:pt x="1391" y="1285"/>
                    <a:pt x="1391" y="1285"/>
                  </a:cubicBezTo>
                  <a:cubicBezTo>
                    <a:pt x="1401" y="1282"/>
                    <a:pt x="1412" y="1278"/>
                    <a:pt x="1422" y="1275"/>
                  </a:cubicBezTo>
                  <a:cubicBezTo>
                    <a:pt x="1433" y="1273"/>
                    <a:pt x="1444" y="1271"/>
                    <a:pt x="1455" y="1268"/>
                  </a:cubicBezTo>
                  <a:close/>
                  <a:moveTo>
                    <a:pt x="1456" y="1086"/>
                  </a:moveTo>
                  <a:cubicBezTo>
                    <a:pt x="1459" y="1090"/>
                    <a:pt x="1461" y="1082"/>
                    <a:pt x="1465" y="1085"/>
                  </a:cubicBezTo>
                  <a:cubicBezTo>
                    <a:pt x="1466" y="1089"/>
                    <a:pt x="1460" y="1089"/>
                    <a:pt x="1456" y="1091"/>
                  </a:cubicBezTo>
                  <a:cubicBezTo>
                    <a:pt x="1452" y="1088"/>
                    <a:pt x="1455" y="1085"/>
                    <a:pt x="1451" y="1081"/>
                  </a:cubicBezTo>
                  <a:cubicBezTo>
                    <a:pt x="1465" y="1076"/>
                    <a:pt x="1472" y="1068"/>
                    <a:pt x="1486" y="1068"/>
                  </a:cubicBezTo>
                  <a:cubicBezTo>
                    <a:pt x="1479" y="1074"/>
                    <a:pt x="1468" y="1077"/>
                    <a:pt x="1456" y="1086"/>
                  </a:cubicBezTo>
                  <a:close/>
                  <a:moveTo>
                    <a:pt x="1479" y="781"/>
                  </a:moveTo>
                  <a:cubicBezTo>
                    <a:pt x="1477" y="789"/>
                    <a:pt x="1463" y="793"/>
                    <a:pt x="1458" y="794"/>
                  </a:cubicBezTo>
                  <a:cubicBezTo>
                    <a:pt x="1457" y="805"/>
                    <a:pt x="1435" y="810"/>
                    <a:pt x="1425" y="809"/>
                  </a:cubicBezTo>
                  <a:cubicBezTo>
                    <a:pt x="1417" y="813"/>
                    <a:pt x="1419" y="816"/>
                    <a:pt x="1412" y="819"/>
                  </a:cubicBezTo>
                  <a:cubicBezTo>
                    <a:pt x="1414" y="818"/>
                    <a:pt x="1420" y="820"/>
                    <a:pt x="1420" y="818"/>
                  </a:cubicBezTo>
                  <a:cubicBezTo>
                    <a:pt x="1422" y="822"/>
                    <a:pt x="1417" y="824"/>
                    <a:pt x="1409" y="827"/>
                  </a:cubicBezTo>
                  <a:cubicBezTo>
                    <a:pt x="1409" y="827"/>
                    <a:pt x="1409" y="825"/>
                    <a:pt x="1411" y="825"/>
                  </a:cubicBezTo>
                  <a:cubicBezTo>
                    <a:pt x="1407" y="826"/>
                    <a:pt x="1403" y="829"/>
                    <a:pt x="1399" y="832"/>
                  </a:cubicBezTo>
                  <a:cubicBezTo>
                    <a:pt x="1396" y="827"/>
                    <a:pt x="1396" y="827"/>
                    <a:pt x="1396" y="827"/>
                  </a:cubicBezTo>
                  <a:cubicBezTo>
                    <a:pt x="1400" y="825"/>
                    <a:pt x="1400" y="822"/>
                    <a:pt x="1398" y="818"/>
                  </a:cubicBezTo>
                  <a:cubicBezTo>
                    <a:pt x="1397" y="817"/>
                    <a:pt x="1396" y="816"/>
                    <a:pt x="1395" y="815"/>
                  </a:cubicBezTo>
                  <a:cubicBezTo>
                    <a:pt x="1397" y="814"/>
                    <a:pt x="1398" y="813"/>
                    <a:pt x="1397" y="811"/>
                  </a:cubicBezTo>
                  <a:cubicBezTo>
                    <a:pt x="1397" y="812"/>
                    <a:pt x="1396" y="813"/>
                    <a:pt x="1395" y="814"/>
                  </a:cubicBezTo>
                  <a:cubicBezTo>
                    <a:pt x="1393" y="812"/>
                    <a:pt x="1392" y="810"/>
                    <a:pt x="1391" y="809"/>
                  </a:cubicBezTo>
                  <a:cubicBezTo>
                    <a:pt x="1392" y="809"/>
                    <a:pt x="1393" y="809"/>
                    <a:pt x="1393" y="809"/>
                  </a:cubicBezTo>
                  <a:cubicBezTo>
                    <a:pt x="1391" y="803"/>
                    <a:pt x="1385" y="808"/>
                    <a:pt x="1382" y="804"/>
                  </a:cubicBezTo>
                  <a:cubicBezTo>
                    <a:pt x="1395" y="801"/>
                    <a:pt x="1399" y="791"/>
                    <a:pt x="1408" y="789"/>
                  </a:cubicBezTo>
                  <a:cubicBezTo>
                    <a:pt x="1409" y="792"/>
                    <a:pt x="1409" y="792"/>
                    <a:pt x="1409" y="792"/>
                  </a:cubicBezTo>
                  <a:cubicBezTo>
                    <a:pt x="1411" y="794"/>
                    <a:pt x="1408" y="795"/>
                    <a:pt x="1407" y="796"/>
                  </a:cubicBezTo>
                  <a:cubicBezTo>
                    <a:pt x="1410" y="798"/>
                    <a:pt x="1412" y="792"/>
                    <a:pt x="1409" y="789"/>
                  </a:cubicBezTo>
                  <a:cubicBezTo>
                    <a:pt x="1412" y="787"/>
                    <a:pt x="1413" y="785"/>
                    <a:pt x="1418" y="783"/>
                  </a:cubicBezTo>
                  <a:cubicBezTo>
                    <a:pt x="1419" y="786"/>
                    <a:pt x="1416" y="787"/>
                    <a:pt x="1414" y="788"/>
                  </a:cubicBezTo>
                  <a:cubicBezTo>
                    <a:pt x="1419" y="792"/>
                    <a:pt x="1424" y="782"/>
                    <a:pt x="1428" y="777"/>
                  </a:cubicBezTo>
                  <a:cubicBezTo>
                    <a:pt x="1431" y="774"/>
                    <a:pt x="1431" y="781"/>
                    <a:pt x="1433" y="779"/>
                  </a:cubicBezTo>
                  <a:cubicBezTo>
                    <a:pt x="1436" y="775"/>
                    <a:pt x="1459" y="764"/>
                    <a:pt x="1466" y="766"/>
                  </a:cubicBezTo>
                  <a:cubicBezTo>
                    <a:pt x="1468" y="763"/>
                    <a:pt x="1468" y="762"/>
                    <a:pt x="1465" y="759"/>
                  </a:cubicBezTo>
                  <a:cubicBezTo>
                    <a:pt x="1468" y="757"/>
                    <a:pt x="1471" y="757"/>
                    <a:pt x="1473" y="760"/>
                  </a:cubicBezTo>
                  <a:cubicBezTo>
                    <a:pt x="1474" y="752"/>
                    <a:pt x="1483" y="754"/>
                    <a:pt x="1490" y="754"/>
                  </a:cubicBezTo>
                  <a:cubicBezTo>
                    <a:pt x="1493" y="752"/>
                    <a:pt x="1486" y="751"/>
                    <a:pt x="1489" y="750"/>
                  </a:cubicBezTo>
                  <a:cubicBezTo>
                    <a:pt x="1492" y="748"/>
                    <a:pt x="1491" y="750"/>
                    <a:pt x="1491" y="752"/>
                  </a:cubicBezTo>
                  <a:cubicBezTo>
                    <a:pt x="1494" y="750"/>
                    <a:pt x="1493" y="747"/>
                    <a:pt x="1495" y="745"/>
                  </a:cubicBezTo>
                  <a:cubicBezTo>
                    <a:pt x="1496" y="746"/>
                    <a:pt x="1497" y="746"/>
                    <a:pt x="1499" y="746"/>
                  </a:cubicBezTo>
                  <a:cubicBezTo>
                    <a:pt x="1499" y="749"/>
                    <a:pt x="1500" y="752"/>
                    <a:pt x="1502" y="755"/>
                  </a:cubicBezTo>
                  <a:cubicBezTo>
                    <a:pt x="1504" y="754"/>
                    <a:pt x="1500" y="750"/>
                    <a:pt x="1500" y="748"/>
                  </a:cubicBezTo>
                  <a:cubicBezTo>
                    <a:pt x="1504" y="744"/>
                    <a:pt x="1506" y="749"/>
                    <a:pt x="1509" y="748"/>
                  </a:cubicBezTo>
                  <a:cubicBezTo>
                    <a:pt x="1507" y="746"/>
                    <a:pt x="1507" y="742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9" y="737"/>
                    <a:pt x="1512" y="735"/>
                    <a:pt x="1515" y="739"/>
                  </a:cubicBezTo>
                  <a:cubicBezTo>
                    <a:pt x="1512" y="742"/>
                    <a:pt x="1510" y="740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9" y="743"/>
                    <a:pt x="1512" y="743"/>
                    <a:pt x="1511" y="746"/>
                  </a:cubicBezTo>
                  <a:cubicBezTo>
                    <a:pt x="1514" y="740"/>
                    <a:pt x="1516" y="743"/>
                    <a:pt x="1522" y="742"/>
                  </a:cubicBezTo>
                  <a:cubicBezTo>
                    <a:pt x="1521" y="739"/>
                    <a:pt x="1522" y="734"/>
                    <a:pt x="1517" y="731"/>
                  </a:cubicBezTo>
                  <a:cubicBezTo>
                    <a:pt x="1521" y="732"/>
                    <a:pt x="1526" y="731"/>
                    <a:pt x="1530" y="731"/>
                  </a:cubicBezTo>
                  <a:cubicBezTo>
                    <a:pt x="1531" y="734"/>
                    <a:pt x="1527" y="735"/>
                    <a:pt x="1524" y="736"/>
                  </a:cubicBezTo>
                  <a:cubicBezTo>
                    <a:pt x="1523" y="738"/>
                    <a:pt x="1528" y="740"/>
                    <a:pt x="1529" y="741"/>
                  </a:cubicBezTo>
                  <a:cubicBezTo>
                    <a:pt x="1532" y="740"/>
                    <a:pt x="1527" y="740"/>
                    <a:pt x="1529" y="737"/>
                  </a:cubicBezTo>
                  <a:cubicBezTo>
                    <a:pt x="1532" y="737"/>
                    <a:pt x="1534" y="737"/>
                    <a:pt x="1537" y="735"/>
                  </a:cubicBezTo>
                  <a:cubicBezTo>
                    <a:pt x="1540" y="737"/>
                    <a:pt x="1538" y="737"/>
                    <a:pt x="1539" y="740"/>
                  </a:cubicBezTo>
                  <a:cubicBezTo>
                    <a:pt x="1544" y="733"/>
                    <a:pt x="1537" y="727"/>
                    <a:pt x="1545" y="724"/>
                  </a:cubicBezTo>
                  <a:cubicBezTo>
                    <a:pt x="1544" y="723"/>
                    <a:pt x="1542" y="723"/>
                    <a:pt x="1540" y="724"/>
                  </a:cubicBezTo>
                  <a:cubicBezTo>
                    <a:pt x="1548" y="708"/>
                    <a:pt x="1572" y="714"/>
                    <a:pt x="1577" y="703"/>
                  </a:cubicBezTo>
                  <a:cubicBezTo>
                    <a:pt x="1582" y="704"/>
                    <a:pt x="1580" y="706"/>
                    <a:pt x="1583" y="701"/>
                  </a:cubicBezTo>
                  <a:cubicBezTo>
                    <a:pt x="1588" y="706"/>
                    <a:pt x="1585" y="710"/>
                    <a:pt x="1582" y="714"/>
                  </a:cubicBezTo>
                  <a:cubicBezTo>
                    <a:pt x="1584" y="714"/>
                    <a:pt x="1585" y="713"/>
                    <a:pt x="1586" y="713"/>
                  </a:cubicBezTo>
                  <a:cubicBezTo>
                    <a:pt x="1587" y="717"/>
                    <a:pt x="1587" y="716"/>
                    <a:pt x="1590" y="718"/>
                  </a:cubicBezTo>
                  <a:cubicBezTo>
                    <a:pt x="1593" y="715"/>
                    <a:pt x="1584" y="713"/>
                    <a:pt x="1587" y="709"/>
                  </a:cubicBezTo>
                  <a:cubicBezTo>
                    <a:pt x="1590" y="712"/>
                    <a:pt x="1595" y="703"/>
                    <a:pt x="1602" y="705"/>
                  </a:cubicBezTo>
                  <a:cubicBezTo>
                    <a:pt x="1603" y="704"/>
                    <a:pt x="1601" y="703"/>
                    <a:pt x="1600" y="704"/>
                  </a:cubicBezTo>
                  <a:cubicBezTo>
                    <a:pt x="1600" y="700"/>
                    <a:pt x="1606" y="705"/>
                    <a:pt x="1609" y="702"/>
                  </a:cubicBezTo>
                  <a:cubicBezTo>
                    <a:pt x="1607" y="702"/>
                    <a:pt x="1606" y="702"/>
                    <a:pt x="1604" y="702"/>
                  </a:cubicBezTo>
                  <a:cubicBezTo>
                    <a:pt x="1603" y="698"/>
                    <a:pt x="1607" y="702"/>
                    <a:pt x="1609" y="700"/>
                  </a:cubicBezTo>
                  <a:cubicBezTo>
                    <a:pt x="1608" y="699"/>
                    <a:pt x="1607" y="699"/>
                    <a:pt x="1606" y="699"/>
                  </a:cubicBezTo>
                  <a:cubicBezTo>
                    <a:pt x="1605" y="696"/>
                    <a:pt x="1611" y="696"/>
                    <a:pt x="1611" y="693"/>
                  </a:cubicBezTo>
                  <a:cubicBezTo>
                    <a:pt x="1613" y="695"/>
                    <a:pt x="1619" y="696"/>
                    <a:pt x="1619" y="691"/>
                  </a:cubicBezTo>
                  <a:cubicBezTo>
                    <a:pt x="1635" y="690"/>
                    <a:pt x="1651" y="683"/>
                    <a:pt x="1665" y="677"/>
                  </a:cubicBezTo>
                  <a:cubicBezTo>
                    <a:pt x="1667" y="680"/>
                    <a:pt x="1667" y="680"/>
                    <a:pt x="1667" y="680"/>
                  </a:cubicBezTo>
                  <a:cubicBezTo>
                    <a:pt x="1675" y="671"/>
                    <a:pt x="1686" y="669"/>
                    <a:pt x="1696" y="664"/>
                  </a:cubicBezTo>
                  <a:cubicBezTo>
                    <a:pt x="1692" y="676"/>
                    <a:pt x="1676" y="676"/>
                    <a:pt x="1665" y="682"/>
                  </a:cubicBezTo>
                  <a:cubicBezTo>
                    <a:pt x="1659" y="686"/>
                    <a:pt x="1656" y="693"/>
                    <a:pt x="1649" y="694"/>
                  </a:cubicBezTo>
                  <a:cubicBezTo>
                    <a:pt x="1646" y="690"/>
                    <a:pt x="1654" y="691"/>
                    <a:pt x="1654" y="688"/>
                  </a:cubicBezTo>
                  <a:cubicBezTo>
                    <a:pt x="1652" y="686"/>
                    <a:pt x="1651" y="689"/>
                    <a:pt x="1648" y="689"/>
                  </a:cubicBezTo>
                  <a:cubicBezTo>
                    <a:pt x="1643" y="706"/>
                    <a:pt x="1618" y="707"/>
                    <a:pt x="1603" y="715"/>
                  </a:cubicBezTo>
                  <a:cubicBezTo>
                    <a:pt x="1590" y="722"/>
                    <a:pt x="1582" y="732"/>
                    <a:pt x="1572" y="735"/>
                  </a:cubicBezTo>
                  <a:cubicBezTo>
                    <a:pt x="1571" y="734"/>
                    <a:pt x="1569" y="735"/>
                    <a:pt x="1568" y="732"/>
                  </a:cubicBezTo>
                  <a:cubicBezTo>
                    <a:pt x="1566" y="737"/>
                    <a:pt x="1560" y="735"/>
                    <a:pt x="1555" y="738"/>
                  </a:cubicBezTo>
                  <a:cubicBezTo>
                    <a:pt x="1552" y="735"/>
                    <a:pt x="1555" y="735"/>
                    <a:pt x="1550" y="738"/>
                  </a:cubicBezTo>
                  <a:cubicBezTo>
                    <a:pt x="1551" y="735"/>
                    <a:pt x="1549" y="735"/>
                    <a:pt x="1547" y="732"/>
                  </a:cubicBezTo>
                  <a:cubicBezTo>
                    <a:pt x="1550" y="730"/>
                    <a:pt x="1550" y="733"/>
                    <a:pt x="1552" y="734"/>
                  </a:cubicBezTo>
                  <a:cubicBezTo>
                    <a:pt x="1553" y="731"/>
                    <a:pt x="1554" y="729"/>
                    <a:pt x="1553" y="726"/>
                  </a:cubicBezTo>
                  <a:cubicBezTo>
                    <a:pt x="1556" y="726"/>
                    <a:pt x="1558" y="729"/>
                    <a:pt x="1560" y="729"/>
                  </a:cubicBezTo>
                  <a:cubicBezTo>
                    <a:pt x="1562" y="728"/>
                    <a:pt x="1561" y="725"/>
                    <a:pt x="1563" y="723"/>
                  </a:cubicBezTo>
                  <a:cubicBezTo>
                    <a:pt x="1559" y="721"/>
                    <a:pt x="1552" y="727"/>
                    <a:pt x="1547" y="724"/>
                  </a:cubicBezTo>
                  <a:cubicBezTo>
                    <a:pt x="1542" y="731"/>
                    <a:pt x="1547" y="741"/>
                    <a:pt x="1538" y="746"/>
                  </a:cubicBezTo>
                  <a:cubicBezTo>
                    <a:pt x="1540" y="748"/>
                    <a:pt x="1543" y="747"/>
                    <a:pt x="1546" y="746"/>
                  </a:cubicBezTo>
                  <a:cubicBezTo>
                    <a:pt x="1541" y="756"/>
                    <a:pt x="1530" y="752"/>
                    <a:pt x="1527" y="761"/>
                  </a:cubicBezTo>
                  <a:cubicBezTo>
                    <a:pt x="1525" y="760"/>
                    <a:pt x="1523" y="762"/>
                    <a:pt x="1521" y="759"/>
                  </a:cubicBezTo>
                  <a:cubicBezTo>
                    <a:pt x="1519" y="761"/>
                    <a:pt x="1514" y="769"/>
                    <a:pt x="1511" y="765"/>
                  </a:cubicBezTo>
                  <a:cubicBezTo>
                    <a:pt x="1509" y="766"/>
                    <a:pt x="1512" y="770"/>
                    <a:pt x="1509" y="770"/>
                  </a:cubicBezTo>
                  <a:cubicBezTo>
                    <a:pt x="1499" y="766"/>
                    <a:pt x="1489" y="783"/>
                    <a:pt x="1479" y="781"/>
                  </a:cubicBezTo>
                  <a:close/>
                  <a:moveTo>
                    <a:pt x="1524" y="1048"/>
                  </a:moveTo>
                  <a:cubicBezTo>
                    <a:pt x="1526" y="1049"/>
                    <a:pt x="1529" y="1048"/>
                    <a:pt x="1532" y="1048"/>
                  </a:cubicBezTo>
                  <a:cubicBezTo>
                    <a:pt x="1532" y="1051"/>
                    <a:pt x="1524" y="1054"/>
                    <a:pt x="1522" y="1053"/>
                  </a:cubicBezTo>
                  <a:cubicBezTo>
                    <a:pt x="1520" y="1050"/>
                    <a:pt x="1527" y="1051"/>
                    <a:pt x="1524" y="1048"/>
                  </a:cubicBezTo>
                  <a:close/>
                  <a:moveTo>
                    <a:pt x="1511" y="790"/>
                  </a:moveTo>
                  <a:cubicBezTo>
                    <a:pt x="1510" y="785"/>
                    <a:pt x="1515" y="787"/>
                    <a:pt x="1518" y="785"/>
                  </a:cubicBezTo>
                  <a:cubicBezTo>
                    <a:pt x="1519" y="789"/>
                    <a:pt x="1514" y="789"/>
                    <a:pt x="1511" y="790"/>
                  </a:cubicBezTo>
                  <a:close/>
                  <a:moveTo>
                    <a:pt x="1513" y="1056"/>
                  </a:moveTo>
                  <a:cubicBezTo>
                    <a:pt x="1513" y="1053"/>
                    <a:pt x="1513" y="1051"/>
                    <a:pt x="1517" y="1050"/>
                  </a:cubicBezTo>
                  <a:cubicBezTo>
                    <a:pt x="1518" y="1053"/>
                    <a:pt x="1516" y="1057"/>
                    <a:pt x="1513" y="1056"/>
                  </a:cubicBezTo>
                  <a:close/>
                  <a:moveTo>
                    <a:pt x="1506" y="1055"/>
                  </a:moveTo>
                  <a:cubicBezTo>
                    <a:pt x="1508" y="1053"/>
                    <a:pt x="1509" y="1054"/>
                    <a:pt x="1511" y="1054"/>
                  </a:cubicBezTo>
                  <a:cubicBezTo>
                    <a:pt x="1510" y="1056"/>
                    <a:pt x="1509" y="1060"/>
                    <a:pt x="1514" y="1057"/>
                  </a:cubicBezTo>
                  <a:cubicBezTo>
                    <a:pt x="1511" y="1060"/>
                    <a:pt x="1503" y="1062"/>
                    <a:pt x="1498" y="1065"/>
                  </a:cubicBezTo>
                  <a:cubicBezTo>
                    <a:pt x="1497" y="1058"/>
                    <a:pt x="1509" y="1062"/>
                    <a:pt x="1506" y="1055"/>
                  </a:cubicBezTo>
                  <a:close/>
                  <a:moveTo>
                    <a:pt x="1513" y="1063"/>
                  </a:moveTo>
                  <a:cubicBezTo>
                    <a:pt x="1518" y="1064"/>
                    <a:pt x="1522" y="1059"/>
                    <a:pt x="1527" y="1057"/>
                  </a:cubicBezTo>
                  <a:cubicBezTo>
                    <a:pt x="1525" y="1059"/>
                    <a:pt x="1518" y="1069"/>
                    <a:pt x="1513" y="1063"/>
                  </a:cubicBezTo>
                  <a:close/>
                  <a:moveTo>
                    <a:pt x="1529" y="1058"/>
                  </a:moveTo>
                  <a:cubicBezTo>
                    <a:pt x="1529" y="1053"/>
                    <a:pt x="1535" y="1055"/>
                    <a:pt x="1538" y="1051"/>
                  </a:cubicBezTo>
                  <a:cubicBezTo>
                    <a:pt x="1540" y="1057"/>
                    <a:pt x="1530" y="1055"/>
                    <a:pt x="1529" y="1058"/>
                  </a:cubicBezTo>
                  <a:close/>
                  <a:moveTo>
                    <a:pt x="1602" y="1014"/>
                  </a:moveTo>
                  <a:cubicBezTo>
                    <a:pt x="1603" y="1016"/>
                    <a:pt x="1601" y="1017"/>
                    <a:pt x="1601" y="1020"/>
                  </a:cubicBezTo>
                  <a:cubicBezTo>
                    <a:pt x="1600" y="1020"/>
                    <a:pt x="1599" y="1016"/>
                    <a:pt x="1596" y="1019"/>
                  </a:cubicBezTo>
                  <a:cubicBezTo>
                    <a:pt x="1595" y="1016"/>
                    <a:pt x="1599" y="1015"/>
                    <a:pt x="1602" y="1014"/>
                  </a:cubicBezTo>
                  <a:close/>
                  <a:moveTo>
                    <a:pt x="1563" y="1034"/>
                  </a:moveTo>
                  <a:cubicBezTo>
                    <a:pt x="1561" y="1032"/>
                    <a:pt x="1566" y="1032"/>
                    <a:pt x="1568" y="1031"/>
                  </a:cubicBezTo>
                  <a:cubicBezTo>
                    <a:pt x="1567" y="1028"/>
                    <a:pt x="1564" y="1032"/>
                    <a:pt x="1562" y="1032"/>
                  </a:cubicBezTo>
                  <a:cubicBezTo>
                    <a:pt x="1563" y="1027"/>
                    <a:pt x="1566" y="1029"/>
                    <a:pt x="1570" y="1028"/>
                  </a:cubicBezTo>
                  <a:cubicBezTo>
                    <a:pt x="1569" y="1032"/>
                    <a:pt x="1567" y="1035"/>
                    <a:pt x="1563" y="1034"/>
                  </a:cubicBezTo>
                  <a:close/>
                  <a:moveTo>
                    <a:pt x="1583" y="1027"/>
                  </a:moveTo>
                  <a:cubicBezTo>
                    <a:pt x="1583" y="1024"/>
                    <a:pt x="1585" y="1020"/>
                    <a:pt x="1588" y="1022"/>
                  </a:cubicBezTo>
                  <a:cubicBezTo>
                    <a:pt x="1589" y="1025"/>
                    <a:pt x="1586" y="1028"/>
                    <a:pt x="1583" y="1027"/>
                  </a:cubicBezTo>
                  <a:close/>
                  <a:moveTo>
                    <a:pt x="1577" y="1024"/>
                  </a:moveTo>
                  <a:cubicBezTo>
                    <a:pt x="1577" y="1018"/>
                    <a:pt x="1587" y="1017"/>
                    <a:pt x="1591" y="1016"/>
                  </a:cubicBezTo>
                  <a:cubicBezTo>
                    <a:pt x="1586" y="1019"/>
                    <a:pt x="1583" y="1023"/>
                    <a:pt x="1577" y="1024"/>
                  </a:cubicBezTo>
                  <a:close/>
                  <a:moveTo>
                    <a:pt x="1614" y="792"/>
                  </a:moveTo>
                  <a:cubicBezTo>
                    <a:pt x="1612" y="796"/>
                    <a:pt x="1600" y="803"/>
                    <a:pt x="1593" y="806"/>
                  </a:cubicBezTo>
                  <a:cubicBezTo>
                    <a:pt x="1593" y="806"/>
                    <a:pt x="1593" y="807"/>
                    <a:pt x="1591" y="807"/>
                  </a:cubicBezTo>
                  <a:cubicBezTo>
                    <a:pt x="1592" y="807"/>
                    <a:pt x="1593" y="806"/>
                    <a:pt x="1593" y="806"/>
                  </a:cubicBezTo>
                  <a:cubicBezTo>
                    <a:pt x="1595" y="805"/>
                    <a:pt x="1590" y="805"/>
                    <a:pt x="1589" y="804"/>
                  </a:cubicBezTo>
                  <a:cubicBezTo>
                    <a:pt x="1597" y="800"/>
                    <a:pt x="1605" y="799"/>
                    <a:pt x="1603" y="792"/>
                  </a:cubicBezTo>
                  <a:cubicBezTo>
                    <a:pt x="1605" y="792"/>
                    <a:pt x="1606" y="792"/>
                    <a:pt x="1608" y="792"/>
                  </a:cubicBezTo>
                  <a:cubicBezTo>
                    <a:pt x="1607" y="793"/>
                    <a:pt x="1606" y="793"/>
                    <a:pt x="1606" y="795"/>
                  </a:cubicBezTo>
                  <a:cubicBezTo>
                    <a:pt x="1614" y="793"/>
                    <a:pt x="1601" y="788"/>
                    <a:pt x="1607" y="784"/>
                  </a:cubicBezTo>
                  <a:cubicBezTo>
                    <a:pt x="1610" y="790"/>
                    <a:pt x="1613" y="780"/>
                    <a:pt x="1616" y="789"/>
                  </a:cubicBezTo>
                  <a:cubicBezTo>
                    <a:pt x="1613" y="791"/>
                    <a:pt x="1611" y="788"/>
                    <a:pt x="1612" y="792"/>
                  </a:cubicBezTo>
                  <a:cubicBezTo>
                    <a:pt x="1619" y="789"/>
                    <a:pt x="1626" y="785"/>
                    <a:pt x="1630" y="782"/>
                  </a:cubicBezTo>
                  <a:cubicBezTo>
                    <a:pt x="1631" y="784"/>
                    <a:pt x="1631" y="784"/>
                    <a:pt x="1631" y="784"/>
                  </a:cubicBezTo>
                  <a:cubicBezTo>
                    <a:pt x="1626" y="789"/>
                    <a:pt x="1619" y="793"/>
                    <a:pt x="1614" y="792"/>
                  </a:cubicBezTo>
                  <a:close/>
                  <a:moveTo>
                    <a:pt x="1920" y="823"/>
                  </a:moveTo>
                  <a:cubicBezTo>
                    <a:pt x="1922" y="826"/>
                    <a:pt x="1914" y="829"/>
                    <a:pt x="1912" y="828"/>
                  </a:cubicBezTo>
                  <a:cubicBezTo>
                    <a:pt x="1912" y="823"/>
                    <a:pt x="1918" y="823"/>
                    <a:pt x="1920" y="8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0" name="任意多边形: 形状 10309">
              <a:extLst>
                <a:ext uri="{FF2B5EF4-FFF2-40B4-BE49-F238E27FC236}">
                  <a16:creationId xmlns:a16="http://schemas.microsoft.com/office/drawing/2014/main" id="{B3EE1B0E-3DE7-4ED5-8C49-F6941C8F911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7351" y="-7023090"/>
              <a:ext cx="42863" cy="12700"/>
            </a:xfrm>
            <a:custGeom>
              <a:avLst/>
              <a:gdLst>
                <a:gd name="T0" fmla="*/ 2 w 13"/>
                <a:gd name="T1" fmla="*/ 1 h 4"/>
                <a:gd name="T2" fmla="*/ 0 w 13"/>
                <a:gd name="T3" fmla="*/ 3 h 4"/>
                <a:gd name="T4" fmla="*/ 13 w 13"/>
                <a:gd name="T5" fmla="*/ 0 h 4"/>
                <a:gd name="T6" fmla="*/ 2 w 13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2" y="1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5" y="1"/>
                    <a:pt x="8" y="4"/>
                    <a:pt x="13" y="0"/>
                  </a:cubicBezTo>
                  <a:cubicBezTo>
                    <a:pt x="9" y="0"/>
                    <a:pt x="5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1" name="任意多边形: 形状 10310">
              <a:extLst>
                <a:ext uri="{FF2B5EF4-FFF2-40B4-BE49-F238E27FC236}">
                  <a16:creationId xmlns:a16="http://schemas.microsoft.com/office/drawing/2014/main" id="{C8410BF5-01D4-4F79-8D00-BA9315E0AAC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14276" y="-6961177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2" name="任意多边形: 形状 10311">
              <a:extLst>
                <a:ext uri="{FF2B5EF4-FFF2-40B4-BE49-F238E27FC236}">
                  <a16:creationId xmlns:a16="http://schemas.microsoft.com/office/drawing/2014/main" id="{71D93CBA-2AD1-49F0-BBDA-F7797480F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65727" y="-8410569"/>
              <a:ext cx="30163" cy="33338"/>
            </a:xfrm>
            <a:custGeom>
              <a:avLst/>
              <a:gdLst>
                <a:gd name="T0" fmla="*/ 9 w 9"/>
                <a:gd name="T1" fmla="*/ 0 h 10"/>
                <a:gd name="T2" fmla="*/ 0 w 9"/>
                <a:gd name="T3" fmla="*/ 5 h 10"/>
                <a:gd name="T4" fmla="*/ 9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cubicBezTo>
                    <a:pt x="5" y="3"/>
                    <a:pt x="5" y="4"/>
                    <a:pt x="0" y="5"/>
                  </a:cubicBezTo>
                  <a:cubicBezTo>
                    <a:pt x="3" y="10"/>
                    <a:pt x="8" y="2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3" name="任意多边形: 形状 10312">
              <a:extLst>
                <a:ext uri="{FF2B5EF4-FFF2-40B4-BE49-F238E27FC236}">
                  <a16:creationId xmlns:a16="http://schemas.microsoft.com/office/drawing/2014/main" id="{4897E11C-AE09-4FA7-8333-7C506FEFCD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99127" y="-7270740"/>
              <a:ext cx="66675" cy="30163"/>
            </a:xfrm>
            <a:custGeom>
              <a:avLst/>
              <a:gdLst>
                <a:gd name="T0" fmla="*/ 5 w 20"/>
                <a:gd name="T1" fmla="*/ 9 h 9"/>
                <a:gd name="T2" fmla="*/ 20 w 20"/>
                <a:gd name="T3" fmla="*/ 0 h 9"/>
                <a:gd name="T4" fmla="*/ 5 w 20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9">
                  <a:moveTo>
                    <a:pt x="5" y="9"/>
                  </a:moveTo>
                  <a:cubicBezTo>
                    <a:pt x="6" y="5"/>
                    <a:pt x="19" y="2"/>
                    <a:pt x="20" y="0"/>
                  </a:cubicBezTo>
                  <a:cubicBezTo>
                    <a:pt x="17" y="0"/>
                    <a:pt x="0" y="7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4" name="任意多边形: 形状 10313">
              <a:extLst>
                <a:ext uri="{FF2B5EF4-FFF2-40B4-BE49-F238E27FC236}">
                  <a16:creationId xmlns:a16="http://schemas.microsoft.com/office/drawing/2014/main" id="{90CC0260-EA95-4EB5-9D8E-8494DD01F0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81577" y="-8081955"/>
              <a:ext cx="36513" cy="23813"/>
            </a:xfrm>
            <a:custGeom>
              <a:avLst/>
              <a:gdLst>
                <a:gd name="T0" fmla="*/ 6 w 11"/>
                <a:gd name="T1" fmla="*/ 7 h 7"/>
                <a:gd name="T2" fmla="*/ 11 w 11"/>
                <a:gd name="T3" fmla="*/ 0 h 7"/>
                <a:gd name="T4" fmla="*/ 0 w 11"/>
                <a:gd name="T5" fmla="*/ 3 h 7"/>
                <a:gd name="T6" fmla="*/ 6 w 1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6" y="7"/>
                  </a:moveTo>
                  <a:cubicBezTo>
                    <a:pt x="10" y="6"/>
                    <a:pt x="10" y="3"/>
                    <a:pt x="11" y="0"/>
                  </a:cubicBezTo>
                  <a:cubicBezTo>
                    <a:pt x="7" y="4"/>
                    <a:pt x="4" y="4"/>
                    <a:pt x="0" y="3"/>
                  </a:cubicBezTo>
                  <a:cubicBezTo>
                    <a:pt x="2" y="6"/>
                    <a:pt x="5" y="4"/>
                    <a:pt x="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5" name="任意多边形: 形状 10314">
              <a:extLst>
                <a:ext uri="{FF2B5EF4-FFF2-40B4-BE49-F238E27FC236}">
                  <a16:creationId xmlns:a16="http://schemas.microsoft.com/office/drawing/2014/main" id="{DCF8FEFA-71DA-4A6A-901B-EA72AFD5AA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54589" y="-7785092"/>
              <a:ext cx="39688" cy="26988"/>
            </a:xfrm>
            <a:custGeom>
              <a:avLst/>
              <a:gdLst>
                <a:gd name="T0" fmla="*/ 11 w 12"/>
                <a:gd name="T1" fmla="*/ 3 h 8"/>
                <a:gd name="T2" fmla="*/ 3 w 12"/>
                <a:gd name="T3" fmla="*/ 2 h 8"/>
                <a:gd name="T4" fmla="*/ 5 w 12"/>
                <a:gd name="T5" fmla="*/ 7 h 8"/>
                <a:gd name="T6" fmla="*/ 5 w 12"/>
                <a:gd name="T7" fmla="*/ 3 h 8"/>
                <a:gd name="T8" fmla="*/ 11 w 1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11" y="3"/>
                  </a:moveTo>
                  <a:cubicBezTo>
                    <a:pt x="8" y="5"/>
                    <a:pt x="7" y="0"/>
                    <a:pt x="3" y="2"/>
                  </a:cubicBezTo>
                  <a:cubicBezTo>
                    <a:pt x="2" y="4"/>
                    <a:pt x="0" y="8"/>
                    <a:pt x="5" y="7"/>
                  </a:cubicBezTo>
                  <a:cubicBezTo>
                    <a:pt x="4" y="6"/>
                    <a:pt x="4" y="4"/>
                    <a:pt x="5" y="3"/>
                  </a:cubicBezTo>
                  <a:cubicBezTo>
                    <a:pt x="6" y="7"/>
                    <a:pt x="12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6" name="任意多边形: 形状 10315">
              <a:extLst>
                <a:ext uri="{FF2B5EF4-FFF2-40B4-BE49-F238E27FC236}">
                  <a16:creationId xmlns:a16="http://schemas.microsoft.com/office/drawing/2014/main" id="{C22B4489-47BC-4692-ACD9-1192F58FBD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48202" y="-7362816"/>
              <a:ext cx="65088" cy="39688"/>
            </a:xfrm>
            <a:custGeom>
              <a:avLst/>
              <a:gdLst>
                <a:gd name="T0" fmla="*/ 17 w 20"/>
                <a:gd name="T1" fmla="*/ 8 h 12"/>
                <a:gd name="T2" fmla="*/ 18 w 20"/>
                <a:gd name="T3" fmla="*/ 0 h 12"/>
                <a:gd name="T4" fmla="*/ 17 w 20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17" y="8"/>
                  </a:moveTo>
                  <a:cubicBezTo>
                    <a:pt x="18" y="5"/>
                    <a:pt x="20" y="3"/>
                    <a:pt x="18" y="0"/>
                  </a:cubicBezTo>
                  <a:cubicBezTo>
                    <a:pt x="19" y="8"/>
                    <a:pt x="0" y="12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7" name="任意多边形: 形状 10316">
              <a:extLst>
                <a:ext uri="{FF2B5EF4-FFF2-40B4-BE49-F238E27FC236}">
                  <a16:creationId xmlns:a16="http://schemas.microsoft.com/office/drawing/2014/main" id="{0C83E4AC-5F3E-4192-B936-B6FF1DD6A3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3289" y="-7246928"/>
              <a:ext cx="39688" cy="19050"/>
            </a:xfrm>
            <a:custGeom>
              <a:avLst/>
              <a:gdLst>
                <a:gd name="T0" fmla="*/ 10 w 12"/>
                <a:gd name="T1" fmla="*/ 1 h 6"/>
                <a:gd name="T2" fmla="*/ 0 w 12"/>
                <a:gd name="T3" fmla="*/ 6 h 6"/>
                <a:gd name="T4" fmla="*/ 12 w 12"/>
                <a:gd name="T5" fmla="*/ 4 h 6"/>
                <a:gd name="T6" fmla="*/ 10 w 12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0" y="1"/>
                  </a:moveTo>
                  <a:cubicBezTo>
                    <a:pt x="10" y="6"/>
                    <a:pt x="0" y="1"/>
                    <a:pt x="0" y="6"/>
                  </a:cubicBezTo>
                  <a:cubicBezTo>
                    <a:pt x="4" y="6"/>
                    <a:pt x="8" y="5"/>
                    <a:pt x="12" y="4"/>
                  </a:cubicBezTo>
                  <a:cubicBezTo>
                    <a:pt x="11" y="2"/>
                    <a:pt x="12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8" name="任意多边形: 形状 10317">
              <a:extLst>
                <a:ext uri="{FF2B5EF4-FFF2-40B4-BE49-F238E27FC236}">
                  <a16:creationId xmlns:a16="http://schemas.microsoft.com/office/drawing/2014/main" id="{A4C6C3DB-908D-4DA7-9352-6E59BC2C38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21252" y="-6596051"/>
              <a:ext cx="182563" cy="106363"/>
            </a:xfrm>
            <a:custGeom>
              <a:avLst/>
              <a:gdLst>
                <a:gd name="T0" fmla="*/ 42 w 55"/>
                <a:gd name="T1" fmla="*/ 6 h 32"/>
                <a:gd name="T2" fmla="*/ 50 w 55"/>
                <a:gd name="T3" fmla="*/ 5 h 32"/>
                <a:gd name="T4" fmla="*/ 29 w 55"/>
                <a:gd name="T5" fmla="*/ 10 h 32"/>
                <a:gd name="T6" fmla="*/ 30 w 55"/>
                <a:gd name="T7" fmla="*/ 14 h 32"/>
                <a:gd name="T8" fmla="*/ 25 w 55"/>
                <a:gd name="T9" fmla="*/ 11 h 32"/>
                <a:gd name="T10" fmla="*/ 0 w 55"/>
                <a:gd name="T11" fmla="*/ 29 h 32"/>
                <a:gd name="T12" fmla="*/ 6 w 55"/>
                <a:gd name="T13" fmla="*/ 32 h 32"/>
                <a:gd name="T14" fmla="*/ 7 w 55"/>
                <a:gd name="T15" fmla="*/ 25 h 32"/>
                <a:gd name="T16" fmla="*/ 10 w 55"/>
                <a:gd name="T17" fmla="*/ 25 h 32"/>
                <a:gd name="T18" fmla="*/ 23 w 55"/>
                <a:gd name="T19" fmla="*/ 24 h 32"/>
                <a:gd name="T20" fmla="*/ 21 w 55"/>
                <a:gd name="T21" fmla="*/ 18 h 32"/>
                <a:gd name="T22" fmla="*/ 28 w 55"/>
                <a:gd name="T23" fmla="*/ 15 h 32"/>
                <a:gd name="T24" fmla="*/ 35 w 55"/>
                <a:gd name="T25" fmla="*/ 16 h 32"/>
                <a:gd name="T26" fmla="*/ 55 w 55"/>
                <a:gd name="T27" fmla="*/ 7 h 32"/>
                <a:gd name="T28" fmla="*/ 50 w 55"/>
                <a:gd name="T29" fmla="*/ 0 h 32"/>
                <a:gd name="T30" fmla="*/ 42 w 55"/>
                <a:gd name="T31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32">
                  <a:moveTo>
                    <a:pt x="42" y="6"/>
                  </a:moveTo>
                  <a:cubicBezTo>
                    <a:pt x="44" y="8"/>
                    <a:pt x="48" y="2"/>
                    <a:pt x="50" y="5"/>
                  </a:cubicBezTo>
                  <a:cubicBezTo>
                    <a:pt x="45" y="12"/>
                    <a:pt x="36" y="6"/>
                    <a:pt x="29" y="10"/>
                  </a:cubicBezTo>
                  <a:cubicBezTo>
                    <a:pt x="30" y="12"/>
                    <a:pt x="31" y="13"/>
                    <a:pt x="30" y="14"/>
                  </a:cubicBezTo>
                  <a:cubicBezTo>
                    <a:pt x="28" y="13"/>
                    <a:pt x="27" y="12"/>
                    <a:pt x="25" y="11"/>
                  </a:cubicBezTo>
                  <a:cubicBezTo>
                    <a:pt x="19" y="18"/>
                    <a:pt x="2" y="19"/>
                    <a:pt x="0" y="29"/>
                  </a:cubicBezTo>
                  <a:cubicBezTo>
                    <a:pt x="2" y="30"/>
                    <a:pt x="8" y="26"/>
                    <a:pt x="6" y="32"/>
                  </a:cubicBezTo>
                  <a:cubicBezTo>
                    <a:pt x="12" y="29"/>
                    <a:pt x="5" y="28"/>
                    <a:pt x="7" y="25"/>
                  </a:cubicBezTo>
                  <a:cubicBezTo>
                    <a:pt x="8" y="26"/>
                    <a:pt x="9" y="26"/>
                    <a:pt x="10" y="25"/>
                  </a:cubicBezTo>
                  <a:cubicBezTo>
                    <a:pt x="11" y="31"/>
                    <a:pt x="18" y="23"/>
                    <a:pt x="23" y="24"/>
                  </a:cubicBezTo>
                  <a:cubicBezTo>
                    <a:pt x="25" y="21"/>
                    <a:pt x="19" y="21"/>
                    <a:pt x="21" y="18"/>
                  </a:cubicBezTo>
                  <a:cubicBezTo>
                    <a:pt x="26" y="21"/>
                    <a:pt x="31" y="20"/>
                    <a:pt x="28" y="15"/>
                  </a:cubicBezTo>
                  <a:cubicBezTo>
                    <a:pt x="28" y="17"/>
                    <a:pt x="36" y="11"/>
                    <a:pt x="35" y="16"/>
                  </a:cubicBezTo>
                  <a:cubicBezTo>
                    <a:pt x="47" y="10"/>
                    <a:pt x="46" y="12"/>
                    <a:pt x="55" y="7"/>
                  </a:cubicBezTo>
                  <a:cubicBezTo>
                    <a:pt x="52" y="3"/>
                    <a:pt x="53" y="4"/>
                    <a:pt x="50" y="0"/>
                  </a:cubicBezTo>
                  <a:cubicBezTo>
                    <a:pt x="47" y="5"/>
                    <a:pt x="44" y="2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19" name="任意多边形: 形状 10318">
              <a:extLst>
                <a:ext uri="{FF2B5EF4-FFF2-40B4-BE49-F238E27FC236}">
                  <a16:creationId xmlns:a16="http://schemas.microsoft.com/office/drawing/2014/main" id="{C25C4C4A-0C67-4632-B6DF-1468F47E78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26002" y="-7010390"/>
              <a:ext cx="49213" cy="15875"/>
            </a:xfrm>
            <a:custGeom>
              <a:avLst/>
              <a:gdLst>
                <a:gd name="T0" fmla="*/ 0 w 15"/>
                <a:gd name="T1" fmla="*/ 5 h 5"/>
                <a:gd name="T2" fmla="*/ 12 w 15"/>
                <a:gd name="T3" fmla="*/ 0 h 5"/>
                <a:gd name="T4" fmla="*/ 0 w 1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4" y="3"/>
                    <a:pt x="15" y="3"/>
                    <a:pt x="12" y="0"/>
                  </a:cubicBezTo>
                  <a:cubicBezTo>
                    <a:pt x="9" y="2"/>
                    <a:pt x="1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0" name="任意多边形: 形状 10319">
              <a:extLst>
                <a:ext uri="{FF2B5EF4-FFF2-40B4-BE49-F238E27FC236}">
                  <a16:creationId xmlns:a16="http://schemas.microsoft.com/office/drawing/2014/main" id="{42D59E5B-39A0-4633-998E-4616DB5C99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8677" y="-7254865"/>
              <a:ext cx="42863" cy="17463"/>
            </a:xfrm>
            <a:custGeom>
              <a:avLst/>
              <a:gdLst>
                <a:gd name="T0" fmla="*/ 7 w 13"/>
                <a:gd name="T1" fmla="*/ 0 h 5"/>
                <a:gd name="T2" fmla="*/ 2 w 13"/>
                <a:gd name="T3" fmla="*/ 5 h 5"/>
                <a:gd name="T4" fmla="*/ 13 w 13"/>
                <a:gd name="T5" fmla="*/ 1 h 5"/>
                <a:gd name="T6" fmla="*/ 7 w 1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5">
                  <a:moveTo>
                    <a:pt x="7" y="0"/>
                  </a:moveTo>
                  <a:cubicBezTo>
                    <a:pt x="9" y="3"/>
                    <a:pt x="0" y="2"/>
                    <a:pt x="2" y="5"/>
                  </a:cubicBezTo>
                  <a:cubicBezTo>
                    <a:pt x="6" y="2"/>
                    <a:pt x="12" y="4"/>
                    <a:pt x="13" y="1"/>
                  </a:cubicBezTo>
                  <a:cubicBezTo>
                    <a:pt x="10" y="2"/>
                    <a:pt x="9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1" name="任意多边形: 形状 10320">
              <a:extLst>
                <a:ext uri="{FF2B5EF4-FFF2-40B4-BE49-F238E27FC236}">
                  <a16:creationId xmlns:a16="http://schemas.microsoft.com/office/drawing/2014/main" id="{EE2B6110-1EF9-438F-BC5E-B18E97E942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962439" y="-7270740"/>
              <a:ext cx="39688" cy="19050"/>
            </a:xfrm>
            <a:custGeom>
              <a:avLst/>
              <a:gdLst>
                <a:gd name="T0" fmla="*/ 0 w 12"/>
                <a:gd name="T1" fmla="*/ 6 h 6"/>
                <a:gd name="T2" fmla="*/ 12 w 12"/>
                <a:gd name="T3" fmla="*/ 0 h 6"/>
                <a:gd name="T4" fmla="*/ 0 w 12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6"/>
                  </a:moveTo>
                  <a:cubicBezTo>
                    <a:pt x="5" y="4"/>
                    <a:pt x="9" y="2"/>
                    <a:pt x="12" y="0"/>
                  </a:cubicBezTo>
                  <a:cubicBezTo>
                    <a:pt x="7" y="0"/>
                    <a:pt x="2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2" name="任意多边形: 形状 10321">
              <a:extLst>
                <a:ext uri="{FF2B5EF4-FFF2-40B4-BE49-F238E27FC236}">
                  <a16:creationId xmlns:a16="http://schemas.microsoft.com/office/drawing/2014/main" id="{8E63D868-3434-4C76-A8BA-DEE3C6B15F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70389" y="-6670664"/>
              <a:ext cx="30163" cy="19050"/>
            </a:xfrm>
            <a:custGeom>
              <a:avLst/>
              <a:gdLst>
                <a:gd name="T0" fmla="*/ 9 w 9"/>
                <a:gd name="T1" fmla="*/ 0 h 6"/>
                <a:gd name="T2" fmla="*/ 0 w 9"/>
                <a:gd name="T3" fmla="*/ 6 h 6"/>
                <a:gd name="T4" fmla="*/ 9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9" y="0"/>
                  </a:moveTo>
                  <a:cubicBezTo>
                    <a:pt x="7" y="2"/>
                    <a:pt x="2" y="4"/>
                    <a:pt x="0" y="6"/>
                  </a:cubicBezTo>
                  <a:cubicBezTo>
                    <a:pt x="4" y="6"/>
                    <a:pt x="9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3" name="任意多边形: 形状 10322">
              <a:extLst>
                <a:ext uri="{FF2B5EF4-FFF2-40B4-BE49-F238E27FC236}">
                  <a16:creationId xmlns:a16="http://schemas.microsoft.com/office/drawing/2014/main" id="{77C15DA0-CA14-4545-B1F5-7EE778A780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4826" y="-6526201"/>
              <a:ext cx="30163" cy="33338"/>
            </a:xfrm>
            <a:custGeom>
              <a:avLst/>
              <a:gdLst>
                <a:gd name="T0" fmla="*/ 4 w 9"/>
                <a:gd name="T1" fmla="*/ 10 h 10"/>
                <a:gd name="T2" fmla="*/ 9 w 9"/>
                <a:gd name="T3" fmla="*/ 2 h 10"/>
                <a:gd name="T4" fmla="*/ 4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4" y="10"/>
                  </a:moveTo>
                  <a:cubicBezTo>
                    <a:pt x="2" y="6"/>
                    <a:pt x="8" y="5"/>
                    <a:pt x="9" y="2"/>
                  </a:cubicBezTo>
                  <a:cubicBezTo>
                    <a:pt x="6" y="0"/>
                    <a:pt x="0" y="9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4" name="任意多边形: 形状 10323">
              <a:extLst>
                <a:ext uri="{FF2B5EF4-FFF2-40B4-BE49-F238E27FC236}">
                  <a16:creationId xmlns:a16="http://schemas.microsoft.com/office/drawing/2014/main" id="{D4AE31DA-BF38-4DF5-AEAC-E10218A78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64039" y="-6269025"/>
              <a:ext cx="46038" cy="46038"/>
            </a:xfrm>
            <a:custGeom>
              <a:avLst/>
              <a:gdLst>
                <a:gd name="T0" fmla="*/ 3 w 14"/>
                <a:gd name="T1" fmla="*/ 0 h 14"/>
                <a:gd name="T2" fmla="*/ 1 w 14"/>
                <a:gd name="T3" fmla="*/ 4 h 14"/>
                <a:gd name="T4" fmla="*/ 4 w 14"/>
                <a:gd name="T5" fmla="*/ 8 h 14"/>
                <a:gd name="T6" fmla="*/ 1 w 14"/>
                <a:gd name="T7" fmla="*/ 14 h 14"/>
                <a:gd name="T8" fmla="*/ 14 w 14"/>
                <a:gd name="T9" fmla="*/ 1 h 14"/>
                <a:gd name="T10" fmla="*/ 3 w 14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3" y="0"/>
                  </a:moveTo>
                  <a:cubicBezTo>
                    <a:pt x="4" y="2"/>
                    <a:pt x="0" y="2"/>
                    <a:pt x="1" y="4"/>
                  </a:cubicBezTo>
                  <a:cubicBezTo>
                    <a:pt x="2" y="2"/>
                    <a:pt x="6" y="6"/>
                    <a:pt x="4" y="8"/>
                  </a:cubicBezTo>
                  <a:cubicBezTo>
                    <a:pt x="1" y="7"/>
                    <a:pt x="2" y="11"/>
                    <a:pt x="1" y="14"/>
                  </a:cubicBezTo>
                  <a:cubicBezTo>
                    <a:pt x="5" y="9"/>
                    <a:pt x="14" y="5"/>
                    <a:pt x="14" y="1"/>
                  </a:cubicBezTo>
                  <a:cubicBezTo>
                    <a:pt x="11" y="5"/>
                    <a:pt x="4" y="5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5" name="任意多边形: 形状 10324">
              <a:extLst>
                <a:ext uri="{FF2B5EF4-FFF2-40B4-BE49-F238E27FC236}">
                  <a16:creationId xmlns:a16="http://schemas.microsoft.com/office/drawing/2014/main" id="{239B5809-A784-46D5-BD62-0E60ABE5A0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40089" y="-8045443"/>
              <a:ext cx="122238" cy="69850"/>
            </a:xfrm>
            <a:custGeom>
              <a:avLst/>
              <a:gdLst>
                <a:gd name="T0" fmla="*/ 8 w 37"/>
                <a:gd name="T1" fmla="*/ 20 h 21"/>
                <a:gd name="T2" fmla="*/ 37 w 37"/>
                <a:gd name="T3" fmla="*/ 0 h 21"/>
                <a:gd name="T4" fmla="*/ 23 w 37"/>
                <a:gd name="T5" fmla="*/ 8 h 21"/>
                <a:gd name="T6" fmla="*/ 0 w 37"/>
                <a:gd name="T7" fmla="*/ 17 h 21"/>
                <a:gd name="T8" fmla="*/ 8 w 37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1">
                  <a:moveTo>
                    <a:pt x="8" y="20"/>
                  </a:moveTo>
                  <a:cubicBezTo>
                    <a:pt x="12" y="8"/>
                    <a:pt x="30" y="9"/>
                    <a:pt x="37" y="0"/>
                  </a:cubicBezTo>
                  <a:cubicBezTo>
                    <a:pt x="33" y="1"/>
                    <a:pt x="24" y="2"/>
                    <a:pt x="23" y="8"/>
                  </a:cubicBezTo>
                  <a:cubicBezTo>
                    <a:pt x="13" y="7"/>
                    <a:pt x="12" y="15"/>
                    <a:pt x="0" y="17"/>
                  </a:cubicBezTo>
                  <a:cubicBezTo>
                    <a:pt x="2" y="21"/>
                    <a:pt x="6" y="18"/>
                    <a:pt x="8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6" name="任意多边形: 形状 10325">
              <a:extLst>
                <a:ext uri="{FF2B5EF4-FFF2-40B4-BE49-F238E27FC236}">
                  <a16:creationId xmlns:a16="http://schemas.microsoft.com/office/drawing/2014/main" id="{06E50C7D-4AEB-476C-9A90-1A00761341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770351" y="-6532551"/>
              <a:ext cx="42863" cy="25400"/>
            </a:xfrm>
            <a:custGeom>
              <a:avLst/>
              <a:gdLst>
                <a:gd name="T0" fmla="*/ 13 w 13"/>
                <a:gd name="T1" fmla="*/ 4 h 8"/>
                <a:gd name="T2" fmla="*/ 5 w 13"/>
                <a:gd name="T3" fmla="*/ 3 h 8"/>
                <a:gd name="T4" fmla="*/ 5 w 13"/>
                <a:gd name="T5" fmla="*/ 8 h 8"/>
                <a:gd name="T6" fmla="*/ 10 w 13"/>
                <a:gd name="T7" fmla="*/ 7 h 8"/>
                <a:gd name="T8" fmla="*/ 11 w 13"/>
                <a:gd name="T9" fmla="*/ 8 h 8"/>
                <a:gd name="T10" fmla="*/ 11 w 13"/>
                <a:gd name="T11" fmla="*/ 3 h 8"/>
                <a:gd name="T12" fmla="*/ 13 w 13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13" y="4"/>
                  </a:moveTo>
                  <a:cubicBezTo>
                    <a:pt x="11" y="0"/>
                    <a:pt x="8" y="1"/>
                    <a:pt x="5" y="3"/>
                  </a:cubicBezTo>
                  <a:cubicBezTo>
                    <a:pt x="10" y="6"/>
                    <a:pt x="0" y="8"/>
                    <a:pt x="5" y="8"/>
                  </a:cubicBezTo>
                  <a:cubicBezTo>
                    <a:pt x="8" y="6"/>
                    <a:pt x="7" y="4"/>
                    <a:pt x="10" y="7"/>
                  </a:cubicBezTo>
                  <a:cubicBezTo>
                    <a:pt x="9" y="7"/>
                    <a:pt x="9" y="8"/>
                    <a:pt x="11" y="8"/>
                  </a:cubicBezTo>
                  <a:cubicBezTo>
                    <a:pt x="10" y="6"/>
                    <a:pt x="10" y="5"/>
                    <a:pt x="11" y="3"/>
                  </a:cubicBezTo>
                  <a:cubicBezTo>
                    <a:pt x="11" y="4"/>
                    <a:pt x="12" y="5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7" name="任意多边形: 形状 10326">
              <a:extLst>
                <a:ext uri="{FF2B5EF4-FFF2-40B4-BE49-F238E27FC236}">
                  <a16:creationId xmlns:a16="http://schemas.microsoft.com/office/drawing/2014/main" id="{13CB0312-EA8D-4BB2-AA6C-01B82966A9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75101" y="-6513501"/>
              <a:ext cx="100013" cy="63500"/>
            </a:xfrm>
            <a:custGeom>
              <a:avLst/>
              <a:gdLst>
                <a:gd name="T0" fmla="*/ 0 w 30"/>
                <a:gd name="T1" fmla="*/ 16 h 19"/>
                <a:gd name="T2" fmla="*/ 6 w 30"/>
                <a:gd name="T3" fmla="*/ 18 h 19"/>
                <a:gd name="T4" fmla="*/ 29 w 30"/>
                <a:gd name="T5" fmla="*/ 7 h 19"/>
                <a:gd name="T6" fmla="*/ 30 w 30"/>
                <a:gd name="T7" fmla="*/ 1 h 19"/>
                <a:gd name="T8" fmla="*/ 5 w 30"/>
                <a:gd name="T9" fmla="*/ 10 h 19"/>
                <a:gd name="T10" fmla="*/ 7 w 30"/>
                <a:gd name="T11" fmla="*/ 10 h 19"/>
                <a:gd name="T12" fmla="*/ 0 w 30"/>
                <a:gd name="T1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9">
                  <a:moveTo>
                    <a:pt x="0" y="16"/>
                  </a:moveTo>
                  <a:cubicBezTo>
                    <a:pt x="1" y="19"/>
                    <a:pt x="4" y="18"/>
                    <a:pt x="6" y="18"/>
                  </a:cubicBezTo>
                  <a:cubicBezTo>
                    <a:pt x="9" y="13"/>
                    <a:pt x="24" y="0"/>
                    <a:pt x="29" y="7"/>
                  </a:cubicBezTo>
                  <a:cubicBezTo>
                    <a:pt x="29" y="5"/>
                    <a:pt x="30" y="3"/>
                    <a:pt x="30" y="1"/>
                  </a:cubicBezTo>
                  <a:cubicBezTo>
                    <a:pt x="20" y="1"/>
                    <a:pt x="7" y="1"/>
                    <a:pt x="5" y="10"/>
                  </a:cubicBezTo>
                  <a:cubicBezTo>
                    <a:pt x="6" y="9"/>
                    <a:pt x="7" y="9"/>
                    <a:pt x="7" y="10"/>
                  </a:cubicBezTo>
                  <a:cubicBezTo>
                    <a:pt x="4" y="12"/>
                    <a:pt x="5" y="15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8" name="任意多边形: 形状 10327">
              <a:extLst>
                <a:ext uri="{FF2B5EF4-FFF2-40B4-BE49-F238E27FC236}">
                  <a16:creationId xmlns:a16="http://schemas.microsoft.com/office/drawing/2014/main" id="{938D4C05-F596-45EF-AAF8-2A0104D84D1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506826" y="-6219813"/>
              <a:ext cx="333375" cy="193676"/>
            </a:xfrm>
            <a:custGeom>
              <a:avLst/>
              <a:gdLst>
                <a:gd name="T0" fmla="*/ 81 w 101"/>
                <a:gd name="T1" fmla="*/ 7 h 59"/>
                <a:gd name="T2" fmla="*/ 75 w 101"/>
                <a:gd name="T3" fmla="*/ 11 h 59"/>
                <a:gd name="T4" fmla="*/ 75 w 101"/>
                <a:gd name="T5" fmla="*/ 6 h 59"/>
                <a:gd name="T6" fmla="*/ 18 w 101"/>
                <a:gd name="T7" fmla="*/ 36 h 59"/>
                <a:gd name="T8" fmla="*/ 1 w 101"/>
                <a:gd name="T9" fmla="*/ 41 h 59"/>
                <a:gd name="T10" fmla="*/ 4 w 101"/>
                <a:gd name="T11" fmla="*/ 47 h 59"/>
                <a:gd name="T12" fmla="*/ 25 w 101"/>
                <a:gd name="T13" fmla="*/ 42 h 59"/>
                <a:gd name="T14" fmla="*/ 26 w 101"/>
                <a:gd name="T15" fmla="*/ 44 h 59"/>
                <a:gd name="T16" fmla="*/ 25 w 101"/>
                <a:gd name="T17" fmla="*/ 42 h 59"/>
                <a:gd name="T18" fmla="*/ 21 w 101"/>
                <a:gd name="T19" fmla="*/ 47 h 59"/>
                <a:gd name="T20" fmla="*/ 24 w 101"/>
                <a:gd name="T21" fmla="*/ 52 h 59"/>
                <a:gd name="T22" fmla="*/ 15 w 101"/>
                <a:gd name="T23" fmla="*/ 49 h 59"/>
                <a:gd name="T24" fmla="*/ 10 w 101"/>
                <a:gd name="T25" fmla="*/ 54 h 59"/>
                <a:gd name="T26" fmla="*/ 7 w 101"/>
                <a:gd name="T27" fmla="*/ 51 h 59"/>
                <a:gd name="T28" fmla="*/ 0 w 101"/>
                <a:gd name="T29" fmla="*/ 56 h 59"/>
                <a:gd name="T30" fmla="*/ 14 w 101"/>
                <a:gd name="T31" fmla="*/ 59 h 59"/>
                <a:gd name="T32" fmla="*/ 19 w 101"/>
                <a:gd name="T33" fmla="*/ 56 h 59"/>
                <a:gd name="T34" fmla="*/ 22 w 101"/>
                <a:gd name="T35" fmla="*/ 59 h 59"/>
                <a:gd name="T36" fmla="*/ 29 w 101"/>
                <a:gd name="T37" fmla="*/ 54 h 59"/>
                <a:gd name="T38" fmla="*/ 26 w 101"/>
                <a:gd name="T39" fmla="*/ 51 h 59"/>
                <a:gd name="T40" fmla="*/ 45 w 101"/>
                <a:gd name="T41" fmla="*/ 47 h 59"/>
                <a:gd name="T42" fmla="*/ 52 w 101"/>
                <a:gd name="T43" fmla="*/ 40 h 59"/>
                <a:gd name="T44" fmla="*/ 51 w 101"/>
                <a:gd name="T45" fmla="*/ 35 h 59"/>
                <a:gd name="T46" fmla="*/ 57 w 101"/>
                <a:gd name="T47" fmla="*/ 38 h 59"/>
                <a:gd name="T48" fmla="*/ 55 w 101"/>
                <a:gd name="T49" fmla="*/ 43 h 59"/>
                <a:gd name="T50" fmla="*/ 61 w 101"/>
                <a:gd name="T51" fmla="*/ 38 h 59"/>
                <a:gd name="T52" fmla="*/ 57 w 101"/>
                <a:gd name="T53" fmla="*/ 36 h 59"/>
                <a:gd name="T54" fmla="*/ 62 w 101"/>
                <a:gd name="T55" fmla="*/ 31 h 59"/>
                <a:gd name="T56" fmla="*/ 61 w 101"/>
                <a:gd name="T57" fmla="*/ 22 h 59"/>
                <a:gd name="T58" fmla="*/ 69 w 101"/>
                <a:gd name="T59" fmla="*/ 16 h 59"/>
                <a:gd name="T60" fmla="*/ 81 w 101"/>
                <a:gd name="T61" fmla="*/ 23 h 59"/>
                <a:gd name="T62" fmla="*/ 86 w 101"/>
                <a:gd name="T63" fmla="*/ 19 h 59"/>
                <a:gd name="T64" fmla="*/ 80 w 101"/>
                <a:gd name="T65" fmla="*/ 16 h 59"/>
                <a:gd name="T66" fmla="*/ 96 w 101"/>
                <a:gd name="T67" fmla="*/ 9 h 59"/>
                <a:gd name="T68" fmla="*/ 101 w 101"/>
                <a:gd name="T69" fmla="*/ 2 h 59"/>
                <a:gd name="T70" fmla="*/ 81 w 101"/>
                <a:gd name="T71" fmla="*/ 7 h 59"/>
                <a:gd name="T72" fmla="*/ 38 w 101"/>
                <a:gd name="T73" fmla="*/ 35 h 59"/>
                <a:gd name="T74" fmla="*/ 40 w 101"/>
                <a:gd name="T75" fmla="*/ 29 h 59"/>
                <a:gd name="T76" fmla="*/ 43 w 101"/>
                <a:gd name="T77" fmla="*/ 32 h 59"/>
                <a:gd name="T78" fmla="*/ 38 w 101"/>
                <a:gd name="T79" fmla="*/ 3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1" h="59">
                  <a:moveTo>
                    <a:pt x="81" y="7"/>
                  </a:moveTo>
                  <a:cubicBezTo>
                    <a:pt x="78" y="8"/>
                    <a:pt x="79" y="11"/>
                    <a:pt x="75" y="11"/>
                  </a:cubicBezTo>
                  <a:cubicBezTo>
                    <a:pt x="75" y="9"/>
                    <a:pt x="75" y="8"/>
                    <a:pt x="75" y="6"/>
                  </a:cubicBezTo>
                  <a:cubicBezTo>
                    <a:pt x="61" y="19"/>
                    <a:pt x="31" y="19"/>
                    <a:pt x="18" y="36"/>
                  </a:cubicBezTo>
                  <a:cubicBezTo>
                    <a:pt x="9" y="31"/>
                    <a:pt x="8" y="47"/>
                    <a:pt x="1" y="41"/>
                  </a:cubicBezTo>
                  <a:cubicBezTo>
                    <a:pt x="4" y="44"/>
                    <a:pt x="3" y="43"/>
                    <a:pt x="4" y="47"/>
                  </a:cubicBezTo>
                  <a:cubicBezTo>
                    <a:pt x="9" y="40"/>
                    <a:pt x="20" y="38"/>
                    <a:pt x="25" y="42"/>
                  </a:cubicBezTo>
                  <a:cubicBezTo>
                    <a:pt x="25" y="42"/>
                    <a:pt x="25" y="42"/>
                    <a:pt x="26" y="44"/>
                  </a:cubicBezTo>
                  <a:cubicBezTo>
                    <a:pt x="26" y="43"/>
                    <a:pt x="25" y="43"/>
                    <a:pt x="25" y="42"/>
                  </a:cubicBezTo>
                  <a:cubicBezTo>
                    <a:pt x="24" y="43"/>
                    <a:pt x="26" y="51"/>
                    <a:pt x="21" y="47"/>
                  </a:cubicBezTo>
                  <a:cubicBezTo>
                    <a:pt x="21" y="51"/>
                    <a:pt x="26" y="50"/>
                    <a:pt x="24" y="52"/>
                  </a:cubicBezTo>
                  <a:cubicBezTo>
                    <a:pt x="21" y="51"/>
                    <a:pt x="18" y="50"/>
                    <a:pt x="15" y="49"/>
                  </a:cubicBezTo>
                  <a:cubicBezTo>
                    <a:pt x="13" y="50"/>
                    <a:pt x="12" y="52"/>
                    <a:pt x="10" y="54"/>
                  </a:cubicBezTo>
                  <a:cubicBezTo>
                    <a:pt x="9" y="53"/>
                    <a:pt x="9" y="51"/>
                    <a:pt x="7" y="51"/>
                  </a:cubicBezTo>
                  <a:cubicBezTo>
                    <a:pt x="11" y="57"/>
                    <a:pt x="2" y="55"/>
                    <a:pt x="0" y="56"/>
                  </a:cubicBezTo>
                  <a:cubicBezTo>
                    <a:pt x="4" y="59"/>
                    <a:pt x="10" y="55"/>
                    <a:pt x="14" y="59"/>
                  </a:cubicBezTo>
                  <a:cubicBezTo>
                    <a:pt x="13" y="55"/>
                    <a:pt x="16" y="58"/>
                    <a:pt x="19" y="56"/>
                  </a:cubicBezTo>
                  <a:cubicBezTo>
                    <a:pt x="20" y="57"/>
                    <a:pt x="20" y="59"/>
                    <a:pt x="22" y="59"/>
                  </a:cubicBezTo>
                  <a:cubicBezTo>
                    <a:pt x="22" y="57"/>
                    <a:pt x="28" y="59"/>
                    <a:pt x="29" y="54"/>
                  </a:cubicBezTo>
                  <a:cubicBezTo>
                    <a:pt x="26" y="54"/>
                    <a:pt x="25" y="53"/>
                    <a:pt x="26" y="51"/>
                  </a:cubicBezTo>
                  <a:cubicBezTo>
                    <a:pt x="32" y="50"/>
                    <a:pt x="37" y="44"/>
                    <a:pt x="45" y="47"/>
                  </a:cubicBezTo>
                  <a:cubicBezTo>
                    <a:pt x="42" y="40"/>
                    <a:pt x="48" y="41"/>
                    <a:pt x="52" y="40"/>
                  </a:cubicBezTo>
                  <a:cubicBezTo>
                    <a:pt x="52" y="39"/>
                    <a:pt x="50" y="36"/>
                    <a:pt x="51" y="35"/>
                  </a:cubicBezTo>
                  <a:cubicBezTo>
                    <a:pt x="53" y="35"/>
                    <a:pt x="55" y="37"/>
                    <a:pt x="57" y="38"/>
                  </a:cubicBezTo>
                  <a:cubicBezTo>
                    <a:pt x="55" y="39"/>
                    <a:pt x="51" y="43"/>
                    <a:pt x="55" y="43"/>
                  </a:cubicBezTo>
                  <a:cubicBezTo>
                    <a:pt x="54" y="40"/>
                    <a:pt x="63" y="41"/>
                    <a:pt x="61" y="38"/>
                  </a:cubicBezTo>
                  <a:cubicBezTo>
                    <a:pt x="59" y="39"/>
                    <a:pt x="58" y="38"/>
                    <a:pt x="57" y="36"/>
                  </a:cubicBezTo>
                  <a:cubicBezTo>
                    <a:pt x="61" y="37"/>
                    <a:pt x="58" y="32"/>
                    <a:pt x="62" y="31"/>
                  </a:cubicBezTo>
                  <a:cubicBezTo>
                    <a:pt x="61" y="28"/>
                    <a:pt x="60" y="25"/>
                    <a:pt x="61" y="22"/>
                  </a:cubicBezTo>
                  <a:cubicBezTo>
                    <a:pt x="66" y="27"/>
                    <a:pt x="65" y="17"/>
                    <a:pt x="69" y="16"/>
                  </a:cubicBezTo>
                  <a:cubicBezTo>
                    <a:pt x="73" y="17"/>
                    <a:pt x="77" y="19"/>
                    <a:pt x="81" y="23"/>
                  </a:cubicBezTo>
                  <a:cubicBezTo>
                    <a:pt x="84" y="21"/>
                    <a:pt x="85" y="21"/>
                    <a:pt x="86" y="19"/>
                  </a:cubicBezTo>
                  <a:cubicBezTo>
                    <a:pt x="83" y="20"/>
                    <a:pt x="82" y="17"/>
                    <a:pt x="80" y="16"/>
                  </a:cubicBezTo>
                  <a:cubicBezTo>
                    <a:pt x="86" y="11"/>
                    <a:pt x="89" y="11"/>
                    <a:pt x="96" y="9"/>
                  </a:cubicBezTo>
                  <a:cubicBezTo>
                    <a:pt x="96" y="5"/>
                    <a:pt x="98" y="2"/>
                    <a:pt x="101" y="2"/>
                  </a:cubicBezTo>
                  <a:cubicBezTo>
                    <a:pt x="96" y="0"/>
                    <a:pt x="87" y="12"/>
                    <a:pt x="81" y="7"/>
                  </a:cubicBezTo>
                  <a:close/>
                  <a:moveTo>
                    <a:pt x="38" y="35"/>
                  </a:moveTo>
                  <a:cubicBezTo>
                    <a:pt x="34" y="31"/>
                    <a:pt x="44" y="33"/>
                    <a:pt x="40" y="29"/>
                  </a:cubicBezTo>
                  <a:cubicBezTo>
                    <a:pt x="41" y="28"/>
                    <a:pt x="42" y="31"/>
                    <a:pt x="43" y="32"/>
                  </a:cubicBezTo>
                  <a:cubicBezTo>
                    <a:pt x="42" y="33"/>
                    <a:pt x="41" y="35"/>
                    <a:pt x="38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29" name="任意多边形: 形状 10328">
              <a:extLst>
                <a:ext uri="{FF2B5EF4-FFF2-40B4-BE49-F238E27FC236}">
                  <a16:creationId xmlns:a16="http://schemas.microsoft.com/office/drawing/2014/main" id="{75833B93-6096-4D59-80DD-226C538319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03576" y="-7985117"/>
              <a:ext cx="39688" cy="25400"/>
            </a:xfrm>
            <a:custGeom>
              <a:avLst/>
              <a:gdLst>
                <a:gd name="T0" fmla="*/ 0 w 12"/>
                <a:gd name="T1" fmla="*/ 8 h 8"/>
                <a:gd name="T2" fmla="*/ 9 w 12"/>
                <a:gd name="T3" fmla="*/ 5 h 8"/>
                <a:gd name="T4" fmla="*/ 8 w 12"/>
                <a:gd name="T5" fmla="*/ 0 h 8"/>
                <a:gd name="T6" fmla="*/ 0 w 1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0" y="8"/>
                  </a:moveTo>
                  <a:cubicBezTo>
                    <a:pt x="3" y="6"/>
                    <a:pt x="12" y="8"/>
                    <a:pt x="9" y="5"/>
                  </a:cubicBezTo>
                  <a:cubicBezTo>
                    <a:pt x="4" y="6"/>
                    <a:pt x="7" y="3"/>
                    <a:pt x="8" y="0"/>
                  </a:cubicBezTo>
                  <a:cubicBezTo>
                    <a:pt x="4" y="3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0" name="任意多边形: 形状 10329">
              <a:extLst>
                <a:ext uri="{FF2B5EF4-FFF2-40B4-BE49-F238E27FC236}">
                  <a16:creationId xmlns:a16="http://schemas.microsoft.com/office/drawing/2014/main" id="{A00670AC-B39B-451C-A988-75E25D1077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70326" y="-6440476"/>
              <a:ext cx="49213" cy="30163"/>
            </a:xfrm>
            <a:custGeom>
              <a:avLst/>
              <a:gdLst>
                <a:gd name="T0" fmla="*/ 14 w 15"/>
                <a:gd name="T1" fmla="*/ 4 h 9"/>
                <a:gd name="T2" fmla="*/ 7 w 15"/>
                <a:gd name="T3" fmla="*/ 0 h 9"/>
                <a:gd name="T4" fmla="*/ 4 w 15"/>
                <a:gd name="T5" fmla="*/ 4 h 9"/>
                <a:gd name="T6" fmla="*/ 0 w 15"/>
                <a:gd name="T7" fmla="*/ 2 h 9"/>
                <a:gd name="T8" fmla="*/ 13 w 15"/>
                <a:gd name="T9" fmla="*/ 7 h 9"/>
                <a:gd name="T10" fmla="*/ 14 w 15"/>
                <a:gd name="T11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4" y="4"/>
                  </a:moveTo>
                  <a:cubicBezTo>
                    <a:pt x="11" y="4"/>
                    <a:pt x="9" y="2"/>
                    <a:pt x="7" y="0"/>
                  </a:cubicBezTo>
                  <a:cubicBezTo>
                    <a:pt x="4" y="0"/>
                    <a:pt x="6" y="3"/>
                    <a:pt x="4" y="4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5" y="9"/>
                    <a:pt x="8" y="2"/>
                    <a:pt x="13" y="7"/>
                  </a:cubicBezTo>
                  <a:cubicBezTo>
                    <a:pt x="12" y="5"/>
                    <a:pt x="15" y="5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1" name="任意多边形: 形状 10330">
              <a:extLst>
                <a:ext uri="{FF2B5EF4-FFF2-40B4-BE49-F238E27FC236}">
                  <a16:creationId xmlns:a16="http://schemas.microsoft.com/office/drawing/2014/main" id="{A49581DD-3DC3-4287-9DD3-1F0ABDE531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46514" y="-6430951"/>
              <a:ext cx="33338" cy="20638"/>
            </a:xfrm>
            <a:custGeom>
              <a:avLst/>
              <a:gdLst>
                <a:gd name="T0" fmla="*/ 8 w 10"/>
                <a:gd name="T1" fmla="*/ 3 h 6"/>
                <a:gd name="T2" fmla="*/ 4 w 10"/>
                <a:gd name="T3" fmla="*/ 0 h 6"/>
                <a:gd name="T4" fmla="*/ 3 w 10"/>
                <a:gd name="T5" fmla="*/ 6 h 6"/>
                <a:gd name="T6" fmla="*/ 5 w 10"/>
                <a:gd name="T7" fmla="*/ 4 h 6"/>
                <a:gd name="T8" fmla="*/ 8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8" y="3"/>
                  </a:moveTo>
                  <a:cubicBezTo>
                    <a:pt x="6" y="4"/>
                    <a:pt x="5" y="3"/>
                    <a:pt x="4" y="0"/>
                  </a:cubicBezTo>
                  <a:cubicBezTo>
                    <a:pt x="2" y="1"/>
                    <a:pt x="0" y="6"/>
                    <a:pt x="3" y="6"/>
                  </a:cubicBezTo>
                  <a:cubicBezTo>
                    <a:pt x="2" y="5"/>
                    <a:pt x="4" y="4"/>
                    <a:pt x="5" y="4"/>
                  </a:cubicBezTo>
                  <a:cubicBezTo>
                    <a:pt x="6" y="5"/>
                    <a:pt x="10" y="6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2" name="任意多边形: 形状 10331">
              <a:extLst>
                <a:ext uri="{FF2B5EF4-FFF2-40B4-BE49-F238E27FC236}">
                  <a16:creationId xmlns:a16="http://schemas.microsoft.com/office/drawing/2014/main" id="{27E037A0-6D93-4E90-98B6-1F2843D54A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59114" y="-8002580"/>
              <a:ext cx="46038" cy="53975"/>
            </a:xfrm>
            <a:custGeom>
              <a:avLst/>
              <a:gdLst>
                <a:gd name="T0" fmla="*/ 14 w 14"/>
                <a:gd name="T1" fmla="*/ 7 h 16"/>
                <a:gd name="T2" fmla="*/ 0 w 14"/>
                <a:gd name="T3" fmla="*/ 16 h 16"/>
                <a:gd name="T4" fmla="*/ 12 w 14"/>
                <a:gd name="T5" fmla="*/ 8 h 16"/>
                <a:gd name="T6" fmla="*/ 11 w 14"/>
                <a:gd name="T7" fmla="*/ 7 h 16"/>
                <a:gd name="T8" fmla="*/ 14 w 14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14" y="7"/>
                  </a:moveTo>
                  <a:cubicBezTo>
                    <a:pt x="10" y="0"/>
                    <a:pt x="0" y="16"/>
                    <a:pt x="0" y="16"/>
                  </a:cubicBezTo>
                  <a:cubicBezTo>
                    <a:pt x="2" y="13"/>
                    <a:pt x="11" y="12"/>
                    <a:pt x="12" y="8"/>
                  </a:cubicBezTo>
                  <a:cubicBezTo>
                    <a:pt x="11" y="8"/>
                    <a:pt x="10" y="8"/>
                    <a:pt x="11" y="7"/>
                  </a:cubicBezTo>
                  <a:cubicBezTo>
                    <a:pt x="12" y="8"/>
                    <a:pt x="13" y="8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3" name="任意多边形: 形状 10332">
              <a:extLst>
                <a:ext uri="{FF2B5EF4-FFF2-40B4-BE49-F238E27FC236}">
                  <a16:creationId xmlns:a16="http://schemas.microsoft.com/office/drawing/2014/main" id="{87896632-E0DE-4857-9F8D-E062541584B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9189" y="-6357925"/>
              <a:ext cx="88900" cy="39688"/>
            </a:xfrm>
            <a:custGeom>
              <a:avLst/>
              <a:gdLst>
                <a:gd name="T0" fmla="*/ 21 w 27"/>
                <a:gd name="T1" fmla="*/ 0 h 12"/>
                <a:gd name="T2" fmla="*/ 10 w 27"/>
                <a:gd name="T3" fmla="*/ 3 h 12"/>
                <a:gd name="T4" fmla="*/ 12 w 27"/>
                <a:gd name="T5" fmla="*/ 0 h 12"/>
                <a:gd name="T6" fmla="*/ 7 w 27"/>
                <a:gd name="T7" fmla="*/ 1 h 12"/>
                <a:gd name="T8" fmla="*/ 7 w 27"/>
                <a:gd name="T9" fmla="*/ 8 h 12"/>
                <a:gd name="T10" fmla="*/ 0 w 27"/>
                <a:gd name="T11" fmla="*/ 11 h 12"/>
                <a:gd name="T12" fmla="*/ 12 w 27"/>
                <a:gd name="T13" fmla="*/ 6 h 12"/>
                <a:gd name="T14" fmla="*/ 12 w 27"/>
                <a:gd name="T15" fmla="*/ 10 h 12"/>
                <a:gd name="T16" fmla="*/ 15 w 27"/>
                <a:gd name="T17" fmla="*/ 3 h 12"/>
                <a:gd name="T18" fmla="*/ 18 w 27"/>
                <a:gd name="T19" fmla="*/ 7 h 12"/>
                <a:gd name="T20" fmla="*/ 24 w 27"/>
                <a:gd name="T21" fmla="*/ 5 h 12"/>
                <a:gd name="T22" fmla="*/ 21 w 27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12">
                  <a:moveTo>
                    <a:pt x="21" y="0"/>
                  </a:moveTo>
                  <a:cubicBezTo>
                    <a:pt x="22" y="5"/>
                    <a:pt x="12" y="2"/>
                    <a:pt x="10" y="3"/>
                  </a:cubicBezTo>
                  <a:cubicBezTo>
                    <a:pt x="11" y="2"/>
                    <a:pt x="13" y="2"/>
                    <a:pt x="12" y="0"/>
                  </a:cubicBezTo>
                  <a:cubicBezTo>
                    <a:pt x="10" y="1"/>
                    <a:pt x="9" y="2"/>
                    <a:pt x="7" y="1"/>
                  </a:cubicBezTo>
                  <a:cubicBezTo>
                    <a:pt x="8" y="4"/>
                    <a:pt x="7" y="6"/>
                    <a:pt x="7" y="8"/>
                  </a:cubicBezTo>
                  <a:cubicBezTo>
                    <a:pt x="4" y="8"/>
                    <a:pt x="1" y="7"/>
                    <a:pt x="0" y="11"/>
                  </a:cubicBezTo>
                  <a:cubicBezTo>
                    <a:pt x="6" y="12"/>
                    <a:pt x="10" y="10"/>
                    <a:pt x="12" y="6"/>
                  </a:cubicBezTo>
                  <a:cubicBezTo>
                    <a:pt x="13" y="8"/>
                    <a:pt x="10" y="8"/>
                    <a:pt x="12" y="10"/>
                  </a:cubicBezTo>
                  <a:cubicBezTo>
                    <a:pt x="18" y="10"/>
                    <a:pt x="12" y="5"/>
                    <a:pt x="15" y="3"/>
                  </a:cubicBezTo>
                  <a:cubicBezTo>
                    <a:pt x="17" y="5"/>
                    <a:pt x="19" y="4"/>
                    <a:pt x="18" y="7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2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4" name="任意多边形: 形状 10333">
              <a:extLst>
                <a:ext uri="{FF2B5EF4-FFF2-40B4-BE49-F238E27FC236}">
                  <a16:creationId xmlns:a16="http://schemas.microsoft.com/office/drawing/2014/main" id="{4E363D9E-B911-443D-A58A-CC875C3412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03626" y="-6324588"/>
              <a:ext cx="46038" cy="34925"/>
            </a:xfrm>
            <a:custGeom>
              <a:avLst/>
              <a:gdLst>
                <a:gd name="T0" fmla="*/ 14 w 14"/>
                <a:gd name="T1" fmla="*/ 4 h 11"/>
                <a:gd name="T2" fmla="*/ 0 w 14"/>
                <a:gd name="T3" fmla="*/ 6 h 11"/>
                <a:gd name="T4" fmla="*/ 5 w 14"/>
                <a:gd name="T5" fmla="*/ 11 h 11"/>
                <a:gd name="T6" fmla="*/ 10 w 14"/>
                <a:gd name="T7" fmla="*/ 9 h 11"/>
                <a:gd name="T8" fmla="*/ 8 w 14"/>
                <a:gd name="T9" fmla="*/ 4 h 11"/>
                <a:gd name="T10" fmla="*/ 14 w 14"/>
                <a:gd name="T1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1">
                  <a:moveTo>
                    <a:pt x="14" y="4"/>
                  </a:moveTo>
                  <a:cubicBezTo>
                    <a:pt x="9" y="0"/>
                    <a:pt x="6" y="6"/>
                    <a:pt x="0" y="6"/>
                  </a:cubicBezTo>
                  <a:cubicBezTo>
                    <a:pt x="2" y="10"/>
                    <a:pt x="9" y="5"/>
                    <a:pt x="5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8" y="6"/>
                    <a:pt x="6" y="7"/>
                    <a:pt x="8" y="4"/>
                  </a:cubicBezTo>
                  <a:cubicBezTo>
                    <a:pt x="10" y="6"/>
                    <a:pt x="11" y="6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5" name="任意多边形: 形状 10334">
              <a:extLst>
                <a:ext uri="{FF2B5EF4-FFF2-40B4-BE49-F238E27FC236}">
                  <a16:creationId xmlns:a16="http://schemas.microsoft.com/office/drawing/2014/main" id="{60F5CE3E-4328-42DD-89CF-4F39DC12DF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49651" y="-6286488"/>
              <a:ext cx="39688" cy="23813"/>
            </a:xfrm>
            <a:custGeom>
              <a:avLst/>
              <a:gdLst>
                <a:gd name="T0" fmla="*/ 11 w 12"/>
                <a:gd name="T1" fmla="*/ 1 h 7"/>
                <a:gd name="T2" fmla="*/ 3 w 12"/>
                <a:gd name="T3" fmla="*/ 5 h 7"/>
                <a:gd name="T4" fmla="*/ 1 w 12"/>
                <a:gd name="T5" fmla="*/ 1 h 7"/>
                <a:gd name="T6" fmla="*/ 11 w 12"/>
                <a:gd name="T7" fmla="*/ 5 h 7"/>
                <a:gd name="T8" fmla="*/ 11 w 12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1" y="1"/>
                  </a:moveTo>
                  <a:cubicBezTo>
                    <a:pt x="9" y="0"/>
                    <a:pt x="7" y="4"/>
                    <a:pt x="3" y="5"/>
                  </a:cubicBezTo>
                  <a:cubicBezTo>
                    <a:pt x="1" y="3"/>
                    <a:pt x="3" y="1"/>
                    <a:pt x="1" y="1"/>
                  </a:cubicBezTo>
                  <a:cubicBezTo>
                    <a:pt x="0" y="7"/>
                    <a:pt x="8" y="5"/>
                    <a:pt x="11" y="5"/>
                  </a:cubicBezTo>
                  <a:cubicBezTo>
                    <a:pt x="10" y="4"/>
                    <a:pt x="12" y="3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6" name="任意多边形: 形状 10335">
              <a:extLst>
                <a:ext uri="{FF2B5EF4-FFF2-40B4-BE49-F238E27FC236}">
                  <a16:creationId xmlns:a16="http://schemas.microsoft.com/office/drawing/2014/main" id="{F63DF4E6-EEED-4E5A-A185-A7E7202611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17864" y="-6915139"/>
              <a:ext cx="42863" cy="33338"/>
            </a:xfrm>
            <a:custGeom>
              <a:avLst/>
              <a:gdLst>
                <a:gd name="T0" fmla="*/ 2 w 13"/>
                <a:gd name="T1" fmla="*/ 10 h 10"/>
                <a:gd name="T2" fmla="*/ 8 w 13"/>
                <a:gd name="T3" fmla="*/ 5 h 10"/>
                <a:gd name="T4" fmla="*/ 2 w 13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2" y="10"/>
                  </a:moveTo>
                  <a:cubicBezTo>
                    <a:pt x="7" y="10"/>
                    <a:pt x="5" y="6"/>
                    <a:pt x="8" y="5"/>
                  </a:cubicBezTo>
                  <a:cubicBezTo>
                    <a:pt x="13" y="0"/>
                    <a:pt x="0" y="7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7" name="任意多边形: 形状 10336">
              <a:extLst>
                <a:ext uri="{FF2B5EF4-FFF2-40B4-BE49-F238E27FC236}">
                  <a16:creationId xmlns:a16="http://schemas.microsoft.com/office/drawing/2014/main" id="{E0259B4F-312E-4D05-A67B-2CFBA192B6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81351" y="-6894502"/>
              <a:ext cx="36513" cy="15875"/>
            </a:xfrm>
            <a:custGeom>
              <a:avLst/>
              <a:gdLst>
                <a:gd name="T0" fmla="*/ 0 w 11"/>
                <a:gd name="T1" fmla="*/ 5 h 5"/>
                <a:gd name="T2" fmla="*/ 11 w 11"/>
                <a:gd name="T3" fmla="*/ 0 h 5"/>
                <a:gd name="T4" fmla="*/ 0 w 11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cubicBezTo>
                    <a:pt x="3" y="3"/>
                    <a:pt x="10" y="4"/>
                    <a:pt x="11" y="0"/>
                  </a:cubicBezTo>
                  <a:cubicBezTo>
                    <a:pt x="7" y="3"/>
                    <a:pt x="1" y="1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8" name="任意多边形: 形状 10337">
              <a:extLst>
                <a:ext uri="{FF2B5EF4-FFF2-40B4-BE49-F238E27FC236}">
                  <a16:creationId xmlns:a16="http://schemas.microsoft.com/office/drawing/2014/main" id="{90934884-C77C-4857-98BE-F2486449494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02014" y="-6265850"/>
              <a:ext cx="52388" cy="39688"/>
            </a:xfrm>
            <a:custGeom>
              <a:avLst/>
              <a:gdLst>
                <a:gd name="T0" fmla="*/ 10 w 16"/>
                <a:gd name="T1" fmla="*/ 0 h 12"/>
                <a:gd name="T2" fmla="*/ 0 w 16"/>
                <a:gd name="T3" fmla="*/ 6 h 12"/>
                <a:gd name="T4" fmla="*/ 3 w 16"/>
                <a:gd name="T5" fmla="*/ 4 h 12"/>
                <a:gd name="T6" fmla="*/ 0 w 16"/>
                <a:gd name="T7" fmla="*/ 5 h 12"/>
                <a:gd name="T8" fmla="*/ 0 w 16"/>
                <a:gd name="T9" fmla="*/ 12 h 12"/>
                <a:gd name="T10" fmla="*/ 16 w 16"/>
                <a:gd name="T11" fmla="*/ 3 h 12"/>
                <a:gd name="T12" fmla="*/ 10 w 1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2">
                  <a:moveTo>
                    <a:pt x="10" y="0"/>
                  </a:moveTo>
                  <a:cubicBezTo>
                    <a:pt x="12" y="4"/>
                    <a:pt x="3" y="10"/>
                    <a:pt x="0" y="6"/>
                  </a:cubicBezTo>
                  <a:cubicBezTo>
                    <a:pt x="1" y="6"/>
                    <a:pt x="3" y="5"/>
                    <a:pt x="3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8"/>
                    <a:pt x="1" y="8"/>
                    <a:pt x="0" y="12"/>
                  </a:cubicBezTo>
                  <a:cubicBezTo>
                    <a:pt x="5" y="8"/>
                    <a:pt x="8" y="7"/>
                    <a:pt x="16" y="3"/>
                  </a:cubicBezTo>
                  <a:cubicBezTo>
                    <a:pt x="15" y="0"/>
                    <a:pt x="12" y="2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39" name="任意多边形: 形状 10338">
              <a:extLst>
                <a:ext uri="{FF2B5EF4-FFF2-40B4-BE49-F238E27FC236}">
                  <a16:creationId xmlns:a16="http://schemas.microsoft.com/office/drawing/2014/main" id="{863C2F79-DB45-415D-8C24-7D211E4F85B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92489" y="-6127737"/>
              <a:ext cx="39688" cy="20638"/>
            </a:xfrm>
            <a:custGeom>
              <a:avLst/>
              <a:gdLst>
                <a:gd name="T0" fmla="*/ 0 w 12"/>
                <a:gd name="T1" fmla="*/ 6 h 6"/>
                <a:gd name="T2" fmla="*/ 12 w 12"/>
                <a:gd name="T3" fmla="*/ 0 h 6"/>
                <a:gd name="T4" fmla="*/ 0 w 12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6"/>
                  </a:moveTo>
                  <a:cubicBezTo>
                    <a:pt x="4" y="1"/>
                    <a:pt x="10" y="3"/>
                    <a:pt x="12" y="0"/>
                  </a:cubicBezTo>
                  <a:cubicBezTo>
                    <a:pt x="7" y="0"/>
                    <a:pt x="1" y="1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0" name="任意多边形: 形状 10339">
              <a:extLst>
                <a:ext uri="{FF2B5EF4-FFF2-40B4-BE49-F238E27FC236}">
                  <a16:creationId xmlns:a16="http://schemas.microsoft.com/office/drawing/2014/main" id="{E8946033-B498-4A3E-BDE3-94CA24AD7D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67101" y="-5959462"/>
              <a:ext cx="26988" cy="36513"/>
            </a:xfrm>
            <a:custGeom>
              <a:avLst/>
              <a:gdLst>
                <a:gd name="T0" fmla="*/ 1 w 8"/>
                <a:gd name="T1" fmla="*/ 2 h 11"/>
                <a:gd name="T2" fmla="*/ 5 w 8"/>
                <a:gd name="T3" fmla="*/ 11 h 11"/>
                <a:gd name="T4" fmla="*/ 7 w 8"/>
                <a:gd name="T5" fmla="*/ 2 h 11"/>
                <a:gd name="T6" fmla="*/ 1 w 8"/>
                <a:gd name="T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1">
                  <a:moveTo>
                    <a:pt x="1" y="2"/>
                  </a:moveTo>
                  <a:cubicBezTo>
                    <a:pt x="8" y="4"/>
                    <a:pt x="0" y="9"/>
                    <a:pt x="5" y="11"/>
                  </a:cubicBezTo>
                  <a:cubicBezTo>
                    <a:pt x="3" y="7"/>
                    <a:pt x="8" y="6"/>
                    <a:pt x="7" y="2"/>
                  </a:cubicBezTo>
                  <a:cubicBezTo>
                    <a:pt x="4" y="5"/>
                    <a:pt x="4" y="0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1" name="任意多边形: 形状 10340">
              <a:extLst>
                <a:ext uri="{FF2B5EF4-FFF2-40B4-BE49-F238E27FC236}">
                  <a16:creationId xmlns:a16="http://schemas.microsoft.com/office/drawing/2014/main" id="{71C26C74-7A20-4D36-9D92-4A5C7C0C06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22639" y="-6161075"/>
              <a:ext cx="55563" cy="30163"/>
            </a:xfrm>
            <a:custGeom>
              <a:avLst/>
              <a:gdLst>
                <a:gd name="T0" fmla="*/ 7 w 17"/>
                <a:gd name="T1" fmla="*/ 9 h 9"/>
                <a:gd name="T2" fmla="*/ 6 w 17"/>
                <a:gd name="T3" fmla="*/ 7 h 9"/>
                <a:gd name="T4" fmla="*/ 17 w 17"/>
                <a:gd name="T5" fmla="*/ 6 h 9"/>
                <a:gd name="T6" fmla="*/ 7 w 17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9">
                  <a:moveTo>
                    <a:pt x="7" y="9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9" y="7"/>
                    <a:pt x="14" y="5"/>
                    <a:pt x="17" y="6"/>
                  </a:cubicBezTo>
                  <a:cubicBezTo>
                    <a:pt x="15" y="0"/>
                    <a:pt x="0" y="7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2" name="任意多边形: 形状 10341">
              <a:extLst>
                <a:ext uri="{FF2B5EF4-FFF2-40B4-BE49-F238E27FC236}">
                  <a16:creationId xmlns:a16="http://schemas.microsoft.com/office/drawing/2014/main" id="{3CCF6EC4-EEE8-4F01-A4CD-ADF4A7ED8D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49626" y="-5989624"/>
              <a:ext cx="42863" cy="26988"/>
            </a:xfrm>
            <a:custGeom>
              <a:avLst/>
              <a:gdLst>
                <a:gd name="T0" fmla="*/ 12 w 13"/>
                <a:gd name="T1" fmla="*/ 2 h 8"/>
                <a:gd name="T2" fmla="*/ 5 w 13"/>
                <a:gd name="T3" fmla="*/ 1 h 8"/>
                <a:gd name="T4" fmla="*/ 4 w 13"/>
                <a:gd name="T5" fmla="*/ 6 h 8"/>
                <a:gd name="T6" fmla="*/ 13 w 13"/>
                <a:gd name="T7" fmla="*/ 8 h 8"/>
                <a:gd name="T8" fmla="*/ 12 w 13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2"/>
                  </a:moveTo>
                  <a:cubicBezTo>
                    <a:pt x="9" y="4"/>
                    <a:pt x="7" y="2"/>
                    <a:pt x="5" y="1"/>
                  </a:cubicBezTo>
                  <a:cubicBezTo>
                    <a:pt x="6" y="3"/>
                    <a:pt x="0" y="6"/>
                    <a:pt x="4" y="6"/>
                  </a:cubicBezTo>
                  <a:cubicBezTo>
                    <a:pt x="7" y="0"/>
                    <a:pt x="10" y="8"/>
                    <a:pt x="13" y="8"/>
                  </a:cubicBezTo>
                  <a:cubicBezTo>
                    <a:pt x="12" y="6"/>
                    <a:pt x="13" y="5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3" name="任意多边形: 形状 10342">
              <a:extLst>
                <a:ext uri="{FF2B5EF4-FFF2-40B4-BE49-F238E27FC236}">
                  <a16:creationId xmlns:a16="http://schemas.microsoft.com/office/drawing/2014/main" id="{D66BBDBB-B67D-4658-AFBA-C93D4C7499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24214" y="-6164250"/>
              <a:ext cx="88900" cy="60325"/>
            </a:xfrm>
            <a:custGeom>
              <a:avLst/>
              <a:gdLst>
                <a:gd name="T0" fmla="*/ 26 w 27"/>
                <a:gd name="T1" fmla="*/ 12 h 18"/>
                <a:gd name="T2" fmla="*/ 17 w 27"/>
                <a:gd name="T3" fmla="*/ 12 h 18"/>
                <a:gd name="T4" fmla="*/ 22 w 27"/>
                <a:gd name="T5" fmla="*/ 10 h 18"/>
                <a:gd name="T6" fmla="*/ 19 w 27"/>
                <a:gd name="T7" fmla="*/ 1 h 18"/>
                <a:gd name="T8" fmla="*/ 11 w 27"/>
                <a:gd name="T9" fmla="*/ 0 h 18"/>
                <a:gd name="T10" fmla="*/ 16 w 27"/>
                <a:gd name="T11" fmla="*/ 3 h 18"/>
                <a:gd name="T12" fmla="*/ 18 w 27"/>
                <a:gd name="T13" fmla="*/ 9 h 18"/>
                <a:gd name="T14" fmla="*/ 12 w 27"/>
                <a:gd name="T15" fmla="*/ 10 h 18"/>
                <a:gd name="T16" fmla="*/ 10 w 27"/>
                <a:gd name="T17" fmla="*/ 7 h 18"/>
                <a:gd name="T18" fmla="*/ 0 w 27"/>
                <a:gd name="T19" fmla="*/ 11 h 18"/>
                <a:gd name="T20" fmla="*/ 6 w 27"/>
                <a:gd name="T21" fmla="*/ 14 h 18"/>
                <a:gd name="T22" fmla="*/ 7 w 27"/>
                <a:gd name="T23" fmla="*/ 11 h 18"/>
                <a:gd name="T24" fmla="*/ 15 w 27"/>
                <a:gd name="T25" fmla="*/ 11 h 18"/>
                <a:gd name="T26" fmla="*/ 16 w 27"/>
                <a:gd name="T27" fmla="*/ 15 h 18"/>
                <a:gd name="T28" fmla="*/ 26 w 27"/>
                <a:gd name="T2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18">
                  <a:moveTo>
                    <a:pt x="26" y="12"/>
                  </a:moveTo>
                  <a:cubicBezTo>
                    <a:pt x="23" y="14"/>
                    <a:pt x="18" y="17"/>
                    <a:pt x="17" y="12"/>
                  </a:cubicBezTo>
                  <a:cubicBezTo>
                    <a:pt x="20" y="11"/>
                    <a:pt x="19" y="8"/>
                    <a:pt x="22" y="10"/>
                  </a:cubicBezTo>
                  <a:cubicBezTo>
                    <a:pt x="19" y="6"/>
                    <a:pt x="15" y="5"/>
                    <a:pt x="19" y="1"/>
                  </a:cubicBezTo>
                  <a:cubicBezTo>
                    <a:pt x="17" y="1"/>
                    <a:pt x="14" y="1"/>
                    <a:pt x="11" y="0"/>
                  </a:cubicBezTo>
                  <a:cubicBezTo>
                    <a:pt x="12" y="5"/>
                    <a:pt x="15" y="0"/>
                    <a:pt x="16" y="3"/>
                  </a:cubicBezTo>
                  <a:cubicBezTo>
                    <a:pt x="15" y="5"/>
                    <a:pt x="16" y="6"/>
                    <a:pt x="18" y="9"/>
                  </a:cubicBezTo>
                  <a:cubicBezTo>
                    <a:pt x="16" y="8"/>
                    <a:pt x="14" y="9"/>
                    <a:pt x="12" y="1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5" y="11"/>
                    <a:pt x="6" y="11"/>
                    <a:pt x="0" y="11"/>
                  </a:cubicBezTo>
                  <a:cubicBezTo>
                    <a:pt x="1" y="15"/>
                    <a:pt x="3" y="16"/>
                    <a:pt x="6" y="14"/>
                  </a:cubicBezTo>
                  <a:cubicBezTo>
                    <a:pt x="8" y="14"/>
                    <a:pt x="6" y="12"/>
                    <a:pt x="7" y="11"/>
                  </a:cubicBezTo>
                  <a:cubicBezTo>
                    <a:pt x="11" y="10"/>
                    <a:pt x="12" y="16"/>
                    <a:pt x="15" y="11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9" y="15"/>
                    <a:pt x="27" y="18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4" name="任意多边形: 形状 10343">
              <a:extLst>
                <a:ext uri="{FF2B5EF4-FFF2-40B4-BE49-F238E27FC236}">
                  <a16:creationId xmlns:a16="http://schemas.microsoft.com/office/drawing/2014/main" id="{0554B0C3-6015-471F-9216-4B6B27452D7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38514" y="-5968987"/>
              <a:ext cx="33338" cy="19050"/>
            </a:xfrm>
            <a:custGeom>
              <a:avLst/>
              <a:gdLst>
                <a:gd name="T0" fmla="*/ 0 w 10"/>
                <a:gd name="T1" fmla="*/ 3 h 6"/>
                <a:gd name="T2" fmla="*/ 3 w 10"/>
                <a:gd name="T3" fmla="*/ 6 h 6"/>
                <a:gd name="T4" fmla="*/ 10 w 10"/>
                <a:gd name="T5" fmla="*/ 4 h 6"/>
                <a:gd name="T6" fmla="*/ 0 w 10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3"/>
                  </a:moveTo>
                  <a:cubicBezTo>
                    <a:pt x="1" y="3"/>
                    <a:pt x="3" y="4"/>
                    <a:pt x="3" y="6"/>
                  </a:cubicBezTo>
                  <a:cubicBezTo>
                    <a:pt x="6" y="3"/>
                    <a:pt x="7" y="4"/>
                    <a:pt x="10" y="4"/>
                  </a:cubicBezTo>
                  <a:cubicBezTo>
                    <a:pt x="9" y="0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5" name="任意多边形: 形状 10344">
              <a:extLst>
                <a:ext uri="{FF2B5EF4-FFF2-40B4-BE49-F238E27FC236}">
                  <a16:creationId xmlns:a16="http://schemas.microsoft.com/office/drawing/2014/main" id="{E03DEDED-C0B5-4C86-A357-3C1BAB5AC6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4051" y="-6130912"/>
              <a:ext cx="39688" cy="39688"/>
            </a:xfrm>
            <a:custGeom>
              <a:avLst/>
              <a:gdLst>
                <a:gd name="T0" fmla="*/ 2 w 12"/>
                <a:gd name="T1" fmla="*/ 9 h 12"/>
                <a:gd name="T2" fmla="*/ 4 w 12"/>
                <a:gd name="T3" fmla="*/ 5 h 12"/>
                <a:gd name="T4" fmla="*/ 12 w 12"/>
                <a:gd name="T5" fmla="*/ 7 h 12"/>
                <a:gd name="T6" fmla="*/ 2 w 12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9"/>
                  </a:moveTo>
                  <a:cubicBezTo>
                    <a:pt x="4" y="8"/>
                    <a:pt x="3" y="6"/>
                    <a:pt x="4" y="5"/>
                  </a:cubicBezTo>
                  <a:cubicBezTo>
                    <a:pt x="6" y="7"/>
                    <a:pt x="11" y="12"/>
                    <a:pt x="12" y="7"/>
                  </a:cubicBezTo>
                  <a:cubicBezTo>
                    <a:pt x="8" y="8"/>
                    <a:pt x="0" y="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6" name="任意多边形: 形状 10345">
              <a:extLst>
                <a:ext uri="{FF2B5EF4-FFF2-40B4-BE49-F238E27FC236}">
                  <a16:creationId xmlns:a16="http://schemas.microsoft.com/office/drawing/2014/main" id="{F187FB03-7EF5-4439-B44A-1541D38EA3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78101" y="-6826239"/>
              <a:ext cx="28575" cy="30163"/>
            </a:xfrm>
            <a:custGeom>
              <a:avLst/>
              <a:gdLst>
                <a:gd name="T0" fmla="*/ 2 w 9"/>
                <a:gd name="T1" fmla="*/ 4 h 9"/>
                <a:gd name="T2" fmla="*/ 0 w 9"/>
                <a:gd name="T3" fmla="*/ 6 h 9"/>
                <a:gd name="T4" fmla="*/ 2 w 9"/>
                <a:gd name="T5" fmla="*/ 9 h 9"/>
                <a:gd name="T6" fmla="*/ 6 w 9"/>
                <a:gd name="T7" fmla="*/ 9 h 9"/>
                <a:gd name="T8" fmla="*/ 2 w 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2" y="4"/>
                  </a:moveTo>
                  <a:cubicBezTo>
                    <a:pt x="4" y="3"/>
                    <a:pt x="2" y="5"/>
                    <a:pt x="0" y="6"/>
                  </a:cubicBezTo>
                  <a:cubicBezTo>
                    <a:pt x="2" y="7"/>
                    <a:pt x="0" y="9"/>
                    <a:pt x="2" y="9"/>
                  </a:cubicBezTo>
                  <a:cubicBezTo>
                    <a:pt x="1" y="5"/>
                    <a:pt x="5" y="9"/>
                    <a:pt x="6" y="9"/>
                  </a:cubicBezTo>
                  <a:cubicBezTo>
                    <a:pt x="9" y="3"/>
                    <a:pt x="7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7" name="任意多边形: 形状 10346">
              <a:extLst>
                <a:ext uri="{FF2B5EF4-FFF2-40B4-BE49-F238E27FC236}">
                  <a16:creationId xmlns:a16="http://schemas.microsoft.com/office/drawing/2014/main" id="{A603B731-49A0-4799-AD9D-FAE7D734E4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38401" y="-6756389"/>
              <a:ext cx="20638" cy="19050"/>
            </a:xfrm>
            <a:custGeom>
              <a:avLst/>
              <a:gdLst>
                <a:gd name="T0" fmla="*/ 0 w 6"/>
                <a:gd name="T1" fmla="*/ 6 h 6"/>
                <a:gd name="T2" fmla="*/ 5 w 6"/>
                <a:gd name="T3" fmla="*/ 2 h 6"/>
                <a:gd name="T4" fmla="*/ 6 w 6"/>
                <a:gd name="T5" fmla="*/ 1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4" y="6"/>
                    <a:pt x="4" y="4"/>
                    <a:pt x="5" y="2"/>
                  </a:cubicBezTo>
                  <a:cubicBezTo>
                    <a:pt x="5" y="2"/>
                    <a:pt x="6" y="3"/>
                    <a:pt x="6" y="1"/>
                  </a:cubicBezTo>
                  <a:cubicBezTo>
                    <a:pt x="2" y="0"/>
                    <a:pt x="0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8" name="任意多边形: 形状 10347">
              <a:extLst>
                <a:ext uri="{FF2B5EF4-FFF2-40B4-BE49-F238E27FC236}">
                  <a16:creationId xmlns:a16="http://schemas.microsoft.com/office/drawing/2014/main" id="{C0B2C861-8756-44B7-9FDB-D9F99942E8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70101" y="-4849796"/>
              <a:ext cx="30163" cy="42863"/>
            </a:xfrm>
            <a:custGeom>
              <a:avLst/>
              <a:gdLst>
                <a:gd name="T0" fmla="*/ 2 w 9"/>
                <a:gd name="T1" fmla="*/ 4 h 13"/>
                <a:gd name="T2" fmla="*/ 1 w 9"/>
                <a:gd name="T3" fmla="*/ 13 h 13"/>
                <a:gd name="T4" fmla="*/ 6 w 9"/>
                <a:gd name="T5" fmla="*/ 0 h 13"/>
                <a:gd name="T6" fmla="*/ 2 w 9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2" y="4"/>
                  </a:moveTo>
                  <a:cubicBezTo>
                    <a:pt x="2" y="6"/>
                    <a:pt x="2" y="6"/>
                    <a:pt x="1" y="13"/>
                  </a:cubicBezTo>
                  <a:cubicBezTo>
                    <a:pt x="5" y="10"/>
                    <a:pt x="9" y="6"/>
                    <a:pt x="6" y="0"/>
                  </a:cubicBezTo>
                  <a:cubicBezTo>
                    <a:pt x="5" y="2"/>
                    <a:pt x="0" y="2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49" name="任意多边形: 形状 10348">
              <a:extLst>
                <a:ext uri="{FF2B5EF4-FFF2-40B4-BE49-F238E27FC236}">
                  <a16:creationId xmlns:a16="http://schemas.microsoft.com/office/drawing/2014/main" id="{C6D66FFA-DCDD-47CF-9AF8-65CE025AEF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8750" y="-6743689"/>
              <a:ext cx="55563" cy="23813"/>
            </a:xfrm>
            <a:custGeom>
              <a:avLst/>
              <a:gdLst>
                <a:gd name="T0" fmla="*/ 8 w 17"/>
                <a:gd name="T1" fmla="*/ 0 h 7"/>
                <a:gd name="T2" fmla="*/ 2 w 17"/>
                <a:gd name="T3" fmla="*/ 5 h 7"/>
                <a:gd name="T4" fmla="*/ 6 w 17"/>
                <a:gd name="T5" fmla="*/ 7 h 7"/>
                <a:gd name="T6" fmla="*/ 17 w 17"/>
                <a:gd name="T7" fmla="*/ 5 h 7"/>
                <a:gd name="T8" fmla="*/ 15 w 17"/>
                <a:gd name="T9" fmla="*/ 0 h 7"/>
                <a:gd name="T10" fmla="*/ 8 w 17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7">
                  <a:moveTo>
                    <a:pt x="8" y="0"/>
                  </a:moveTo>
                  <a:cubicBezTo>
                    <a:pt x="4" y="3"/>
                    <a:pt x="0" y="0"/>
                    <a:pt x="2" y="5"/>
                  </a:cubicBezTo>
                  <a:cubicBezTo>
                    <a:pt x="3" y="4"/>
                    <a:pt x="4" y="6"/>
                    <a:pt x="6" y="7"/>
                  </a:cubicBezTo>
                  <a:cubicBezTo>
                    <a:pt x="9" y="2"/>
                    <a:pt x="13" y="2"/>
                    <a:pt x="17" y="5"/>
                  </a:cubicBezTo>
                  <a:cubicBezTo>
                    <a:pt x="15" y="3"/>
                    <a:pt x="15" y="2"/>
                    <a:pt x="15" y="0"/>
                  </a:cubicBezTo>
                  <a:cubicBezTo>
                    <a:pt x="12" y="2"/>
                    <a:pt x="9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0" name="任意多边形: 形状 10349">
              <a:extLst>
                <a:ext uri="{FF2B5EF4-FFF2-40B4-BE49-F238E27FC236}">
                  <a16:creationId xmlns:a16="http://schemas.microsoft.com/office/drawing/2014/main" id="{01CA8A2A-4EFE-4C32-8D9E-1F72A307286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49213" y="-4457683"/>
              <a:ext cx="52388" cy="36513"/>
            </a:xfrm>
            <a:custGeom>
              <a:avLst/>
              <a:gdLst>
                <a:gd name="T0" fmla="*/ 15 w 16"/>
                <a:gd name="T1" fmla="*/ 1 h 11"/>
                <a:gd name="T2" fmla="*/ 4 w 16"/>
                <a:gd name="T3" fmla="*/ 5 h 11"/>
                <a:gd name="T4" fmla="*/ 0 w 16"/>
                <a:gd name="T5" fmla="*/ 3 h 11"/>
                <a:gd name="T6" fmla="*/ 16 w 16"/>
                <a:gd name="T7" fmla="*/ 5 h 11"/>
                <a:gd name="T8" fmla="*/ 14 w 16"/>
                <a:gd name="T9" fmla="*/ 3 h 11"/>
                <a:gd name="T10" fmla="*/ 15 w 1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5" y="1"/>
                  </a:moveTo>
                  <a:cubicBezTo>
                    <a:pt x="12" y="2"/>
                    <a:pt x="9" y="4"/>
                    <a:pt x="4" y="5"/>
                  </a:cubicBezTo>
                  <a:cubicBezTo>
                    <a:pt x="3" y="4"/>
                    <a:pt x="2" y="1"/>
                    <a:pt x="0" y="3"/>
                  </a:cubicBezTo>
                  <a:cubicBezTo>
                    <a:pt x="4" y="11"/>
                    <a:pt x="11" y="0"/>
                    <a:pt x="16" y="5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2"/>
                    <a:pt x="15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1" name="任意多边形: 形状 10350">
              <a:extLst>
                <a:ext uri="{FF2B5EF4-FFF2-40B4-BE49-F238E27FC236}">
                  <a16:creationId xmlns:a16="http://schemas.microsoft.com/office/drawing/2014/main" id="{EDCFB12A-89FA-406B-BF50-5B9EE1F86FA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26" y="-4197332"/>
              <a:ext cx="52388" cy="82550"/>
            </a:xfrm>
            <a:custGeom>
              <a:avLst/>
              <a:gdLst>
                <a:gd name="T0" fmla="*/ 0 w 16"/>
                <a:gd name="T1" fmla="*/ 24 h 25"/>
                <a:gd name="T2" fmla="*/ 7 w 16"/>
                <a:gd name="T3" fmla="*/ 23 h 25"/>
                <a:gd name="T4" fmla="*/ 16 w 16"/>
                <a:gd name="T5" fmla="*/ 12 h 25"/>
                <a:gd name="T6" fmla="*/ 16 w 16"/>
                <a:gd name="T7" fmla="*/ 7 h 25"/>
                <a:gd name="T8" fmla="*/ 9 w 16"/>
                <a:gd name="T9" fmla="*/ 7 h 25"/>
                <a:gd name="T10" fmla="*/ 7 w 16"/>
                <a:gd name="T11" fmla="*/ 1 h 25"/>
                <a:gd name="T12" fmla="*/ 5 w 16"/>
                <a:gd name="T13" fmla="*/ 8 h 25"/>
                <a:gd name="T14" fmla="*/ 9 w 16"/>
                <a:gd name="T15" fmla="*/ 8 h 25"/>
                <a:gd name="T16" fmla="*/ 2 w 16"/>
                <a:gd name="T17" fmla="*/ 12 h 25"/>
                <a:gd name="T18" fmla="*/ 6 w 16"/>
                <a:gd name="T19" fmla="*/ 16 h 25"/>
                <a:gd name="T20" fmla="*/ 0 w 16"/>
                <a:gd name="T21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5">
                  <a:moveTo>
                    <a:pt x="0" y="24"/>
                  </a:moveTo>
                  <a:cubicBezTo>
                    <a:pt x="3" y="22"/>
                    <a:pt x="5" y="25"/>
                    <a:pt x="7" y="23"/>
                  </a:cubicBezTo>
                  <a:cubicBezTo>
                    <a:pt x="7" y="17"/>
                    <a:pt x="11" y="17"/>
                    <a:pt x="16" y="12"/>
                  </a:cubicBezTo>
                  <a:cubicBezTo>
                    <a:pt x="14" y="10"/>
                    <a:pt x="16" y="9"/>
                    <a:pt x="16" y="7"/>
                  </a:cubicBezTo>
                  <a:cubicBezTo>
                    <a:pt x="13" y="9"/>
                    <a:pt x="11" y="7"/>
                    <a:pt x="9" y="7"/>
                  </a:cubicBezTo>
                  <a:cubicBezTo>
                    <a:pt x="9" y="6"/>
                    <a:pt x="9" y="0"/>
                    <a:pt x="7" y="1"/>
                  </a:cubicBezTo>
                  <a:cubicBezTo>
                    <a:pt x="7" y="6"/>
                    <a:pt x="4" y="4"/>
                    <a:pt x="5" y="8"/>
                  </a:cubicBezTo>
                  <a:cubicBezTo>
                    <a:pt x="6" y="7"/>
                    <a:pt x="8" y="7"/>
                    <a:pt x="9" y="8"/>
                  </a:cubicBezTo>
                  <a:cubicBezTo>
                    <a:pt x="7" y="12"/>
                    <a:pt x="6" y="11"/>
                    <a:pt x="2" y="12"/>
                  </a:cubicBezTo>
                  <a:cubicBezTo>
                    <a:pt x="3" y="15"/>
                    <a:pt x="5" y="14"/>
                    <a:pt x="6" y="16"/>
                  </a:cubicBezTo>
                  <a:cubicBezTo>
                    <a:pt x="2" y="16"/>
                    <a:pt x="2" y="22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2" name="任意多边形: 形状 10351">
              <a:extLst>
                <a:ext uri="{FF2B5EF4-FFF2-40B4-BE49-F238E27FC236}">
                  <a16:creationId xmlns:a16="http://schemas.microsoft.com/office/drawing/2014/main" id="{E8BDE7EC-16C8-4A7B-856E-6595C228B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66626" y="-4918059"/>
              <a:ext cx="49213" cy="15875"/>
            </a:xfrm>
            <a:custGeom>
              <a:avLst/>
              <a:gdLst>
                <a:gd name="T0" fmla="*/ 5 w 15"/>
                <a:gd name="T1" fmla="*/ 3 h 5"/>
                <a:gd name="T2" fmla="*/ 15 w 15"/>
                <a:gd name="T3" fmla="*/ 4 h 5"/>
                <a:gd name="T4" fmla="*/ 11 w 15"/>
                <a:gd name="T5" fmla="*/ 2 h 5"/>
                <a:gd name="T6" fmla="*/ 10 w 15"/>
                <a:gd name="T7" fmla="*/ 1 h 5"/>
                <a:gd name="T8" fmla="*/ 5 w 1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5" y="3"/>
                  </a:moveTo>
                  <a:cubicBezTo>
                    <a:pt x="9" y="3"/>
                    <a:pt x="11" y="5"/>
                    <a:pt x="15" y="4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1"/>
                    <a:pt x="11" y="0"/>
                    <a:pt x="10" y="1"/>
                  </a:cubicBezTo>
                  <a:cubicBezTo>
                    <a:pt x="12" y="3"/>
                    <a:pt x="0" y="2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3" name="任意多边形: 形状 10352">
              <a:extLst>
                <a:ext uri="{FF2B5EF4-FFF2-40B4-BE49-F238E27FC236}">
                  <a16:creationId xmlns:a16="http://schemas.microsoft.com/office/drawing/2014/main" id="{B72D608B-BAB8-414D-B8B7-B3E4DD17D5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71363" y="-4813284"/>
              <a:ext cx="254000" cy="128588"/>
            </a:xfrm>
            <a:custGeom>
              <a:avLst/>
              <a:gdLst>
                <a:gd name="T0" fmla="*/ 25 w 77"/>
                <a:gd name="T1" fmla="*/ 32 h 39"/>
                <a:gd name="T2" fmla="*/ 29 w 77"/>
                <a:gd name="T3" fmla="*/ 35 h 39"/>
                <a:gd name="T4" fmla="*/ 35 w 77"/>
                <a:gd name="T5" fmla="*/ 25 h 39"/>
                <a:gd name="T6" fmla="*/ 65 w 77"/>
                <a:gd name="T7" fmla="*/ 17 h 39"/>
                <a:gd name="T8" fmla="*/ 63 w 77"/>
                <a:gd name="T9" fmla="*/ 12 h 39"/>
                <a:gd name="T10" fmla="*/ 73 w 77"/>
                <a:gd name="T11" fmla="*/ 8 h 39"/>
                <a:gd name="T12" fmla="*/ 76 w 77"/>
                <a:gd name="T13" fmla="*/ 0 h 39"/>
                <a:gd name="T14" fmla="*/ 58 w 77"/>
                <a:gd name="T15" fmla="*/ 17 h 39"/>
                <a:gd name="T16" fmla="*/ 34 w 77"/>
                <a:gd name="T17" fmla="*/ 19 h 39"/>
                <a:gd name="T18" fmla="*/ 23 w 77"/>
                <a:gd name="T19" fmla="*/ 25 h 39"/>
                <a:gd name="T20" fmla="*/ 24 w 77"/>
                <a:gd name="T21" fmla="*/ 30 h 39"/>
                <a:gd name="T22" fmla="*/ 12 w 77"/>
                <a:gd name="T23" fmla="*/ 35 h 39"/>
                <a:gd name="T24" fmla="*/ 4 w 77"/>
                <a:gd name="T25" fmla="*/ 36 h 39"/>
                <a:gd name="T26" fmla="*/ 10 w 77"/>
                <a:gd name="T27" fmla="*/ 38 h 39"/>
                <a:gd name="T28" fmla="*/ 25 w 77"/>
                <a:gd name="T2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39">
                  <a:moveTo>
                    <a:pt x="25" y="32"/>
                  </a:moveTo>
                  <a:cubicBezTo>
                    <a:pt x="26" y="31"/>
                    <a:pt x="27" y="36"/>
                    <a:pt x="29" y="35"/>
                  </a:cubicBezTo>
                  <a:cubicBezTo>
                    <a:pt x="27" y="27"/>
                    <a:pt x="38" y="34"/>
                    <a:pt x="35" y="25"/>
                  </a:cubicBezTo>
                  <a:cubicBezTo>
                    <a:pt x="44" y="27"/>
                    <a:pt x="59" y="18"/>
                    <a:pt x="65" y="17"/>
                  </a:cubicBezTo>
                  <a:cubicBezTo>
                    <a:pt x="64" y="17"/>
                    <a:pt x="63" y="13"/>
                    <a:pt x="63" y="12"/>
                  </a:cubicBezTo>
                  <a:cubicBezTo>
                    <a:pt x="68" y="13"/>
                    <a:pt x="73" y="0"/>
                    <a:pt x="73" y="8"/>
                  </a:cubicBezTo>
                  <a:cubicBezTo>
                    <a:pt x="77" y="7"/>
                    <a:pt x="76" y="3"/>
                    <a:pt x="76" y="0"/>
                  </a:cubicBezTo>
                  <a:cubicBezTo>
                    <a:pt x="70" y="7"/>
                    <a:pt x="61" y="10"/>
                    <a:pt x="58" y="17"/>
                  </a:cubicBezTo>
                  <a:cubicBezTo>
                    <a:pt x="48" y="11"/>
                    <a:pt x="39" y="32"/>
                    <a:pt x="34" y="19"/>
                  </a:cubicBezTo>
                  <a:cubicBezTo>
                    <a:pt x="31" y="24"/>
                    <a:pt x="29" y="22"/>
                    <a:pt x="23" y="25"/>
                  </a:cubicBezTo>
                  <a:cubicBezTo>
                    <a:pt x="25" y="27"/>
                    <a:pt x="25" y="29"/>
                    <a:pt x="24" y="30"/>
                  </a:cubicBezTo>
                  <a:cubicBezTo>
                    <a:pt x="19" y="31"/>
                    <a:pt x="16" y="31"/>
                    <a:pt x="12" y="35"/>
                  </a:cubicBezTo>
                  <a:cubicBezTo>
                    <a:pt x="8" y="30"/>
                    <a:pt x="0" y="32"/>
                    <a:pt x="4" y="36"/>
                  </a:cubicBezTo>
                  <a:cubicBezTo>
                    <a:pt x="6" y="29"/>
                    <a:pt x="8" y="39"/>
                    <a:pt x="10" y="38"/>
                  </a:cubicBezTo>
                  <a:cubicBezTo>
                    <a:pt x="13" y="35"/>
                    <a:pt x="22" y="38"/>
                    <a:pt x="2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4" name="任意多边形: 形状 10353">
              <a:extLst>
                <a:ext uri="{FF2B5EF4-FFF2-40B4-BE49-F238E27FC236}">
                  <a16:creationId xmlns:a16="http://schemas.microsoft.com/office/drawing/2014/main" id="{AD5E528B-71A5-4A7B-8342-3879B4C702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41213" y="-4635483"/>
              <a:ext cx="293688" cy="220663"/>
            </a:xfrm>
            <a:custGeom>
              <a:avLst/>
              <a:gdLst>
                <a:gd name="T0" fmla="*/ 45 w 89"/>
                <a:gd name="T1" fmla="*/ 59 h 67"/>
                <a:gd name="T2" fmla="*/ 74 w 89"/>
                <a:gd name="T3" fmla="*/ 60 h 67"/>
                <a:gd name="T4" fmla="*/ 83 w 89"/>
                <a:gd name="T5" fmla="*/ 49 h 67"/>
                <a:gd name="T6" fmla="*/ 79 w 89"/>
                <a:gd name="T7" fmla="*/ 44 h 67"/>
                <a:gd name="T8" fmla="*/ 83 w 89"/>
                <a:gd name="T9" fmla="*/ 38 h 67"/>
                <a:gd name="T10" fmla="*/ 75 w 89"/>
                <a:gd name="T11" fmla="*/ 50 h 67"/>
                <a:gd name="T12" fmla="*/ 69 w 89"/>
                <a:gd name="T13" fmla="*/ 49 h 67"/>
                <a:gd name="T14" fmla="*/ 74 w 89"/>
                <a:gd name="T15" fmla="*/ 51 h 67"/>
                <a:gd name="T16" fmla="*/ 72 w 89"/>
                <a:gd name="T17" fmla="*/ 55 h 67"/>
                <a:gd name="T18" fmla="*/ 59 w 89"/>
                <a:gd name="T19" fmla="*/ 56 h 67"/>
                <a:gd name="T20" fmla="*/ 58 w 89"/>
                <a:gd name="T21" fmla="*/ 51 h 67"/>
                <a:gd name="T22" fmla="*/ 62 w 89"/>
                <a:gd name="T23" fmla="*/ 43 h 67"/>
                <a:gd name="T24" fmla="*/ 69 w 89"/>
                <a:gd name="T25" fmla="*/ 43 h 67"/>
                <a:gd name="T26" fmla="*/ 76 w 89"/>
                <a:gd name="T27" fmla="*/ 33 h 67"/>
                <a:gd name="T28" fmla="*/ 89 w 89"/>
                <a:gd name="T29" fmla="*/ 5 h 67"/>
                <a:gd name="T30" fmla="*/ 68 w 89"/>
                <a:gd name="T31" fmla="*/ 11 h 67"/>
                <a:gd name="T32" fmla="*/ 77 w 89"/>
                <a:gd name="T33" fmla="*/ 6 h 67"/>
                <a:gd name="T34" fmla="*/ 76 w 89"/>
                <a:gd name="T35" fmla="*/ 0 h 67"/>
                <a:gd name="T36" fmla="*/ 60 w 89"/>
                <a:gd name="T37" fmla="*/ 2 h 67"/>
                <a:gd name="T38" fmla="*/ 53 w 89"/>
                <a:gd name="T39" fmla="*/ 6 h 67"/>
                <a:gd name="T40" fmla="*/ 60 w 89"/>
                <a:gd name="T41" fmla="*/ 7 h 67"/>
                <a:gd name="T42" fmla="*/ 54 w 89"/>
                <a:gd name="T43" fmla="*/ 25 h 67"/>
                <a:gd name="T44" fmla="*/ 65 w 89"/>
                <a:gd name="T45" fmla="*/ 14 h 67"/>
                <a:gd name="T46" fmla="*/ 6 w 89"/>
                <a:gd name="T47" fmla="*/ 51 h 67"/>
                <a:gd name="T48" fmla="*/ 0 w 89"/>
                <a:gd name="T49" fmla="*/ 56 h 67"/>
                <a:gd name="T50" fmla="*/ 29 w 89"/>
                <a:gd name="T51" fmla="*/ 62 h 67"/>
                <a:gd name="T52" fmla="*/ 41 w 89"/>
                <a:gd name="T53" fmla="*/ 62 h 67"/>
                <a:gd name="T54" fmla="*/ 45 w 89"/>
                <a:gd name="T55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9" h="67">
                  <a:moveTo>
                    <a:pt x="45" y="59"/>
                  </a:moveTo>
                  <a:cubicBezTo>
                    <a:pt x="52" y="67"/>
                    <a:pt x="72" y="52"/>
                    <a:pt x="74" y="60"/>
                  </a:cubicBezTo>
                  <a:cubicBezTo>
                    <a:pt x="76" y="56"/>
                    <a:pt x="78" y="52"/>
                    <a:pt x="83" y="49"/>
                  </a:cubicBezTo>
                  <a:cubicBezTo>
                    <a:pt x="82" y="46"/>
                    <a:pt x="80" y="47"/>
                    <a:pt x="79" y="44"/>
                  </a:cubicBezTo>
                  <a:cubicBezTo>
                    <a:pt x="82" y="42"/>
                    <a:pt x="83" y="41"/>
                    <a:pt x="83" y="38"/>
                  </a:cubicBezTo>
                  <a:cubicBezTo>
                    <a:pt x="77" y="41"/>
                    <a:pt x="79" y="47"/>
                    <a:pt x="75" y="50"/>
                  </a:cubicBezTo>
                  <a:cubicBezTo>
                    <a:pt x="73" y="46"/>
                    <a:pt x="69" y="46"/>
                    <a:pt x="69" y="49"/>
                  </a:cubicBezTo>
                  <a:cubicBezTo>
                    <a:pt x="70" y="54"/>
                    <a:pt x="73" y="48"/>
                    <a:pt x="74" y="51"/>
                  </a:cubicBezTo>
                  <a:cubicBezTo>
                    <a:pt x="72" y="52"/>
                    <a:pt x="75" y="54"/>
                    <a:pt x="72" y="55"/>
                  </a:cubicBezTo>
                  <a:cubicBezTo>
                    <a:pt x="71" y="48"/>
                    <a:pt x="64" y="60"/>
                    <a:pt x="59" y="56"/>
                  </a:cubicBezTo>
                  <a:cubicBezTo>
                    <a:pt x="58" y="54"/>
                    <a:pt x="57" y="52"/>
                    <a:pt x="58" y="51"/>
                  </a:cubicBezTo>
                  <a:cubicBezTo>
                    <a:pt x="66" y="48"/>
                    <a:pt x="60" y="47"/>
                    <a:pt x="62" y="43"/>
                  </a:cubicBezTo>
                  <a:cubicBezTo>
                    <a:pt x="65" y="40"/>
                    <a:pt x="67" y="44"/>
                    <a:pt x="69" y="43"/>
                  </a:cubicBezTo>
                  <a:cubicBezTo>
                    <a:pt x="66" y="37"/>
                    <a:pt x="72" y="34"/>
                    <a:pt x="76" y="33"/>
                  </a:cubicBezTo>
                  <a:cubicBezTo>
                    <a:pt x="82" y="25"/>
                    <a:pt x="83" y="10"/>
                    <a:pt x="89" y="5"/>
                  </a:cubicBezTo>
                  <a:cubicBezTo>
                    <a:pt x="81" y="7"/>
                    <a:pt x="77" y="16"/>
                    <a:pt x="68" y="11"/>
                  </a:cubicBezTo>
                  <a:cubicBezTo>
                    <a:pt x="69" y="7"/>
                    <a:pt x="73" y="9"/>
                    <a:pt x="77" y="6"/>
                  </a:cubicBezTo>
                  <a:cubicBezTo>
                    <a:pt x="74" y="3"/>
                    <a:pt x="77" y="3"/>
                    <a:pt x="76" y="0"/>
                  </a:cubicBezTo>
                  <a:cubicBezTo>
                    <a:pt x="73" y="3"/>
                    <a:pt x="60" y="12"/>
                    <a:pt x="60" y="2"/>
                  </a:cubicBezTo>
                  <a:cubicBezTo>
                    <a:pt x="57" y="5"/>
                    <a:pt x="53" y="3"/>
                    <a:pt x="53" y="6"/>
                  </a:cubicBezTo>
                  <a:cubicBezTo>
                    <a:pt x="54" y="12"/>
                    <a:pt x="58" y="3"/>
                    <a:pt x="60" y="7"/>
                  </a:cubicBezTo>
                  <a:cubicBezTo>
                    <a:pt x="55" y="13"/>
                    <a:pt x="57" y="19"/>
                    <a:pt x="54" y="25"/>
                  </a:cubicBezTo>
                  <a:cubicBezTo>
                    <a:pt x="62" y="23"/>
                    <a:pt x="60" y="15"/>
                    <a:pt x="65" y="14"/>
                  </a:cubicBezTo>
                  <a:cubicBezTo>
                    <a:pt x="60" y="36"/>
                    <a:pt x="22" y="38"/>
                    <a:pt x="6" y="51"/>
                  </a:cubicBezTo>
                  <a:cubicBezTo>
                    <a:pt x="8" y="50"/>
                    <a:pt x="4" y="56"/>
                    <a:pt x="0" y="56"/>
                  </a:cubicBezTo>
                  <a:cubicBezTo>
                    <a:pt x="7" y="61"/>
                    <a:pt x="20" y="56"/>
                    <a:pt x="29" y="62"/>
                  </a:cubicBezTo>
                  <a:cubicBezTo>
                    <a:pt x="34" y="60"/>
                    <a:pt x="38" y="60"/>
                    <a:pt x="41" y="62"/>
                  </a:cubicBezTo>
                  <a:cubicBezTo>
                    <a:pt x="43" y="61"/>
                    <a:pt x="44" y="60"/>
                    <a:pt x="45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5" name="任意多边形: 形状 10354">
              <a:extLst>
                <a:ext uri="{FF2B5EF4-FFF2-40B4-BE49-F238E27FC236}">
                  <a16:creationId xmlns:a16="http://schemas.microsoft.com/office/drawing/2014/main" id="{BE196942-B508-4F64-B28C-7D672ADDFC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39638" y="-4829159"/>
              <a:ext cx="30163" cy="19050"/>
            </a:xfrm>
            <a:custGeom>
              <a:avLst/>
              <a:gdLst>
                <a:gd name="T0" fmla="*/ 3 w 9"/>
                <a:gd name="T1" fmla="*/ 6 h 6"/>
                <a:gd name="T2" fmla="*/ 8 w 9"/>
                <a:gd name="T3" fmla="*/ 3 h 6"/>
                <a:gd name="T4" fmla="*/ 1 w 9"/>
                <a:gd name="T5" fmla="*/ 0 h 6"/>
                <a:gd name="T6" fmla="*/ 3 w 9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3" y="6"/>
                  </a:moveTo>
                  <a:cubicBezTo>
                    <a:pt x="5" y="3"/>
                    <a:pt x="9" y="6"/>
                    <a:pt x="8" y="3"/>
                  </a:cubicBezTo>
                  <a:cubicBezTo>
                    <a:pt x="3" y="5"/>
                    <a:pt x="3" y="2"/>
                    <a:pt x="1" y="0"/>
                  </a:cubicBezTo>
                  <a:cubicBezTo>
                    <a:pt x="1" y="4"/>
                    <a:pt x="0" y="3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6" name="任意多边形: 形状 10355">
              <a:extLst>
                <a:ext uri="{FF2B5EF4-FFF2-40B4-BE49-F238E27FC236}">
                  <a16:creationId xmlns:a16="http://schemas.microsoft.com/office/drawing/2014/main" id="{BDD4785E-8784-4E64-AFAA-DDA578E708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88826" y="-4743434"/>
              <a:ext cx="46038" cy="28575"/>
            </a:xfrm>
            <a:custGeom>
              <a:avLst/>
              <a:gdLst>
                <a:gd name="T0" fmla="*/ 0 w 14"/>
                <a:gd name="T1" fmla="*/ 9 h 9"/>
                <a:gd name="T2" fmla="*/ 14 w 14"/>
                <a:gd name="T3" fmla="*/ 3 h 9"/>
                <a:gd name="T4" fmla="*/ 0 w 14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0" y="9"/>
                  </a:moveTo>
                  <a:cubicBezTo>
                    <a:pt x="5" y="8"/>
                    <a:pt x="10" y="5"/>
                    <a:pt x="14" y="3"/>
                  </a:cubicBezTo>
                  <a:cubicBezTo>
                    <a:pt x="11" y="0"/>
                    <a:pt x="1" y="8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7" name="任意多边形: 形状 10356">
              <a:extLst>
                <a:ext uri="{FF2B5EF4-FFF2-40B4-BE49-F238E27FC236}">
                  <a16:creationId xmlns:a16="http://schemas.microsoft.com/office/drawing/2014/main" id="{C4D76475-F2AD-433C-9034-31308CDF3E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7088" y="-4583096"/>
              <a:ext cx="76200" cy="36513"/>
            </a:xfrm>
            <a:custGeom>
              <a:avLst/>
              <a:gdLst>
                <a:gd name="T0" fmla="*/ 5 w 23"/>
                <a:gd name="T1" fmla="*/ 10 h 11"/>
                <a:gd name="T2" fmla="*/ 23 w 23"/>
                <a:gd name="T3" fmla="*/ 3 h 11"/>
                <a:gd name="T4" fmla="*/ 5 w 23"/>
                <a:gd name="T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1">
                  <a:moveTo>
                    <a:pt x="5" y="10"/>
                  </a:moveTo>
                  <a:cubicBezTo>
                    <a:pt x="10" y="11"/>
                    <a:pt x="17" y="7"/>
                    <a:pt x="23" y="3"/>
                  </a:cubicBezTo>
                  <a:cubicBezTo>
                    <a:pt x="17" y="4"/>
                    <a:pt x="0" y="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8" name="任意多边形: 形状 10357">
              <a:extLst>
                <a:ext uri="{FF2B5EF4-FFF2-40B4-BE49-F238E27FC236}">
                  <a16:creationId xmlns:a16="http://schemas.microsoft.com/office/drawing/2014/main" id="{E13267D2-9E13-4C3B-8AB4-18FB443AA8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1138" y="-5386373"/>
              <a:ext cx="42863" cy="26988"/>
            </a:xfrm>
            <a:custGeom>
              <a:avLst/>
              <a:gdLst>
                <a:gd name="T0" fmla="*/ 3 w 13"/>
                <a:gd name="T1" fmla="*/ 4 h 8"/>
                <a:gd name="T2" fmla="*/ 13 w 13"/>
                <a:gd name="T3" fmla="*/ 6 h 8"/>
                <a:gd name="T4" fmla="*/ 3 w 13"/>
                <a:gd name="T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8">
                  <a:moveTo>
                    <a:pt x="3" y="4"/>
                  </a:moveTo>
                  <a:cubicBezTo>
                    <a:pt x="7" y="3"/>
                    <a:pt x="9" y="8"/>
                    <a:pt x="13" y="6"/>
                  </a:cubicBezTo>
                  <a:cubicBezTo>
                    <a:pt x="11" y="0"/>
                    <a:pt x="0" y="3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59" name="任意多边形: 形状 10358">
              <a:extLst>
                <a:ext uri="{FF2B5EF4-FFF2-40B4-BE49-F238E27FC236}">
                  <a16:creationId xmlns:a16="http://schemas.microsoft.com/office/drawing/2014/main" id="{40E07814-27EA-4C0D-AF18-BD5EAB0820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888" y="-6081700"/>
              <a:ext cx="36513" cy="20638"/>
            </a:xfrm>
            <a:custGeom>
              <a:avLst/>
              <a:gdLst>
                <a:gd name="T0" fmla="*/ 11 w 11"/>
                <a:gd name="T1" fmla="*/ 4 h 6"/>
                <a:gd name="T2" fmla="*/ 0 w 11"/>
                <a:gd name="T3" fmla="*/ 1 h 6"/>
                <a:gd name="T4" fmla="*/ 11 w 11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11" y="4"/>
                  </a:moveTo>
                  <a:cubicBezTo>
                    <a:pt x="8" y="0"/>
                    <a:pt x="0" y="0"/>
                    <a:pt x="0" y="1"/>
                  </a:cubicBezTo>
                  <a:cubicBezTo>
                    <a:pt x="4" y="1"/>
                    <a:pt x="7" y="6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0" name="任意多边形: 形状 10359">
              <a:extLst>
                <a:ext uri="{FF2B5EF4-FFF2-40B4-BE49-F238E27FC236}">
                  <a16:creationId xmlns:a16="http://schemas.microsoft.com/office/drawing/2014/main" id="{BFD01279-F7C0-45BF-A607-8006CC5FA90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7413" y="-5583223"/>
              <a:ext cx="26988" cy="22225"/>
            </a:xfrm>
            <a:custGeom>
              <a:avLst/>
              <a:gdLst>
                <a:gd name="T0" fmla="*/ 4 w 8"/>
                <a:gd name="T1" fmla="*/ 0 h 7"/>
                <a:gd name="T2" fmla="*/ 1 w 8"/>
                <a:gd name="T3" fmla="*/ 6 h 7"/>
                <a:gd name="T4" fmla="*/ 7 w 8"/>
                <a:gd name="T5" fmla="*/ 4 h 7"/>
                <a:gd name="T6" fmla="*/ 4 w 8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4" y="0"/>
                  </a:moveTo>
                  <a:cubicBezTo>
                    <a:pt x="2" y="1"/>
                    <a:pt x="0" y="3"/>
                    <a:pt x="1" y="6"/>
                  </a:cubicBezTo>
                  <a:cubicBezTo>
                    <a:pt x="3" y="4"/>
                    <a:pt x="8" y="7"/>
                    <a:pt x="7" y="4"/>
                  </a:cubicBezTo>
                  <a:cubicBezTo>
                    <a:pt x="3" y="5"/>
                    <a:pt x="5" y="2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1" name="任意多边形: 形状 10360">
              <a:extLst>
                <a:ext uri="{FF2B5EF4-FFF2-40B4-BE49-F238E27FC236}">
                  <a16:creationId xmlns:a16="http://schemas.microsoft.com/office/drawing/2014/main" id="{704C0A84-3617-48CE-ADED-A89E4450A4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75" y="-6042012"/>
              <a:ext cx="39688" cy="19050"/>
            </a:xfrm>
            <a:custGeom>
              <a:avLst/>
              <a:gdLst>
                <a:gd name="T0" fmla="*/ 0 w 12"/>
                <a:gd name="T1" fmla="*/ 3 h 6"/>
                <a:gd name="T2" fmla="*/ 12 w 12"/>
                <a:gd name="T3" fmla="*/ 1 h 6"/>
                <a:gd name="T4" fmla="*/ 0 w 12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3"/>
                  </a:moveTo>
                  <a:cubicBezTo>
                    <a:pt x="4" y="6"/>
                    <a:pt x="10" y="2"/>
                    <a:pt x="12" y="1"/>
                  </a:cubicBezTo>
                  <a:cubicBezTo>
                    <a:pt x="6" y="0"/>
                    <a:pt x="6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2" name="任意多边形: 形状 10361">
              <a:extLst>
                <a:ext uri="{FF2B5EF4-FFF2-40B4-BE49-F238E27FC236}">
                  <a16:creationId xmlns:a16="http://schemas.microsoft.com/office/drawing/2014/main" id="{FD89AAC4-D1AC-4B40-A978-17604F7C0E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6563" y="-6072175"/>
              <a:ext cx="55563" cy="23813"/>
            </a:xfrm>
            <a:custGeom>
              <a:avLst/>
              <a:gdLst>
                <a:gd name="T0" fmla="*/ 9 w 17"/>
                <a:gd name="T1" fmla="*/ 3 h 7"/>
                <a:gd name="T2" fmla="*/ 17 w 17"/>
                <a:gd name="T3" fmla="*/ 2 h 7"/>
                <a:gd name="T4" fmla="*/ 9 w 17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7">
                  <a:moveTo>
                    <a:pt x="9" y="3"/>
                  </a:moveTo>
                  <a:cubicBezTo>
                    <a:pt x="11" y="3"/>
                    <a:pt x="17" y="7"/>
                    <a:pt x="17" y="2"/>
                  </a:cubicBezTo>
                  <a:cubicBezTo>
                    <a:pt x="14" y="0"/>
                    <a:pt x="0" y="6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3" name="任意多边形: 形状 10362">
              <a:extLst>
                <a:ext uri="{FF2B5EF4-FFF2-40B4-BE49-F238E27FC236}">
                  <a16:creationId xmlns:a16="http://schemas.microsoft.com/office/drawing/2014/main" id="{75765FCF-050F-492A-B5A2-F4FC97679C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6563" y="-5583223"/>
              <a:ext cx="65088" cy="71438"/>
            </a:xfrm>
            <a:custGeom>
              <a:avLst/>
              <a:gdLst>
                <a:gd name="T0" fmla="*/ 6 w 20"/>
                <a:gd name="T1" fmla="*/ 6 h 22"/>
                <a:gd name="T2" fmla="*/ 5 w 20"/>
                <a:gd name="T3" fmla="*/ 20 h 22"/>
                <a:gd name="T4" fmla="*/ 20 w 20"/>
                <a:gd name="T5" fmla="*/ 19 h 22"/>
                <a:gd name="T6" fmla="*/ 17 w 20"/>
                <a:gd name="T7" fmla="*/ 8 h 22"/>
                <a:gd name="T8" fmla="*/ 10 w 20"/>
                <a:gd name="T9" fmla="*/ 0 h 22"/>
                <a:gd name="T10" fmla="*/ 3 w 20"/>
                <a:gd name="T11" fmla="*/ 10 h 22"/>
                <a:gd name="T12" fmla="*/ 6 w 20"/>
                <a:gd name="T13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2">
                  <a:moveTo>
                    <a:pt x="6" y="6"/>
                  </a:moveTo>
                  <a:cubicBezTo>
                    <a:pt x="16" y="14"/>
                    <a:pt x="10" y="17"/>
                    <a:pt x="5" y="20"/>
                  </a:cubicBezTo>
                  <a:cubicBezTo>
                    <a:pt x="10" y="22"/>
                    <a:pt x="15" y="20"/>
                    <a:pt x="20" y="19"/>
                  </a:cubicBezTo>
                  <a:cubicBezTo>
                    <a:pt x="15" y="18"/>
                    <a:pt x="17" y="13"/>
                    <a:pt x="17" y="8"/>
                  </a:cubicBezTo>
                  <a:cubicBezTo>
                    <a:pt x="14" y="5"/>
                    <a:pt x="7" y="6"/>
                    <a:pt x="10" y="0"/>
                  </a:cubicBezTo>
                  <a:cubicBezTo>
                    <a:pt x="8" y="1"/>
                    <a:pt x="0" y="6"/>
                    <a:pt x="3" y="10"/>
                  </a:cubicBezTo>
                  <a:cubicBezTo>
                    <a:pt x="5" y="9"/>
                    <a:pt x="4" y="7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4" name="任意多边形: 形状 10363">
              <a:extLst>
                <a:ext uri="{FF2B5EF4-FFF2-40B4-BE49-F238E27FC236}">
                  <a16:creationId xmlns:a16="http://schemas.microsoft.com/office/drawing/2014/main" id="{28A9F8D4-B3B7-4C1A-920F-68808F490F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0800" y="-5410185"/>
              <a:ext cx="431800" cy="231776"/>
            </a:xfrm>
            <a:custGeom>
              <a:avLst/>
              <a:gdLst>
                <a:gd name="T0" fmla="*/ 111 w 131"/>
                <a:gd name="T1" fmla="*/ 7 h 70"/>
                <a:gd name="T2" fmla="*/ 96 w 131"/>
                <a:gd name="T3" fmla="*/ 3 h 70"/>
                <a:gd name="T4" fmla="*/ 93 w 131"/>
                <a:gd name="T5" fmla="*/ 8 h 70"/>
                <a:gd name="T6" fmla="*/ 85 w 131"/>
                <a:gd name="T7" fmla="*/ 5 h 70"/>
                <a:gd name="T8" fmla="*/ 83 w 131"/>
                <a:gd name="T9" fmla="*/ 10 h 70"/>
                <a:gd name="T10" fmla="*/ 74 w 131"/>
                <a:gd name="T11" fmla="*/ 11 h 70"/>
                <a:gd name="T12" fmla="*/ 69 w 131"/>
                <a:gd name="T13" fmla="*/ 7 h 70"/>
                <a:gd name="T14" fmla="*/ 65 w 131"/>
                <a:gd name="T15" fmla="*/ 11 h 70"/>
                <a:gd name="T16" fmla="*/ 33 w 131"/>
                <a:gd name="T17" fmla="*/ 6 h 70"/>
                <a:gd name="T18" fmla="*/ 30 w 131"/>
                <a:gd name="T19" fmla="*/ 0 h 70"/>
                <a:gd name="T20" fmla="*/ 3 w 131"/>
                <a:gd name="T21" fmla="*/ 18 h 70"/>
                <a:gd name="T22" fmla="*/ 11 w 131"/>
                <a:gd name="T23" fmla="*/ 21 h 70"/>
                <a:gd name="T24" fmla="*/ 32 w 131"/>
                <a:gd name="T25" fmla="*/ 10 h 70"/>
                <a:gd name="T26" fmla="*/ 10 w 131"/>
                <a:gd name="T27" fmla="*/ 36 h 70"/>
                <a:gd name="T28" fmla="*/ 3 w 131"/>
                <a:gd name="T29" fmla="*/ 47 h 70"/>
                <a:gd name="T30" fmla="*/ 9 w 131"/>
                <a:gd name="T31" fmla="*/ 52 h 70"/>
                <a:gd name="T32" fmla="*/ 20 w 131"/>
                <a:gd name="T33" fmla="*/ 40 h 70"/>
                <a:gd name="T34" fmla="*/ 21 w 131"/>
                <a:gd name="T35" fmla="*/ 44 h 70"/>
                <a:gd name="T36" fmla="*/ 27 w 131"/>
                <a:gd name="T37" fmla="*/ 51 h 70"/>
                <a:gd name="T38" fmla="*/ 25 w 131"/>
                <a:gd name="T39" fmla="*/ 70 h 70"/>
                <a:gd name="T40" fmla="*/ 32 w 131"/>
                <a:gd name="T41" fmla="*/ 69 h 70"/>
                <a:gd name="T42" fmla="*/ 54 w 131"/>
                <a:gd name="T43" fmla="*/ 30 h 70"/>
                <a:gd name="T44" fmla="*/ 64 w 131"/>
                <a:gd name="T45" fmla="*/ 24 h 70"/>
                <a:gd name="T46" fmla="*/ 70 w 131"/>
                <a:gd name="T47" fmla="*/ 29 h 70"/>
                <a:gd name="T48" fmla="*/ 86 w 131"/>
                <a:gd name="T49" fmla="*/ 28 h 70"/>
                <a:gd name="T50" fmla="*/ 131 w 131"/>
                <a:gd name="T51" fmla="*/ 7 h 70"/>
                <a:gd name="T52" fmla="*/ 111 w 131"/>
                <a:gd name="T53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1" h="70">
                  <a:moveTo>
                    <a:pt x="111" y="7"/>
                  </a:moveTo>
                  <a:cubicBezTo>
                    <a:pt x="107" y="2"/>
                    <a:pt x="100" y="7"/>
                    <a:pt x="96" y="3"/>
                  </a:cubicBezTo>
                  <a:cubicBezTo>
                    <a:pt x="92" y="4"/>
                    <a:pt x="97" y="7"/>
                    <a:pt x="93" y="8"/>
                  </a:cubicBezTo>
                  <a:cubicBezTo>
                    <a:pt x="90" y="8"/>
                    <a:pt x="88" y="5"/>
                    <a:pt x="85" y="5"/>
                  </a:cubicBezTo>
                  <a:cubicBezTo>
                    <a:pt x="89" y="8"/>
                    <a:pt x="84" y="9"/>
                    <a:pt x="83" y="10"/>
                  </a:cubicBezTo>
                  <a:cubicBezTo>
                    <a:pt x="80" y="2"/>
                    <a:pt x="76" y="7"/>
                    <a:pt x="74" y="11"/>
                  </a:cubicBezTo>
                  <a:cubicBezTo>
                    <a:pt x="72" y="11"/>
                    <a:pt x="71" y="9"/>
                    <a:pt x="69" y="7"/>
                  </a:cubicBezTo>
                  <a:cubicBezTo>
                    <a:pt x="66" y="8"/>
                    <a:pt x="68" y="10"/>
                    <a:pt x="65" y="11"/>
                  </a:cubicBezTo>
                  <a:cubicBezTo>
                    <a:pt x="55" y="5"/>
                    <a:pt x="44" y="9"/>
                    <a:pt x="33" y="6"/>
                  </a:cubicBezTo>
                  <a:cubicBezTo>
                    <a:pt x="35" y="2"/>
                    <a:pt x="29" y="3"/>
                    <a:pt x="30" y="0"/>
                  </a:cubicBezTo>
                  <a:cubicBezTo>
                    <a:pt x="20" y="3"/>
                    <a:pt x="0" y="3"/>
                    <a:pt x="3" y="18"/>
                  </a:cubicBezTo>
                  <a:cubicBezTo>
                    <a:pt x="6" y="19"/>
                    <a:pt x="9" y="16"/>
                    <a:pt x="11" y="21"/>
                  </a:cubicBezTo>
                  <a:cubicBezTo>
                    <a:pt x="17" y="11"/>
                    <a:pt x="20" y="2"/>
                    <a:pt x="32" y="10"/>
                  </a:cubicBezTo>
                  <a:cubicBezTo>
                    <a:pt x="29" y="20"/>
                    <a:pt x="15" y="27"/>
                    <a:pt x="10" y="36"/>
                  </a:cubicBezTo>
                  <a:cubicBezTo>
                    <a:pt x="17" y="42"/>
                    <a:pt x="6" y="44"/>
                    <a:pt x="3" y="47"/>
                  </a:cubicBezTo>
                  <a:cubicBezTo>
                    <a:pt x="5" y="50"/>
                    <a:pt x="7" y="50"/>
                    <a:pt x="9" y="52"/>
                  </a:cubicBezTo>
                  <a:cubicBezTo>
                    <a:pt x="14" y="46"/>
                    <a:pt x="23" y="45"/>
                    <a:pt x="20" y="40"/>
                  </a:cubicBezTo>
                  <a:cubicBezTo>
                    <a:pt x="23" y="41"/>
                    <a:pt x="27" y="43"/>
                    <a:pt x="21" y="44"/>
                  </a:cubicBezTo>
                  <a:cubicBezTo>
                    <a:pt x="23" y="47"/>
                    <a:pt x="25" y="50"/>
                    <a:pt x="27" y="51"/>
                  </a:cubicBezTo>
                  <a:cubicBezTo>
                    <a:pt x="26" y="57"/>
                    <a:pt x="27" y="64"/>
                    <a:pt x="25" y="70"/>
                  </a:cubicBezTo>
                  <a:cubicBezTo>
                    <a:pt x="29" y="69"/>
                    <a:pt x="28" y="67"/>
                    <a:pt x="32" y="69"/>
                  </a:cubicBezTo>
                  <a:cubicBezTo>
                    <a:pt x="48" y="57"/>
                    <a:pt x="48" y="42"/>
                    <a:pt x="54" y="30"/>
                  </a:cubicBezTo>
                  <a:cubicBezTo>
                    <a:pt x="57" y="29"/>
                    <a:pt x="60" y="27"/>
                    <a:pt x="64" y="24"/>
                  </a:cubicBezTo>
                  <a:cubicBezTo>
                    <a:pt x="66" y="28"/>
                    <a:pt x="68" y="30"/>
                    <a:pt x="70" y="29"/>
                  </a:cubicBezTo>
                  <a:cubicBezTo>
                    <a:pt x="75" y="24"/>
                    <a:pt x="82" y="21"/>
                    <a:pt x="86" y="28"/>
                  </a:cubicBezTo>
                  <a:cubicBezTo>
                    <a:pt x="105" y="16"/>
                    <a:pt x="124" y="26"/>
                    <a:pt x="131" y="7"/>
                  </a:cubicBezTo>
                  <a:cubicBezTo>
                    <a:pt x="125" y="4"/>
                    <a:pt x="113" y="0"/>
                    <a:pt x="1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5" name="任意多边形: 形状 10364">
              <a:extLst>
                <a:ext uri="{FF2B5EF4-FFF2-40B4-BE49-F238E27FC236}">
                  <a16:creationId xmlns:a16="http://schemas.microsoft.com/office/drawing/2014/main" id="{3A8F8DCD-5788-4C62-AB07-7090411CDE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845214" y="-8683619"/>
              <a:ext cx="76200" cy="52388"/>
            </a:xfrm>
            <a:custGeom>
              <a:avLst/>
              <a:gdLst>
                <a:gd name="T0" fmla="*/ 5 w 23"/>
                <a:gd name="T1" fmla="*/ 0 h 16"/>
                <a:gd name="T2" fmla="*/ 3 w 23"/>
                <a:gd name="T3" fmla="*/ 10 h 16"/>
                <a:gd name="T4" fmla="*/ 8 w 23"/>
                <a:gd name="T5" fmla="*/ 12 h 16"/>
                <a:gd name="T6" fmla="*/ 13 w 23"/>
                <a:gd name="T7" fmla="*/ 16 h 16"/>
                <a:gd name="T8" fmla="*/ 23 w 23"/>
                <a:gd name="T9" fmla="*/ 9 h 16"/>
                <a:gd name="T10" fmla="*/ 21 w 23"/>
                <a:gd name="T11" fmla="*/ 4 h 16"/>
                <a:gd name="T12" fmla="*/ 5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5" y="0"/>
                  </a:moveTo>
                  <a:cubicBezTo>
                    <a:pt x="8" y="4"/>
                    <a:pt x="0" y="5"/>
                    <a:pt x="3" y="10"/>
                  </a:cubicBezTo>
                  <a:cubicBezTo>
                    <a:pt x="9" y="4"/>
                    <a:pt x="5" y="12"/>
                    <a:pt x="8" y="12"/>
                  </a:cubicBezTo>
                  <a:cubicBezTo>
                    <a:pt x="7" y="9"/>
                    <a:pt x="12" y="13"/>
                    <a:pt x="13" y="16"/>
                  </a:cubicBezTo>
                  <a:cubicBezTo>
                    <a:pt x="18" y="14"/>
                    <a:pt x="18" y="10"/>
                    <a:pt x="23" y="9"/>
                  </a:cubicBezTo>
                  <a:cubicBezTo>
                    <a:pt x="21" y="7"/>
                    <a:pt x="21" y="5"/>
                    <a:pt x="21" y="4"/>
                  </a:cubicBezTo>
                  <a:cubicBezTo>
                    <a:pt x="14" y="4"/>
                    <a:pt x="11" y="4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6" name="任意多边形: 形状 10365">
              <a:extLst>
                <a:ext uri="{FF2B5EF4-FFF2-40B4-BE49-F238E27FC236}">
                  <a16:creationId xmlns:a16="http://schemas.microsoft.com/office/drawing/2014/main" id="{DE2598D2-3EF7-4F43-AE70-8026B7B57F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73539" y="-6219813"/>
              <a:ext cx="128588" cy="58738"/>
            </a:xfrm>
            <a:custGeom>
              <a:avLst/>
              <a:gdLst>
                <a:gd name="T0" fmla="*/ 39 w 39"/>
                <a:gd name="T1" fmla="*/ 2 h 18"/>
                <a:gd name="T2" fmla="*/ 35 w 39"/>
                <a:gd name="T3" fmla="*/ 0 h 18"/>
                <a:gd name="T4" fmla="*/ 28 w 39"/>
                <a:gd name="T5" fmla="*/ 9 h 18"/>
                <a:gd name="T6" fmla="*/ 19 w 39"/>
                <a:gd name="T7" fmla="*/ 6 h 18"/>
                <a:gd name="T8" fmla="*/ 0 w 39"/>
                <a:gd name="T9" fmla="*/ 16 h 18"/>
                <a:gd name="T10" fmla="*/ 11 w 39"/>
                <a:gd name="T11" fmla="*/ 18 h 18"/>
                <a:gd name="T12" fmla="*/ 20 w 39"/>
                <a:gd name="T13" fmla="*/ 10 h 18"/>
                <a:gd name="T14" fmla="*/ 22 w 39"/>
                <a:gd name="T15" fmla="*/ 10 h 18"/>
                <a:gd name="T16" fmla="*/ 27 w 39"/>
                <a:gd name="T17" fmla="*/ 15 h 18"/>
                <a:gd name="T18" fmla="*/ 34 w 39"/>
                <a:gd name="T19" fmla="*/ 3 h 18"/>
                <a:gd name="T20" fmla="*/ 39 w 39"/>
                <a:gd name="T21" fmla="*/ 6 h 18"/>
                <a:gd name="T22" fmla="*/ 39 w 39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8">
                  <a:moveTo>
                    <a:pt x="39" y="2"/>
                  </a:moveTo>
                  <a:cubicBezTo>
                    <a:pt x="37" y="3"/>
                    <a:pt x="35" y="2"/>
                    <a:pt x="35" y="0"/>
                  </a:cubicBezTo>
                  <a:cubicBezTo>
                    <a:pt x="30" y="2"/>
                    <a:pt x="30" y="6"/>
                    <a:pt x="28" y="9"/>
                  </a:cubicBezTo>
                  <a:cubicBezTo>
                    <a:pt x="25" y="9"/>
                    <a:pt x="22" y="7"/>
                    <a:pt x="19" y="6"/>
                  </a:cubicBezTo>
                  <a:cubicBezTo>
                    <a:pt x="16" y="11"/>
                    <a:pt x="6" y="10"/>
                    <a:pt x="0" y="16"/>
                  </a:cubicBezTo>
                  <a:cubicBezTo>
                    <a:pt x="5" y="13"/>
                    <a:pt x="8" y="16"/>
                    <a:pt x="11" y="18"/>
                  </a:cubicBezTo>
                  <a:cubicBezTo>
                    <a:pt x="14" y="13"/>
                    <a:pt x="18" y="15"/>
                    <a:pt x="20" y="10"/>
                  </a:cubicBezTo>
                  <a:cubicBezTo>
                    <a:pt x="21" y="12"/>
                    <a:pt x="22" y="12"/>
                    <a:pt x="22" y="10"/>
                  </a:cubicBezTo>
                  <a:cubicBezTo>
                    <a:pt x="24" y="13"/>
                    <a:pt x="25" y="16"/>
                    <a:pt x="27" y="15"/>
                  </a:cubicBezTo>
                  <a:cubicBezTo>
                    <a:pt x="28" y="10"/>
                    <a:pt x="33" y="8"/>
                    <a:pt x="34" y="3"/>
                  </a:cubicBezTo>
                  <a:cubicBezTo>
                    <a:pt x="36" y="4"/>
                    <a:pt x="37" y="6"/>
                    <a:pt x="39" y="6"/>
                  </a:cubicBezTo>
                  <a:cubicBezTo>
                    <a:pt x="38" y="5"/>
                    <a:pt x="38" y="4"/>
                    <a:pt x="3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7" name="任意多边形: 形状 10366">
              <a:extLst>
                <a:ext uri="{FF2B5EF4-FFF2-40B4-BE49-F238E27FC236}">
                  <a16:creationId xmlns:a16="http://schemas.microsoft.com/office/drawing/2014/main" id="{466D66C3-3F27-46DD-8EC7-1044596ABE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25814" y="-6121387"/>
              <a:ext cx="52388" cy="26988"/>
            </a:xfrm>
            <a:custGeom>
              <a:avLst/>
              <a:gdLst>
                <a:gd name="T0" fmla="*/ 14 w 16"/>
                <a:gd name="T1" fmla="*/ 8 h 8"/>
                <a:gd name="T2" fmla="*/ 16 w 16"/>
                <a:gd name="T3" fmla="*/ 2 h 8"/>
                <a:gd name="T4" fmla="*/ 11 w 16"/>
                <a:gd name="T5" fmla="*/ 0 h 8"/>
                <a:gd name="T6" fmla="*/ 3 w 16"/>
                <a:gd name="T7" fmla="*/ 7 h 8"/>
                <a:gd name="T8" fmla="*/ 14 w 1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14" y="8"/>
                  </a:moveTo>
                  <a:cubicBezTo>
                    <a:pt x="16" y="7"/>
                    <a:pt x="15" y="4"/>
                    <a:pt x="16" y="2"/>
                  </a:cubicBezTo>
                  <a:cubicBezTo>
                    <a:pt x="14" y="5"/>
                    <a:pt x="13" y="1"/>
                    <a:pt x="11" y="0"/>
                  </a:cubicBezTo>
                  <a:cubicBezTo>
                    <a:pt x="9" y="3"/>
                    <a:pt x="0" y="3"/>
                    <a:pt x="3" y="7"/>
                  </a:cubicBezTo>
                  <a:cubicBezTo>
                    <a:pt x="7" y="6"/>
                    <a:pt x="12" y="2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8" name="任意多边形: 形状 10367">
              <a:extLst>
                <a:ext uri="{FF2B5EF4-FFF2-40B4-BE49-F238E27FC236}">
                  <a16:creationId xmlns:a16="http://schemas.microsoft.com/office/drawing/2014/main" id="{6797141D-4E71-48C0-9527-D003B76FCA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89239" y="-5451460"/>
              <a:ext cx="6350" cy="9525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1 w 2"/>
                <a:gd name="T5" fmla="*/ 2 h 3"/>
                <a:gd name="T6" fmla="*/ 1 w 2"/>
                <a:gd name="T7" fmla="*/ 0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69" name="任意多边形: 形状 10368">
              <a:extLst>
                <a:ext uri="{FF2B5EF4-FFF2-40B4-BE49-F238E27FC236}">
                  <a16:creationId xmlns:a16="http://schemas.microsoft.com/office/drawing/2014/main" id="{F8544483-7684-4469-A535-0B8546A8FD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524164" y="-5557823"/>
              <a:ext cx="33338" cy="20638"/>
            </a:xfrm>
            <a:custGeom>
              <a:avLst/>
              <a:gdLst>
                <a:gd name="T0" fmla="*/ 2 w 10"/>
                <a:gd name="T1" fmla="*/ 5 h 6"/>
                <a:gd name="T2" fmla="*/ 10 w 10"/>
                <a:gd name="T3" fmla="*/ 4 h 6"/>
                <a:gd name="T4" fmla="*/ 10 w 10"/>
                <a:gd name="T5" fmla="*/ 2 h 6"/>
                <a:gd name="T6" fmla="*/ 4 w 10"/>
                <a:gd name="T7" fmla="*/ 1 h 6"/>
                <a:gd name="T8" fmla="*/ 2 w 10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2" y="5"/>
                  </a:moveTo>
                  <a:cubicBezTo>
                    <a:pt x="5" y="5"/>
                    <a:pt x="7" y="6"/>
                    <a:pt x="10" y="4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8" y="1"/>
                    <a:pt x="6" y="1"/>
                    <a:pt x="4" y="1"/>
                  </a:cubicBezTo>
                  <a:cubicBezTo>
                    <a:pt x="0" y="0"/>
                    <a:pt x="0" y="3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0" name="任意多边形: 形状 10369">
              <a:extLst>
                <a:ext uri="{FF2B5EF4-FFF2-40B4-BE49-F238E27FC236}">
                  <a16:creationId xmlns:a16="http://schemas.microsoft.com/office/drawing/2014/main" id="{3ED95A64-F6B5-4DAA-9226-F39BD8826F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557501" y="-5554648"/>
              <a:ext cx="6350" cy="3175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0371" name="任意多边形: 形状 10370">
              <a:extLst>
                <a:ext uri="{FF2B5EF4-FFF2-40B4-BE49-F238E27FC236}">
                  <a16:creationId xmlns:a16="http://schemas.microsoft.com/office/drawing/2014/main" id="{E750AFAF-4ABA-4C40-AABC-2909E4238D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6451" y="-4516420"/>
              <a:ext cx="409575" cy="157163"/>
            </a:xfrm>
            <a:custGeom>
              <a:avLst/>
              <a:gdLst>
                <a:gd name="T0" fmla="*/ 121 w 124"/>
                <a:gd name="T1" fmla="*/ 0 h 48"/>
                <a:gd name="T2" fmla="*/ 2 w 124"/>
                <a:gd name="T3" fmla="*/ 43 h 48"/>
                <a:gd name="T4" fmla="*/ 0 w 124"/>
                <a:gd name="T5" fmla="*/ 46 h 48"/>
                <a:gd name="T6" fmla="*/ 4 w 124"/>
                <a:gd name="T7" fmla="*/ 47 h 48"/>
                <a:gd name="T8" fmla="*/ 122 w 124"/>
                <a:gd name="T9" fmla="*/ 5 h 48"/>
                <a:gd name="T10" fmla="*/ 124 w 124"/>
                <a:gd name="T11" fmla="*/ 2 h 48"/>
                <a:gd name="T12" fmla="*/ 121 w 124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8">
                  <a:moveTo>
                    <a:pt x="121" y="0"/>
                  </a:moveTo>
                  <a:cubicBezTo>
                    <a:pt x="81" y="14"/>
                    <a:pt x="41" y="28"/>
                    <a:pt x="2" y="43"/>
                  </a:cubicBezTo>
                  <a:cubicBezTo>
                    <a:pt x="1" y="43"/>
                    <a:pt x="0" y="45"/>
                    <a:pt x="0" y="46"/>
                  </a:cubicBezTo>
                  <a:cubicBezTo>
                    <a:pt x="1" y="47"/>
                    <a:pt x="2" y="48"/>
                    <a:pt x="4" y="47"/>
                  </a:cubicBezTo>
                  <a:cubicBezTo>
                    <a:pt x="43" y="32"/>
                    <a:pt x="82" y="18"/>
                    <a:pt x="122" y="5"/>
                  </a:cubicBezTo>
                  <a:cubicBezTo>
                    <a:pt x="124" y="4"/>
                    <a:pt x="124" y="3"/>
                    <a:pt x="124" y="2"/>
                  </a:cubicBezTo>
                  <a:cubicBezTo>
                    <a:pt x="123" y="0"/>
                    <a:pt x="122" y="0"/>
                    <a:pt x="1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5358914" y="4270536"/>
            <a:ext cx="6159986" cy="558799"/>
          </a:xfrm>
        </p:spPr>
        <p:txBody>
          <a:bodyPr anchor="t">
            <a:normAutofit/>
          </a:bodyPr>
          <a:lstStyle>
            <a:lvl1pPr marL="0" indent="0" algn="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5358913" y="1130300"/>
            <a:ext cx="6159986" cy="2899469"/>
          </a:xfrm>
        </p:spPr>
        <p:txBody>
          <a:bodyPr anchor="b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358913" y="5541558"/>
            <a:ext cx="6159986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358913" y="5837829"/>
            <a:ext cx="6159986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6" name="组合 725">
            <a:extLst>
              <a:ext uri="{FF2B5EF4-FFF2-40B4-BE49-F238E27FC236}">
                <a16:creationId xmlns:a16="http://schemas.microsoft.com/office/drawing/2014/main" id="{1616485D-C154-474F-8073-6F161371A280}"/>
              </a:ext>
            </a:extLst>
          </p:cNvPr>
          <p:cNvGrpSpPr/>
          <p:nvPr userDrawn="1"/>
        </p:nvGrpSpPr>
        <p:grpSpPr>
          <a:xfrm>
            <a:off x="-12700" y="-6473"/>
            <a:ext cx="11309355" cy="6864473"/>
            <a:chOff x="5865810" y="-5835773"/>
            <a:chExt cx="11309355" cy="6864473"/>
          </a:xfrm>
          <a:blipFill>
            <a:blip r:embed="rId2"/>
            <a:tile tx="0" ty="0" sx="80000" sy="80000" flip="none" algn="tl"/>
          </a:blipFill>
        </p:grpSpPr>
        <p:sp>
          <p:nvSpPr>
            <p:cNvPr id="538" name="任意多边形: 形状 537">
              <a:extLst>
                <a:ext uri="{FF2B5EF4-FFF2-40B4-BE49-F238E27FC236}">
                  <a16:creationId xmlns:a16="http://schemas.microsoft.com/office/drawing/2014/main" id="{0CEFC316-1540-495F-AFCC-47168E0105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9623" y="-4038691"/>
              <a:ext cx="26988" cy="36513"/>
            </a:xfrm>
            <a:custGeom>
              <a:avLst/>
              <a:gdLst>
                <a:gd name="T0" fmla="*/ 5 w 9"/>
                <a:gd name="T1" fmla="*/ 12 h 12"/>
                <a:gd name="T2" fmla="*/ 5 w 9"/>
                <a:gd name="T3" fmla="*/ 0 h 12"/>
                <a:gd name="T4" fmla="*/ 5 w 9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5" y="12"/>
                  </a:moveTo>
                  <a:cubicBezTo>
                    <a:pt x="9" y="10"/>
                    <a:pt x="9" y="6"/>
                    <a:pt x="5" y="0"/>
                  </a:cubicBezTo>
                  <a:cubicBezTo>
                    <a:pt x="0" y="2"/>
                    <a:pt x="0" y="6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39" name="任意多边形: 形状 538">
              <a:extLst>
                <a:ext uri="{FF2B5EF4-FFF2-40B4-BE49-F238E27FC236}">
                  <a16:creationId xmlns:a16="http://schemas.microsoft.com/office/drawing/2014/main" id="{7013775D-D923-4BA5-B108-533774B96B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9623" y="-4086317"/>
              <a:ext cx="49213" cy="39688"/>
            </a:xfrm>
            <a:custGeom>
              <a:avLst/>
              <a:gdLst>
                <a:gd name="T0" fmla="*/ 8 w 16"/>
                <a:gd name="T1" fmla="*/ 0 h 13"/>
                <a:gd name="T2" fmla="*/ 4 w 16"/>
                <a:gd name="T3" fmla="*/ 11 h 13"/>
                <a:gd name="T4" fmla="*/ 16 w 16"/>
                <a:gd name="T5" fmla="*/ 7 h 13"/>
                <a:gd name="T6" fmla="*/ 8 w 16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3">
                  <a:moveTo>
                    <a:pt x="8" y="0"/>
                  </a:moveTo>
                  <a:cubicBezTo>
                    <a:pt x="6" y="4"/>
                    <a:pt x="0" y="6"/>
                    <a:pt x="4" y="11"/>
                  </a:cubicBezTo>
                  <a:cubicBezTo>
                    <a:pt x="8" y="13"/>
                    <a:pt x="12" y="9"/>
                    <a:pt x="16" y="7"/>
                  </a:cubicBezTo>
                  <a:cubicBezTo>
                    <a:pt x="14" y="0"/>
                    <a:pt x="10" y="7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0" name="任意多边形: 形状 539">
              <a:extLst>
                <a:ext uri="{FF2B5EF4-FFF2-40B4-BE49-F238E27FC236}">
                  <a16:creationId xmlns:a16="http://schemas.microsoft.com/office/drawing/2014/main" id="{08B7A477-4BF4-41E1-A76E-D01B53E097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08673" y="-4130767"/>
              <a:ext cx="38100" cy="53976"/>
            </a:xfrm>
            <a:custGeom>
              <a:avLst/>
              <a:gdLst>
                <a:gd name="T0" fmla="*/ 9 w 13"/>
                <a:gd name="T1" fmla="*/ 18 h 18"/>
                <a:gd name="T2" fmla="*/ 13 w 13"/>
                <a:gd name="T3" fmla="*/ 13 h 18"/>
                <a:gd name="T4" fmla="*/ 9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9" y="18"/>
                  </a:moveTo>
                  <a:cubicBezTo>
                    <a:pt x="9" y="15"/>
                    <a:pt x="11" y="15"/>
                    <a:pt x="13" y="13"/>
                  </a:cubicBezTo>
                  <a:cubicBezTo>
                    <a:pt x="6" y="0"/>
                    <a:pt x="0" y="16"/>
                    <a:pt x="9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1" name="任意多边形: 形状 540">
              <a:extLst>
                <a:ext uri="{FF2B5EF4-FFF2-40B4-BE49-F238E27FC236}">
                  <a16:creationId xmlns:a16="http://schemas.microsoft.com/office/drawing/2014/main" id="{FB602576-AB15-4D83-BD2A-E608A1EDE3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40435" y="-3935501"/>
              <a:ext cx="11113" cy="7938"/>
            </a:xfrm>
            <a:custGeom>
              <a:avLst/>
              <a:gdLst>
                <a:gd name="T0" fmla="*/ 4 w 4"/>
                <a:gd name="T1" fmla="*/ 0 h 3"/>
                <a:gd name="T2" fmla="*/ 0 w 4"/>
                <a:gd name="T3" fmla="*/ 2 h 3"/>
                <a:gd name="T4" fmla="*/ 0 w 4"/>
                <a:gd name="T5" fmla="*/ 3 h 3"/>
                <a:gd name="T6" fmla="*/ 4 w 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cubicBezTo>
                    <a:pt x="2" y="1"/>
                    <a:pt x="1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2" y="2"/>
                    <a:pt x="3" y="1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2" name="任意多边形: 形状 541">
              <a:extLst>
                <a:ext uri="{FF2B5EF4-FFF2-40B4-BE49-F238E27FC236}">
                  <a16:creationId xmlns:a16="http://schemas.microsoft.com/office/drawing/2014/main" id="{2EA82A9C-D688-45D8-A44F-FDF58F857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76948" y="-3879938"/>
              <a:ext cx="74613" cy="53976"/>
            </a:xfrm>
            <a:custGeom>
              <a:avLst/>
              <a:gdLst>
                <a:gd name="T0" fmla="*/ 16 w 25"/>
                <a:gd name="T1" fmla="*/ 5 h 18"/>
                <a:gd name="T2" fmla="*/ 6 w 25"/>
                <a:gd name="T3" fmla="*/ 0 h 18"/>
                <a:gd name="T4" fmla="*/ 14 w 25"/>
                <a:gd name="T5" fmla="*/ 14 h 18"/>
                <a:gd name="T6" fmla="*/ 21 w 25"/>
                <a:gd name="T7" fmla="*/ 9 h 18"/>
                <a:gd name="T8" fmla="*/ 16 w 25"/>
                <a:gd name="T9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8">
                  <a:moveTo>
                    <a:pt x="16" y="5"/>
                  </a:moveTo>
                  <a:cubicBezTo>
                    <a:pt x="14" y="13"/>
                    <a:pt x="6" y="7"/>
                    <a:pt x="6" y="0"/>
                  </a:cubicBezTo>
                  <a:cubicBezTo>
                    <a:pt x="0" y="0"/>
                    <a:pt x="10" y="16"/>
                    <a:pt x="14" y="14"/>
                  </a:cubicBezTo>
                  <a:cubicBezTo>
                    <a:pt x="10" y="7"/>
                    <a:pt x="25" y="18"/>
                    <a:pt x="21" y="9"/>
                  </a:cubicBezTo>
                  <a:cubicBezTo>
                    <a:pt x="19" y="11"/>
                    <a:pt x="18" y="7"/>
                    <a:pt x="1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3" name="任意多边形: 形状 542">
              <a:extLst>
                <a:ext uri="{FF2B5EF4-FFF2-40B4-BE49-F238E27FC236}">
                  <a16:creationId xmlns:a16="http://schemas.microsoft.com/office/drawing/2014/main" id="{C20B84C2-A67D-4D8C-B565-0427638ABB0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94398" y="-4079967"/>
              <a:ext cx="46038" cy="50801"/>
            </a:xfrm>
            <a:custGeom>
              <a:avLst/>
              <a:gdLst>
                <a:gd name="T0" fmla="*/ 1 w 15"/>
                <a:gd name="T1" fmla="*/ 12 h 17"/>
                <a:gd name="T2" fmla="*/ 11 w 15"/>
                <a:gd name="T3" fmla="*/ 7 h 17"/>
                <a:gd name="T4" fmla="*/ 11 w 15"/>
                <a:gd name="T5" fmla="*/ 7 h 17"/>
                <a:gd name="T6" fmla="*/ 4 w 15"/>
                <a:gd name="T7" fmla="*/ 3 h 17"/>
                <a:gd name="T8" fmla="*/ 2 w 15"/>
                <a:gd name="T9" fmla="*/ 0 h 17"/>
                <a:gd name="T10" fmla="*/ 1 w 15"/>
                <a:gd name="T11" fmla="*/ 1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7">
                  <a:moveTo>
                    <a:pt x="1" y="12"/>
                  </a:moveTo>
                  <a:cubicBezTo>
                    <a:pt x="5" y="12"/>
                    <a:pt x="15" y="1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5" y="12"/>
                    <a:pt x="5" y="8"/>
                    <a:pt x="4" y="3"/>
                  </a:cubicBezTo>
                  <a:cubicBezTo>
                    <a:pt x="3" y="2"/>
                    <a:pt x="2" y="1"/>
                    <a:pt x="2" y="0"/>
                  </a:cubicBezTo>
                  <a:cubicBezTo>
                    <a:pt x="0" y="4"/>
                    <a:pt x="1" y="8"/>
                    <a:pt x="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4" name="任意多边形: 形状 543">
              <a:extLst>
                <a:ext uri="{FF2B5EF4-FFF2-40B4-BE49-F238E27FC236}">
                  <a16:creationId xmlns:a16="http://schemas.microsoft.com/office/drawing/2014/main" id="{9AABD4BA-151B-4458-859B-8A1589C8A8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5048" y="-3935501"/>
              <a:ext cx="26988" cy="34926"/>
            </a:xfrm>
            <a:custGeom>
              <a:avLst/>
              <a:gdLst>
                <a:gd name="T0" fmla="*/ 3 w 9"/>
                <a:gd name="T1" fmla="*/ 0 h 12"/>
                <a:gd name="T2" fmla="*/ 3 w 9"/>
                <a:gd name="T3" fmla="*/ 12 h 12"/>
                <a:gd name="T4" fmla="*/ 9 w 9"/>
                <a:gd name="T5" fmla="*/ 11 h 12"/>
                <a:gd name="T6" fmla="*/ 3 w 9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2">
                  <a:moveTo>
                    <a:pt x="3" y="0"/>
                  </a:moveTo>
                  <a:cubicBezTo>
                    <a:pt x="0" y="2"/>
                    <a:pt x="3" y="9"/>
                    <a:pt x="3" y="12"/>
                  </a:cubicBezTo>
                  <a:cubicBezTo>
                    <a:pt x="5" y="11"/>
                    <a:pt x="7" y="11"/>
                    <a:pt x="9" y="11"/>
                  </a:cubicBezTo>
                  <a:cubicBezTo>
                    <a:pt x="3" y="7"/>
                    <a:pt x="7" y="5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5" name="任意多边形: 形状 544">
              <a:extLst>
                <a:ext uri="{FF2B5EF4-FFF2-40B4-BE49-F238E27FC236}">
                  <a16:creationId xmlns:a16="http://schemas.microsoft.com/office/drawing/2014/main" id="{3AEB9792-ABA7-4965-8CDE-9714A7991A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89660" y="-3954552"/>
              <a:ext cx="26988" cy="26988"/>
            </a:xfrm>
            <a:custGeom>
              <a:avLst/>
              <a:gdLst>
                <a:gd name="T0" fmla="*/ 6 w 9"/>
                <a:gd name="T1" fmla="*/ 0 h 9"/>
                <a:gd name="T2" fmla="*/ 3 w 9"/>
                <a:gd name="T3" fmla="*/ 9 h 9"/>
                <a:gd name="T4" fmla="*/ 6 w 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9">
                  <a:moveTo>
                    <a:pt x="6" y="0"/>
                  </a:moveTo>
                  <a:cubicBezTo>
                    <a:pt x="4" y="2"/>
                    <a:pt x="0" y="3"/>
                    <a:pt x="3" y="9"/>
                  </a:cubicBezTo>
                  <a:cubicBezTo>
                    <a:pt x="6" y="7"/>
                    <a:pt x="9" y="5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6" name="任意多边形: 形状 545">
              <a:extLst>
                <a:ext uri="{FF2B5EF4-FFF2-40B4-BE49-F238E27FC236}">
                  <a16:creationId xmlns:a16="http://schemas.microsoft.com/office/drawing/2014/main" id="{53933C4C-4D3A-4507-B9DD-FADE24E59D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1073" y="-4205381"/>
              <a:ext cx="44450" cy="17463"/>
            </a:xfrm>
            <a:custGeom>
              <a:avLst/>
              <a:gdLst>
                <a:gd name="T0" fmla="*/ 2 w 15"/>
                <a:gd name="T1" fmla="*/ 4 h 6"/>
                <a:gd name="T2" fmla="*/ 7 w 15"/>
                <a:gd name="T3" fmla="*/ 0 h 6"/>
                <a:gd name="T4" fmla="*/ 5 w 15"/>
                <a:gd name="T5" fmla="*/ 1 h 6"/>
                <a:gd name="T6" fmla="*/ 5 w 15"/>
                <a:gd name="T7" fmla="*/ 3 h 6"/>
                <a:gd name="T8" fmla="*/ 1 w 15"/>
                <a:gd name="T9" fmla="*/ 1 h 6"/>
                <a:gd name="T10" fmla="*/ 2 w 15"/>
                <a:gd name="T11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6">
                  <a:moveTo>
                    <a:pt x="2" y="4"/>
                  </a:moveTo>
                  <a:cubicBezTo>
                    <a:pt x="7" y="3"/>
                    <a:pt x="15" y="6"/>
                    <a:pt x="7" y="0"/>
                  </a:cubicBezTo>
                  <a:cubicBezTo>
                    <a:pt x="8" y="2"/>
                    <a:pt x="6" y="2"/>
                    <a:pt x="5" y="1"/>
                  </a:cubicBezTo>
                  <a:cubicBezTo>
                    <a:pt x="5" y="2"/>
                    <a:pt x="5" y="2"/>
                    <a:pt x="5" y="3"/>
                  </a:cubicBezTo>
                  <a:cubicBezTo>
                    <a:pt x="3" y="3"/>
                    <a:pt x="2" y="2"/>
                    <a:pt x="1" y="1"/>
                  </a:cubicBezTo>
                  <a:cubicBezTo>
                    <a:pt x="0" y="1"/>
                    <a:pt x="0" y="2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7" name="任意多边形: 形状 546">
              <a:extLst>
                <a:ext uri="{FF2B5EF4-FFF2-40B4-BE49-F238E27FC236}">
                  <a16:creationId xmlns:a16="http://schemas.microsoft.com/office/drawing/2014/main" id="{81E4BF62-4808-4724-986D-1A6934025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0" y="-4259357"/>
              <a:ext cx="6350" cy="11113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1 h 4"/>
                <a:gd name="T4" fmla="*/ 1 w 2"/>
                <a:gd name="T5" fmla="*/ 0 h 4"/>
                <a:gd name="T6" fmla="*/ 0 w 2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cubicBezTo>
                    <a:pt x="1" y="2"/>
                    <a:pt x="2" y="1"/>
                    <a:pt x="2" y="1"/>
                  </a:cubicBezTo>
                  <a:cubicBezTo>
                    <a:pt x="2" y="1"/>
                    <a:pt x="1" y="1"/>
                    <a:pt x="1" y="0"/>
                  </a:cubicBezTo>
                  <a:cubicBezTo>
                    <a:pt x="0" y="1"/>
                    <a:pt x="0" y="3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8" name="任意多边形: 形状 547">
              <a:extLst>
                <a:ext uri="{FF2B5EF4-FFF2-40B4-BE49-F238E27FC236}">
                  <a16:creationId xmlns:a16="http://schemas.microsoft.com/office/drawing/2014/main" id="{61E0365E-529F-40D6-B641-A7AE385E89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4885" y="-4256182"/>
              <a:ext cx="39688" cy="41276"/>
            </a:xfrm>
            <a:custGeom>
              <a:avLst/>
              <a:gdLst>
                <a:gd name="T0" fmla="*/ 0 w 13"/>
                <a:gd name="T1" fmla="*/ 3 h 14"/>
                <a:gd name="T2" fmla="*/ 13 w 13"/>
                <a:gd name="T3" fmla="*/ 14 h 14"/>
                <a:gd name="T4" fmla="*/ 13 w 13"/>
                <a:gd name="T5" fmla="*/ 14 h 14"/>
                <a:gd name="T6" fmla="*/ 10 w 13"/>
                <a:gd name="T7" fmla="*/ 11 h 14"/>
                <a:gd name="T8" fmla="*/ 10 w 13"/>
                <a:gd name="T9" fmla="*/ 8 h 14"/>
                <a:gd name="T10" fmla="*/ 6 w 13"/>
                <a:gd name="T11" fmla="*/ 6 h 14"/>
                <a:gd name="T12" fmla="*/ 8 w 13"/>
                <a:gd name="T13" fmla="*/ 9 h 14"/>
                <a:gd name="T14" fmla="*/ 0 w 13"/>
                <a:gd name="T1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" h="14">
                  <a:moveTo>
                    <a:pt x="0" y="3"/>
                  </a:moveTo>
                  <a:cubicBezTo>
                    <a:pt x="1" y="8"/>
                    <a:pt x="9" y="12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2"/>
                    <a:pt x="11" y="11"/>
                    <a:pt x="10" y="11"/>
                  </a:cubicBezTo>
                  <a:cubicBezTo>
                    <a:pt x="9" y="10"/>
                    <a:pt x="9" y="9"/>
                    <a:pt x="10" y="8"/>
                  </a:cubicBezTo>
                  <a:cubicBezTo>
                    <a:pt x="9" y="7"/>
                    <a:pt x="8" y="7"/>
                    <a:pt x="6" y="6"/>
                  </a:cubicBezTo>
                  <a:cubicBezTo>
                    <a:pt x="7" y="7"/>
                    <a:pt x="7" y="8"/>
                    <a:pt x="8" y="9"/>
                  </a:cubicBezTo>
                  <a:cubicBezTo>
                    <a:pt x="1" y="11"/>
                    <a:pt x="4" y="0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49" name="任意多边形: 形状 548">
              <a:extLst>
                <a:ext uri="{FF2B5EF4-FFF2-40B4-BE49-F238E27FC236}">
                  <a16:creationId xmlns:a16="http://schemas.microsoft.com/office/drawing/2014/main" id="{9E8C4530-122E-4C8E-8A33-1578776115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65860" y="-4019640"/>
              <a:ext cx="26988" cy="34926"/>
            </a:xfrm>
            <a:custGeom>
              <a:avLst/>
              <a:gdLst>
                <a:gd name="T0" fmla="*/ 9 w 9"/>
                <a:gd name="T1" fmla="*/ 7 h 12"/>
                <a:gd name="T2" fmla="*/ 0 w 9"/>
                <a:gd name="T3" fmla="*/ 5 h 12"/>
                <a:gd name="T4" fmla="*/ 9 w 9"/>
                <a:gd name="T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2">
                  <a:moveTo>
                    <a:pt x="9" y="7"/>
                  </a:moveTo>
                  <a:cubicBezTo>
                    <a:pt x="6" y="0"/>
                    <a:pt x="3" y="5"/>
                    <a:pt x="0" y="5"/>
                  </a:cubicBezTo>
                  <a:cubicBezTo>
                    <a:pt x="3" y="12"/>
                    <a:pt x="6" y="11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任意多边形: 形状 549">
              <a:extLst>
                <a:ext uri="{FF2B5EF4-FFF2-40B4-BE49-F238E27FC236}">
                  <a16:creationId xmlns:a16="http://schemas.microsoft.com/office/drawing/2014/main" id="{7C4D449F-B2BF-4654-9BD1-D765EB8F9B3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6810" y="-4067266"/>
              <a:ext cx="20638" cy="20638"/>
            </a:xfrm>
            <a:custGeom>
              <a:avLst/>
              <a:gdLst>
                <a:gd name="T0" fmla="*/ 3 w 7"/>
                <a:gd name="T1" fmla="*/ 7 h 7"/>
                <a:gd name="T2" fmla="*/ 7 w 7"/>
                <a:gd name="T3" fmla="*/ 2 h 7"/>
                <a:gd name="T4" fmla="*/ 0 w 7"/>
                <a:gd name="T5" fmla="*/ 0 h 7"/>
                <a:gd name="T6" fmla="*/ 3 w 7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7"/>
                  </a:moveTo>
                  <a:cubicBezTo>
                    <a:pt x="4" y="5"/>
                    <a:pt x="6" y="3"/>
                    <a:pt x="7" y="2"/>
                  </a:cubicBezTo>
                  <a:cubicBezTo>
                    <a:pt x="5" y="1"/>
                    <a:pt x="3" y="0"/>
                    <a:pt x="0" y="0"/>
                  </a:cubicBezTo>
                  <a:cubicBezTo>
                    <a:pt x="0" y="2"/>
                    <a:pt x="1" y="4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任意多边形: 形状 550">
              <a:extLst>
                <a:ext uri="{FF2B5EF4-FFF2-40B4-BE49-F238E27FC236}">
                  <a16:creationId xmlns:a16="http://schemas.microsoft.com/office/drawing/2014/main" id="{8A5D71F3-8223-4A27-8987-F8E31A46F9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0310" y="-4103779"/>
              <a:ext cx="57150" cy="57151"/>
            </a:xfrm>
            <a:custGeom>
              <a:avLst/>
              <a:gdLst>
                <a:gd name="T0" fmla="*/ 7 w 19"/>
                <a:gd name="T1" fmla="*/ 15 h 19"/>
                <a:gd name="T2" fmla="*/ 15 w 19"/>
                <a:gd name="T3" fmla="*/ 6 h 19"/>
                <a:gd name="T4" fmla="*/ 0 w 19"/>
                <a:gd name="T5" fmla="*/ 0 h 19"/>
                <a:gd name="T6" fmla="*/ 1 w 19"/>
                <a:gd name="T7" fmla="*/ 2 h 19"/>
                <a:gd name="T8" fmla="*/ 2 w 19"/>
                <a:gd name="T9" fmla="*/ 4 h 19"/>
                <a:gd name="T10" fmla="*/ 2 w 19"/>
                <a:gd name="T11" fmla="*/ 4 h 19"/>
                <a:gd name="T12" fmla="*/ 7 w 19"/>
                <a:gd name="T13" fmla="*/ 1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9">
                  <a:moveTo>
                    <a:pt x="7" y="15"/>
                  </a:moveTo>
                  <a:cubicBezTo>
                    <a:pt x="9" y="6"/>
                    <a:pt x="19" y="19"/>
                    <a:pt x="15" y="6"/>
                  </a:cubicBezTo>
                  <a:cubicBezTo>
                    <a:pt x="9" y="7"/>
                    <a:pt x="7" y="6"/>
                    <a:pt x="0" y="0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" y="7"/>
                    <a:pt x="8" y="10"/>
                    <a:pt x="7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任意多边形: 形状 551">
              <a:extLst>
                <a:ext uri="{FF2B5EF4-FFF2-40B4-BE49-F238E27FC236}">
                  <a16:creationId xmlns:a16="http://schemas.microsoft.com/office/drawing/2014/main" id="{7527C3DF-4EF3-4EA2-895D-ECDCABE40CE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47312" y="-3694197"/>
              <a:ext cx="30163" cy="36513"/>
            </a:xfrm>
            <a:custGeom>
              <a:avLst/>
              <a:gdLst>
                <a:gd name="T0" fmla="*/ 4 w 10"/>
                <a:gd name="T1" fmla="*/ 0 h 12"/>
                <a:gd name="T2" fmla="*/ 0 w 10"/>
                <a:gd name="T3" fmla="*/ 2 h 12"/>
                <a:gd name="T4" fmla="*/ 8 w 10"/>
                <a:gd name="T5" fmla="*/ 4 h 12"/>
                <a:gd name="T6" fmla="*/ 4 w 10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4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10"/>
                    <a:pt x="10" y="12"/>
                    <a:pt x="8" y="4"/>
                  </a:cubicBezTo>
                  <a:cubicBezTo>
                    <a:pt x="7" y="6"/>
                    <a:pt x="5" y="4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任意多边形: 形状 552">
              <a:extLst>
                <a:ext uri="{FF2B5EF4-FFF2-40B4-BE49-F238E27FC236}">
                  <a16:creationId xmlns:a16="http://schemas.microsoft.com/office/drawing/2014/main" id="{57A2C273-6227-47E9-B997-29C85C79A5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71099" y="-5659557"/>
              <a:ext cx="30163" cy="36513"/>
            </a:xfrm>
            <a:custGeom>
              <a:avLst/>
              <a:gdLst>
                <a:gd name="T0" fmla="*/ 5 w 10"/>
                <a:gd name="T1" fmla="*/ 12 h 12"/>
                <a:gd name="T2" fmla="*/ 5 w 10"/>
                <a:gd name="T3" fmla="*/ 0 h 12"/>
                <a:gd name="T4" fmla="*/ 2 w 10"/>
                <a:gd name="T5" fmla="*/ 10 h 12"/>
                <a:gd name="T6" fmla="*/ 5 w 10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2">
                  <a:moveTo>
                    <a:pt x="5" y="12"/>
                  </a:moveTo>
                  <a:cubicBezTo>
                    <a:pt x="10" y="10"/>
                    <a:pt x="8" y="6"/>
                    <a:pt x="5" y="0"/>
                  </a:cubicBezTo>
                  <a:cubicBezTo>
                    <a:pt x="3" y="4"/>
                    <a:pt x="0" y="6"/>
                    <a:pt x="2" y="10"/>
                  </a:cubicBezTo>
                  <a:cubicBezTo>
                    <a:pt x="3" y="8"/>
                    <a:pt x="5" y="8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任意多边形: 形状 553">
              <a:extLst>
                <a:ext uri="{FF2B5EF4-FFF2-40B4-BE49-F238E27FC236}">
                  <a16:creationId xmlns:a16="http://schemas.microsoft.com/office/drawing/2014/main" id="{C152DE20-F1AC-4990-B2C6-F4F4B3E07AC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42612" y="-5370627"/>
              <a:ext cx="65088" cy="74614"/>
            </a:xfrm>
            <a:custGeom>
              <a:avLst/>
              <a:gdLst>
                <a:gd name="T0" fmla="*/ 4 w 22"/>
                <a:gd name="T1" fmla="*/ 13 h 25"/>
                <a:gd name="T2" fmla="*/ 6 w 22"/>
                <a:gd name="T3" fmla="*/ 13 h 25"/>
                <a:gd name="T4" fmla="*/ 0 w 22"/>
                <a:gd name="T5" fmla="*/ 13 h 25"/>
                <a:gd name="T6" fmla="*/ 4 w 22"/>
                <a:gd name="T7" fmla="*/ 25 h 25"/>
                <a:gd name="T8" fmla="*/ 22 w 22"/>
                <a:gd name="T9" fmla="*/ 18 h 25"/>
                <a:gd name="T10" fmla="*/ 4 w 22"/>
                <a:gd name="T11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5">
                  <a:moveTo>
                    <a:pt x="4" y="13"/>
                  </a:moveTo>
                  <a:cubicBezTo>
                    <a:pt x="6" y="11"/>
                    <a:pt x="8" y="11"/>
                    <a:pt x="6" y="13"/>
                  </a:cubicBezTo>
                  <a:cubicBezTo>
                    <a:pt x="4" y="15"/>
                    <a:pt x="2" y="11"/>
                    <a:pt x="0" y="13"/>
                  </a:cubicBezTo>
                  <a:cubicBezTo>
                    <a:pt x="8" y="20"/>
                    <a:pt x="2" y="18"/>
                    <a:pt x="4" y="25"/>
                  </a:cubicBezTo>
                  <a:cubicBezTo>
                    <a:pt x="8" y="18"/>
                    <a:pt x="15" y="23"/>
                    <a:pt x="22" y="18"/>
                  </a:cubicBezTo>
                  <a:cubicBezTo>
                    <a:pt x="17" y="11"/>
                    <a:pt x="2" y="0"/>
                    <a:pt x="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任意多边形: 形状 554">
              <a:extLst>
                <a:ext uri="{FF2B5EF4-FFF2-40B4-BE49-F238E27FC236}">
                  <a16:creationId xmlns:a16="http://schemas.microsoft.com/office/drawing/2014/main" id="{A063B240-878D-4FE8-B1CC-A0E24F17371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1685" y="-4262532"/>
              <a:ext cx="57150" cy="65089"/>
            </a:xfrm>
            <a:custGeom>
              <a:avLst/>
              <a:gdLst>
                <a:gd name="T0" fmla="*/ 9 w 19"/>
                <a:gd name="T1" fmla="*/ 2 h 22"/>
                <a:gd name="T2" fmla="*/ 3 w 19"/>
                <a:gd name="T3" fmla="*/ 7 h 22"/>
                <a:gd name="T4" fmla="*/ 3 w 19"/>
                <a:gd name="T5" fmla="*/ 15 h 22"/>
                <a:gd name="T6" fmla="*/ 0 w 19"/>
                <a:gd name="T7" fmla="*/ 14 h 22"/>
                <a:gd name="T8" fmla="*/ 0 w 19"/>
                <a:gd name="T9" fmla="*/ 18 h 22"/>
                <a:gd name="T10" fmla="*/ 9 w 19"/>
                <a:gd name="T11" fmla="*/ 22 h 22"/>
                <a:gd name="T12" fmla="*/ 7 w 19"/>
                <a:gd name="T13" fmla="*/ 10 h 22"/>
                <a:gd name="T14" fmla="*/ 19 w 19"/>
                <a:gd name="T15" fmla="*/ 15 h 22"/>
                <a:gd name="T16" fmla="*/ 16 w 19"/>
                <a:gd name="T17" fmla="*/ 11 h 22"/>
                <a:gd name="T18" fmla="*/ 15 w 19"/>
                <a:gd name="T19" fmla="*/ 11 h 22"/>
                <a:gd name="T20" fmla="*/ 16 w 19"/>
                <a:gd name="T21" fmla="*/ 11 h 22"/>
                <a:gd name="T22" fmla="*/ 16 w 19"/>
                <a:gd name="T23" fmla="*/ 6 h 22"/>
                <a:gd name="T24" fmla="*/ 16 w 19"/>
                <a:gd name="T25" fmla="*/ 4 h 22"/>
                <a:gd name="T26" fmla="*/ 9 w 19"/>
                <a:gd name="T27" fmla="*/ 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2">
                  <a:moveTo>
                    <a:pt x="9" y="2"/>
                  </a:moveTo>
                  <a:cubicBezTo>
                    <a:pt x="13" y="12"/>
                    <a:pt x="9" y="7"/>
                    <a:pt x="3" y="7"/>
                  </a:cubicBezTo>
                  <a:cubicBezTo>
                    <a:pt x="7" y="12"/>
                    <a:pt x="7" y="14"/>
                    <a:pt x="3" y="15"/>
                  </a:cubicBezTo>
                  <a:cubicBezTo>
                    <a:pt x="2" y="15"/>
                    <a:pt x="1" y="14"/>
                    <a:pt x="0" y="1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3" y="20"/>
                    <a:pt x="7" y="20"/>
                    <a:pt x="9" y="22"/>
                  </a:cubicBezTo>
                  <a:cubicBezTo>
                    <a:pt x="5" y="17"/>
                    <a:pt x="9" y="14"/>
                    <a:pt x="7" y="10"/>
                  </a:cubicBezTo>
                  <a:cubicBezTo>
                    <a:pt x="11" y="9"/>
                    <a:pt x="15" y="15"/>
                    <a:pt x="19" y="15"/>
                  </a:cubicBezTo>
                  <a:cubicBezTo>
                    <a:pt x="18" y="14"/>
                    <a:pt x="17" y="12"/>
                    <a:pt x="16" y="11"/>
                  </a:cubicBezTo>
                  <a:cubicBezTo>
                    <a:pt x="16" y="11"/>
                    <a:pt x="16" y="11"/>
                    <a:pt x="15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4" y="9"/>
                    <a:pt x="14" y="7"/>
                    <a:pt x="16" y="6"/>
                  </a:cubicBezTo>
                  <a:cubicBezTo>
                    <a:pt x="16" y="5"/>
                    <a:pt x="16" y="5"/>
                    <a:pt x="16" y="4"/>
                  </a:cubicBezTo>
                  <a:cubicBezTo>
                    <a:pt x="14" y="3"/>
                    <a:pt x="11" y="0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任意多边形: 形状 555">
              <a:extLst>
                <a:ext uri="{FF2B5EF4-FFF2-40B4-BE49-F238E27FC236}">
                  <a16:creationId xmlns:a16="http://schemas.microsoft.com/office/drawing/2014/main" id="{E8DD268C-1887-42A9-B1FE-05D12E047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1685" y="-4170456"/>
              <a:ext cx="57150" cy="66676"/>
            </a:xfrm>
            <a:custGeom>
              <a:avLst/>
              <a:gdLst>
                <a:gd name="T0" fmla="*/ 8 w 19"/>
                <a:gd name="T1" fmla="*/ 18 h 22"/>
                <a:gd name="T2" fmla="*/ 4 w 19"/>
                <a:gd name="T3" fmla="*/ 7 h 22"/>
                <a:gd name="T4" fmla="*/ 17 w 19"/>
                <a:gd name="T5" fmla="*/ 2 h 22"/>
                <a:gd name="T6" fmla="*/ 0 w 19"/>
                <a:gd name="T7" fmla="*/ 6 h 22"/>
                <a:gd name="T8" fmla="*/ 4 w 19"/>
                <a:gd name="T9" fmla="*/ 22 h 22"/>
                <a:gd name="T10" fmla="*/ 8 w 19"/>
                <a:gd name="T11" fmla="*/ 1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22">
                  <a:moveTo>
                    <a:pt x="8" y="18"/>
                  </a:moveTo>
                  <a:cubicBezTo>
                    <a:pt x="8" y="15"/>
                    <a:pt x="0" y="9"/>
                    <a:pt x="4" y="7"/>
                  </a:cubicBezTo>
                  <a:cubicBezTo>
                    <a:pt x="4" y="9"/>
                    <a:pt x="19" y="7"/>
                    <a:pt x="17" y="2"/>
                  </a:cubicBezTo>
                  <a:cubicBezTo>
                    <a:pt x="8" y="0"/>
                    <a:pt x="6" y="11"/>
                    <a:pt x="0" y="6"/>
                  </a:cubicBezTo>
                  <a:cubicBezTo>
                    <a:pt x="2" y="11"/>
                    <a:pt x="0" y="15"/>
                    <a:pt x="4" y="22"/>
                  </a:cubicBezTo>
                  <a:cubicBezTo>
                    <a:pt x="8" y="18"/>
                    <a:pt x="8" y="18"/>
                    <a:pt x="8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任意多边形: 形状 556">
              <a:extLst>
                <a:ext uri="{FF2B5EF4-FFF2-40B4-BE49-F238E27FC236}">
                  <a16:creationId xmlns:a16="http://schemas.microsoft.com/office/drawing/2014/main" id="{7E2FAA28-540B-439F-B8C3-5CF97898EC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57898" y="-3918039"/>
              <a:ext cx="39688" cy="38101"/>
            </a:xfrm>
            <a:custGeom>
              <a:avLst/>
              <a:gdLst>
                <a:gd name="T0" fmla="*/ 0 w 13"/>
                <a:gd name="T1" fmla="*/ 2 h 13"/>
                <a:gd name="T2" fmla="*/ 2 w 13"/>
                <a:gd name="T3" fmla="*/ 11 h 13"/>
                <a:gd name="T4" fmla="*/ 13 w 13"/>
                <a:gd name="T5" fmla="*/ 9 h 13"/>
                <a:gd name="T6" fmla="*/ 0 w 13"/>
                <a:gd name="T7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3">
                  <a:moveTo>
                    <a:pt x="0" y="2"/>
                  </a:moveTo>
                  <a:cubicBezTo>
                    <a:pt x="0" y="5"/>
                    <a:pt x="0" y="7"/>
                    <a:pt x="2" y="11"/>
                  </a:cubicBezTo>
                  <a:cubicBezTo>
                    <a:pt x="8" y="13"/>
                    <a:pt x="6" y="5"/>
                    <a:pt x="13" y="9"/>
                  </a:cubicBezTo>
                  <a:cubicBezTo>
                    <a:pt x="6" y="5"/>
                    <a:pt x="6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任意多边形: 形状 557">
              <a:extLst>
                <a:ext uri="{FF2B5EF4-FFF2-40B4-BE49-F238E27FC236}">
                  <a16:creationId xmlns:a16="http://schemas.microsoft.com/office/drawing/2014/main" id="{B888A86B-0A64-4152-B037-0D758592B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6298" y="-4170456"/>
              <a:ext cx="36513" cy="57151"/>
            </a:xfrm>
            <a:custGeom>
              <a:avLst/>
              <a:gdLst>
                <a:gd name="T0" fmla="*/ 2 w 12"/>
                <a:gd name="T1" fmla="*/ 4 h 19"/>
                <a:gd name="T2" fmla="*/ 0 w 12"/>
                <a:gd name="T3" fmla="*/ 0 h 19"/>
                <a:gd name="T4" fmla="*/ 4 w 12"/>
                <a:gd name="T5" fmla="*/ 15 h 19"/>
                <a:gd name="T6" fmla="*/ 12 w 12"/>
                <a:gd name="T7" fmla="*/ 13 h 19"/>
                <a:gd name="T8" fmla="*/ 12 w 12"/>
                <a:gd name="T9" fmla="*/ 4 h 19"/>
                <a:gd name="T10" fmla="*/ 10 w 12"/>
                <a:gd name="T11" fmla="*/ 4 h 19"/>
                <a:gd name="T12" fmla="*/ 2 w 12"/>
                <a:gd name="T13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9">
                  <a:moveTo>
                    <a:pt x="2" y="4"/>
                  </a:moveTo>
                  <a:cubicBezTo>
                    <a:pt x="2" y="2"/>
                    <a:pt x="2" y="0"/>
                    <a:pt x="0" y="0"/>
                  </a:cubicBezTo>
                  <a:cubicBezTo>
                    <a:pt x="0" y="2"/>
                    <a:pt x="2" y="19"/>
                    <a:pt x="4" y="15"/>
                  </a:cubicBezTo>
                  <a:cubicBezTo>
                    <a:pt x="2" y="8"/>
                    <a:pt x="10" y="11"/>
                    <a:pt x="12" y="13"/>
                  </a:cubicBezTo>
                  <a:cubicBezTo>
                    <a:pt x="10" y="10"/>
                    <a:pt x="12" y="8"/>
                    <a:pt x="12" y="4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6" y="4"/>
                    <a:pt x="7" y="9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任意多边形: 形状 558">
              <a:extLst>
                <a:ext uri="{FF2B5EF4-FFF2-40B4-BE49-F238E27FC236}">
                  <a16:creationId xmlns:a16="http://schemas.microsoft.com/office/drawing/2014/main" id="{CCCFC721-D59A-4B59-8A0B-E4551C58D7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59498" y="-3945027"/>
              <a:ext cx="30163" cy="53976"/>
            </a:xfrm>
            <a:custGeom>
              <a:avLst/>
              <a:gdLst>
                <a:gd name="T0" fmla="*/ 0 w 10"/>
                <a:gd name="T1" fmla="*/ 0 h 18"/>
                <a:gd name="T2" fmla="*/ 6 w 10"/>
                <a:gd name="T3" fmla="*/ 18 h 18"/>
                <a:gd name="T4" fmla="*/ 10 w 10"/>
                <a:gd name="T5" fmla="*/ 16 h 18"/>
                <a:gd name="T6" fmla="*/ 0 w 10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8">
                  <a:moveTo>
                    <a:pt x="0" y="0"/>
                  </a:moveTo>
                  <a:cubicBezTo>
                    <a:pt x="2" y="4"/>
                    <a:pt x="6" y="16"/>
                    <a:pt x="6" y="18"/>
                  </a:cubicBezTo>
                  <a:cubicBezTo>
                    <a:pt x="6" y="14"/>
                    <a:pt x="8" y="14"/>
                    <a:pt x="10" y="16"/>
                  </a:cubicBezTo>
                  <a:cubicBezTo>
                    <a:pt x="10" y="10"/>
                    <a:pt x="4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任意多边形: 形状 559">
              <a:extLst>
                <a:ext uri="{FF2B5EF4-FFF2-40B4-BE49-F238E27FC236}">
                  <a16:creationId xmlns:a16="http://schemas.microsoft.com/office/drawing/2014/main" id="{D0489871-ABFE-469C-ACB8-B6E3BAE796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13473" y="-4059329"/>
              <a:ext cx="36513" cy="47626"/>
            </a:xfrm>
            <a:custGeom>
              <a:avLst/>
              <a:gdLst>
                <a:gd name="T0" fmla="*/ 8 w 12"/>
                <a:gd name="T1" fmla="*/ 16 h 16"/>
                <a:gd name="T2" fmla="*/ 2 w 12"/>
                <a:gd name="T3" fmla="*/ 0 h 16"/>
                <a:gd name="T4" fmla="*/ 0 w 12"/>
                <a:gd name="T5" fmla="*/ 1 h 16"/>
                <a:gd name="T6" fmla="*/ 8 w 1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6">
                  <a:moveTo>
                    <a:pt x="8" y="16"/>
                  </a:moveTo>
                  <a:cubicBezTo>
                    <a:pt x="12" y="13"/>
                    <a:pt x="7" y="2"/>
                    <a:pt x="2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6" y="4"/>
                    <a:pt x="3" y="11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任意多边形: 形状 560">
              <a:extLst>
                <a:ext uri="{FF2B5EF4-FFF2-40B4-BE49-F238E27FC236}">
                  <a16:creationId xmlns:a16="http://schemas.microsoft.com/office/drawing/2014/main" id="{F5B5DDD5-7A4A-4F52-BC8F-422C6BCFE18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83323" y="-4056154"/>
              <a:ext cx="53975" cy="53976"/>
            </a:xfrm>
            <a:custGeom>
              <a:avLst/>
              <a:gdLst>
                <a:gd name="T0" fmla="*/ 17 w 18"/>
                <a:gd name="T1" fmla="*/ 5 h 18"/>
                <a:gd name="T2" fmla="*/ 0 w 18"/>
                <a:gd name="T3" fmla="*/ 10 h 18"/>
                <a:gd name="T4" fmla="*/ 17 w 18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17" y="5"/>
                  </a:moveTo>
                  <a:cubicBezTo>
                    <a:pt x="11" y="15"/>
                    <a:pt x="0" y="0"/>
                    <a:pt x="0" y="10"/>
                  </a:cubicBezTo>
                  <a:cubicBezTo>
                    <a:pt x="5" y="6"/>
                    <a:pt x="18" y="18"/>
                    <a:pt x="17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任意多边形: 形状 561">
              <a:extLst>
                <a:ext uri="{FF2B5EF4-FFF2-40B4-BE49-F238E27FC236}">
                  <a16:creationId xmlns:a16="http://schemas.microsoft.com/office/drawing/2014/main" id="{1FD27C37-8D5E-430E-8ACF-41530F7D46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118015" y="-5397615"/>
              <a:ext cx="57150" cy="47626"/>
            </a:xfrm>
            <a:custGeom>
              <a:avLst/>
              <a:gdLst>
                <a:gd name="T0" fmla="*/ 0 w 19"/>
                <a:gd name="T1" fmla="*/ 16 h 16"/>
                <a:gd name="T2" fmla="*/ 19 w 19"/>
                <a:gd name="T3" fmla="*/ 0 h 16"/>
                <a:gd name="T4" fmla="*/ 0 w 19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6">
                  <a:moveTo>
                    <a:pt x="0" y="16"/>
                  </a:moveTo>
                  <a:cubicBezTo>
                    <a:pt x="5" y="14"/>
                    <a:pt x="15" y="10"/>
                    <a:pt x="19" y="0"/>
                  </a:cubicBezTo>
                  <a:cubicBezTo>
                    <a:pt x="14" y="6"/>
                    <a:pt x="0" y="10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任意多边形: 形状 562">
              <a:extLst>
                <a:ext uri="{FF2B5EF4-FFF2-40B4-BE49-F238E27FC236}">
                  <a16:creationId xmlns:a16="http://schemas.microsoft.com/office/drawing/2014/main" id="{79FD5FB2-084F-4DD8-B323-C6C1C44BF6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914815" y="-5296013"/>
              <a:ext cx="92075" cy="57151"/>
            </a:xfrm>
            <a:custGeom>
              <a:avLst/>
              <a:gdLst>
                <a:gd name="T0" fmla="*/ 0 w 31"/>
                <a:gd name="T1" fmla="*/ 13 h 19"/>
                <a:gd name="T2" fmla="*/ 27 w 31"/>
                <a:gd name="T3" fmla="*/ 0 h 19"/>
                <a:gd name="T4" fmla="*/ 0 w 31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1" h="19">
                  <a:moveTo>
                    <a:pt x="0" y="13"/>
                  </a:moveTo>
                  <a:cubicBezTo>
                    <a:pt x="3" y="19"/>
                    <a:pt x="31" y="0"/>
                    <a:pt x="27" y="0"/>
                  </a:cubicBezTo>
                  <a:cubicBezTo>
                    <a:pt x="14" y="6"/>
                    <a:pt x="7" y="10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任意多边形: 形状 563">
              <a:extLst>
                <a:ext uri="{FF2B5EF4-FFF2-40B4-BE49-F238E27FC236}">
                  <a16:creationId xmlns:a16="http://schemas.microsoft.com/office/drawing/2014/main" id="{E36E58C1-918E-421C-B3E0-F945A21154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89352" y="-5835773"/>
              <a:ext cx="30163" cy="36513"/>
            </a:xfrm>
            <a:custGeom>
              <a:avLst/>
              <a:gdLst>
                <a:gd name="T0" fmla="*/ 2 w 10"/>
                <a:gd name="T1" fmla="*/ 10 h 12"/>
                <a:gd name="T2" fmla="*/ 10 w 10"/>
                <a:gd name="T3" fmla="*/ 0 h 12"/>
                <a:gd name="T4" fmla="*/ 2 w 10"/>
                <a:gd name="T5" fmla="*/ 1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2">
                  <a:moveTo>
                    <a:pt x="2" y="10"/>
                  </a:moveTo>
                  <a:cubicBezTo>
                    <a:pt x="6" y="12"/>
                    <a:pt x="10" y="4"/>
                    <a:pt x="10" y="0"/>
                  </a:cubicBezTo>
                  <a:cubicBezTo>
                    <a:pt x="8" y="2"/>
                    <a:pt x="0" y="4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任意多边形: 形状 564">
              <a:extLst>
                <a:ext uri="{FF2B5EF4-FFF2-40B4-BE49-F238E27FC236}">
                  <a16:creationId xmlns:a16="http://schemas.microsoft.com/office/drawing/2014/main" id="{278DBE7D-FC75-475B-927D-45BE49641E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579727" y="-5518267"/>
              <a:ext cx="84138" cy="26988"/>
            </a:xfrm>
            <a:custGeom>
              <a:avLst/>
              <a:gdLst>
                <a:gd name="T0" fmla="*/ 0 w 28"/>
                <a:gd name="T1" fmla="*/ 9 h 9"/>
                <a:gd name="T2" fmla="*/ 0 w 28"/>
                <a:gd name="T3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8" h="9">
                  <a:moveTo>
                    <a:pt x="0" y="9"/>
                  </a:moveTo>
                  <a:cubicBezTo>
                    <a:pt x="28" y="0"/>
                    <a:pt x="1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任意多边形: 形状 565">
              <a:extLst>
                <a:ext uri="{FF2B5EF4-FFF2-40B4-BE49-F238E27FC236}">
                  <a16:creationId xmlns:a16="http://schemas.microsoft.com/office/drawing/2014/main" id="{C70A79B4-E76A-42C3-BF55-F60647D90F9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05077" y="-5508742"/>
              <a:ext cx="34925" cy="61914"/>
            </a:xfrm>
            <a:custGeom>
              <a:avLst/>
              <a:gdLst>
                <a:gd name="T0" fmla="*/ 0 w 12"/>
                <a:gd name="T1" fmla="*/ 6 h 21"/>
                <a:gd name="T2" fmla="*/ 9 w 12"/>
                <a:gd name="T3" fmla="*/ 21 h 21"/>
                <a:gd name="T4" fmla="*/ 12 w 12"/>
                <a:gd name="T5" fmla="*/ 10 h 21"/>
                <a:gd name="T6" fmla="*/ 0 w 12"/>
                <a:gd name="T7" fmla="*/ 6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21">
                  <a:moveTo>
                    <a:pt x="0" y="6"/>
                  </a:moveTo>
                  <a:cubicBezTo>
                    <a:pt x="4" y="12"/>
                    <a:pt x="2" y="19"/>
                    <a:pt x="9" y="21"/>
                  </a:cubicBezTo>
                  <a:cubicBezTo>
                    <a:pt x="12" y="19"/>
                    <a:pt x="12" y="16"/>
                    <a:pt x="12" y="10"/>
                  </a:cubicBezTo>
                  <a:cubicBezTo>
                    <a:pt x="4" y="14"/>
                    <a:pt x="9" y="0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任意多边形: 形状 566">
              <a:extLst>
                <a:ext uri="{FF2B5EF4-FFF2-40B4-BE49-F238E27FC236}">
                  <a16:creationId xmlns:a16="http://schemas.microsoft.com/office/drawing/2014/main" id="{A20CDC0D-58D0-4EC8-BB05-7213F8CE195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833601" y="-5288076"/>
              <a:ext cx="53975" cy="22225"/>
            </a:xfrm>
            <a:custGeom>
              <a:avLst/>
              <a:gdLst>
                <a:gd name="T0" fmla="*/ 4 w 18"/>
                <a:gd name="T1" fmla="*/ 7 h 7"/>
                <a:gd name="T2" fmla="*/ 16 w 18"/>
                <a:gd name="T3" fmla="*/ 0 h 7"/>
                <a:gd name="T4" fmla="*/ 4 w 18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7">
                  <a:moveTo>
                    <a:pt x="4" y="7"/>
                  </a:moveTo>
                  <a:cubicBezTo>
                    <a:pt x="6" y="4"/>
                    <a:pt x="18" y="3"/>
                    <a:pt x="16" y="0"/>
                  </a:cubicBezTo>
                  <a:cubicBezTo>
                    <a:pt x="10" y="3"/>
                    <a:pt x="0" y="0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任意多边形: 形状 567">
              <a:extLst>
                <a:ext uri="{FF2B5EF4-FFF2-40B4-BE49-F238E27FC236}">
                  <a16:creationId xmlns:a16="http://schemas.microsoft.com/office/drawing/2014/main" id="{68A0A39F-7C0D-48DC-9D4C-4EE984E15BE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79652" y="-4978508"/>
              <a:ext cx="66675" cy="34926"/>
            </a:xfrm>
            <a:custGeom>
              <a:avLst/>
              <a:gdLst>
                <a:gd name="T0" fmla="*/ 17 w 22"/>
                <a:gd name="T1" fmla="*/ 2 h 12"/>
                <a:gd name="T2" fmla="*/ 0 w 22"/>
                <a:gd name="T3" fmla="*/ 5 h 12"/>
                <a:gd name="T4" fmla="*/ 17 w 22"/>
                <a:gd name="T5" fmla="*/ 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17" y="2"/>
                  </a:moveTo>
                  <a:cubicBezTo>
                    <a:pt x="11" y="5"/>
                    <a:pt x="8" y="0"/>
                    <a:pt x="0" y="5"/>
                  </a:cubicBezTo>
                  <a:cubicBezTo>
                    <a:pt x="2" y="12"/>
                    <a:pt x="22" y="9"/>
                    <a:pt x="1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任意多边形: 形状 568">
              <a:extLst>
                <a:ext uri="{FF2B5EF4-FFF2-40B4-BE49-F238E27FC236}">
                  <a16:creationId xmlns:a16="http://schemas.microsoft.com/office/drawing/2014/main" id="{A111294F-02A0-478D-BCCD-A04848DD21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533564" y="-5156311"/>
              <a:ext cx="57150" cy="26988"/>
            </a:xfrm>
            <a:custGeom>
              <a:avLst/>
              <a:gdLst>
                <a:gd name="T0" fmla="*/ 11 w 19"/>
                <a:gd name="T1" fmla="*/ 0 h 9"/>
                <a:gd name="T2" fmla="*/ 7 w 19"/>
                <a:gd name="T3" fmla="*/ 9 h 9"/>
                <a:gd name="T4" fmla="*/ 11 w 19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9">
                  <a:moveTo>
                    <a:pt x="11" y="0"/>
                  </a:moveTo>
                  <a:cubicBezTo>
                    <a:pt x="15" y="5"/>
                    <a:pt x="0" y="4"/>
                    <a:pt x="7" y="9"/>
                  </a:cubicBezTo>
                  <a:cubicBezTo>
                    <a:pt x="15" y="9"/>
                    <a:pt x="19" y="0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任意多边形: 形状 569">
              <a:extLst>
                <a:ext uri="{FF2B5EF4-FFF2-40B4-BE49-F238E27FC236}">
                  <a16:creationId xmlns:a16="http://schemas.microsoft.com/office/drawing/2014/main" id="{46208133-5F7F-4036-BAE0-44B7E5C889A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38264" y="-5778622"/>
              <a:ext cx="66675" cy="44451"/>
            </a:xfrm>
            <a:custGeom>
              <a:avLst/>
              <a:gdLst>
                <a:gd name="T0" fmla="*/ 2 w 22"/>
                <a:gd name="T1" fmla="*/ 15 h 15"/>
                <a:gd name="T2" fmla="*/ 16 w 22"/>
                <a:gd name="T3" fmla="*/ 0 h 15"/>
                <a:gd name="T4" fmla="*/ 2 w 22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5">
                  <a:moveTo>
                    <a:pt x="2" y="15"/>
                  </a:moveTo>
                  <a:cubicBezTo>
                    <a:pt x="9" y="15"/>
                    <a:pt x="22" y="10"/>
                    <a:pt x="16" y="0"/>
                  </a:cubicBezTo>
                  <a:cubicBezTo>
                    <a:pt x="15" y="10"/>
                    <a:pt x="0" y="6"/>
                    <a:pt x="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任意多边形: 形状 570">
              <a:extLst>
                <a:ext uri="{FF2B5EF4-FFF2-40B4-BE49-F238E27FC236}">
                  <a16:creationId xmlns:a16="http://schemas.microsoft.com/office/drawing/2014/main" id="{67050AAF-3FAA-4F2D-88D7-1B7ABC35B4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981114" y="-5650032"/>
              <a:ext cx="57150" cy="26988"/>
            </a:xfrm>
            <a:custGeom>
              <a:avLst/>
              <a:gdLst>
                <a:gd name="T0" fmla="*/ 2 w 19"/>
                <a:gd name="T1" fmla="*/ 4 h 9"/>
                <a:gd name="T2" fmla="*/ 2 w 19"/>
                <a:gd name="T3" fmla="*/ 8 h 9"/>
                <a:gd name="T4" fmla="*/ 12 w 19"/>
                <a:gd name="T5" fmla="*/ 2 h 9"/>
                <a:gd name="T6" fmla="*/ 2 w 19"/>
                <a:gd name="T7" fmla="*/ 0 h 9"/>
                <a:gd name="T8" fmla="*/ 2 w 1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9">
                  <a:moveTo>
                    <a:pt x="2" y="4"/>
                  </a:moveTo>
                  <a:cubicBezTo>
                    <a:pt x="0" y="4"/>
                    <a:pt x="0" y="6"/>
                    <a:pt x="2" y="8"/>
                  </a:cubicBezTo>
                  <a:cubicBezTo>
                    <a:pt x="4" y="9"/>
                    <a:pt x="19" y="2"/>
                    <a:pt x="12" y="2"/>
                  </a:cubicBezTo>
                  <a:cubicBezTo>
                    <a:pt x="7" y="8"/>
                    <a:pt x="5" y="0"/>
                    <a:pt x="2" y="0"/>
                  </a:cubicBezTo>
                  <a:cubicBezTo>
                    <a:pt x="4" y="2"/>
                    <a:pt x="4" y="4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任意多边形: 形状 571">
              <a:extLst>
                <a:ext uri="{FF2B5EF4-FFF2-40B4-BE49-F238E27FC236}">
                  <a16:creationId xmlns:a16="http://schemas.microsoft.com/office/drawing/2014/main" id="{36795F32-027F-4A1A-8EA7-143D8AD7C4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224001" y="-5005496"/>
              <a:ext cx="66675" cy="34926"/>
            </a:xfrm>
            <a:custGeom>
              <a:avLst/>
              <a:gdLst>
                <a:gd name="T0" fmla="*/ 17 w 22"/>
                <a:gd name="T1" fmla="*/ 0 h 12"/>
                <a:gd name="T2" fmla="*/ 0 w 22"/>
                <a:gd name="T3" fmla="*/ 12 h 12"/>
                <a:gd name="T4" fmla="*/ 17 w 22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17" y="0"/>
                  </a:moveTo>
                  <a:cubicBezTo>
                    <a:pt x="9" y="6"/>
                    <a:pt x="2" y="2"/>
                    <a:pt x="0" y="12"/>
                  </a:cubicBezTo>
                  <a:cubicBezTo>
                    <a:pt x="4" y="8"/>
                    <a:pt x="22" y="2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任意多边形: 形状 572">
              <a:extLst>
                <a:ext uri="{FF2B5EF4-FFF2-40B4-BE49-F238E27FC236}">
                  <a16:creationId xmlns:a16="http://schemas.microsoft.com/office/drawing/2014/main" id="{3E9D4AC6-7AF6-4D83-A70E-17F3BF9026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020801" y="-5265850"/>
              <a:ext cx="44450" cy="44451"/>
            </a:xfrm>
            <a:custGeom>
              <a:avLst/>
              <a:gdLst>
                <a:gd name="T0" fmla="*/ 6 w 15"/>
                <a:gd name="T1" fmla="*/ 15 h 15"/>
                <a:gd name="T2" fmla="*/ 15 w 15"/>
                <a:gd name="T3" fmla="*/ 11 h 15"/>
                <a:gd name="T4" fmla="*/ 6 w 15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5">
                  <a:moveTo>
                    <a:pt x="6" y="15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1" y="0"/>
                    <a:pt x="0" y="6"/>
                    <a:pt x="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任意多边形: 形状 573">
              <a:extLst>
                <a:ext uri="{FF2B5EF4-FFF2-40B4-BE49-F238E27FC236}">
                  <a16:creationId xmlns:a16="http://schemas.microsoft.com/office/drawing/2014/main" id="{6D17761F-2E15-443A-AEDD-F49A9CA31C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89039" y="-5173774"/>
              <a:ext cx="74613" cy="44451"/>
            </a:xfrm>
            <a:custGeom>
              <a:avLst/>
              <a:gdLst>
                <a:gd name="T0" fmla="*/ 23 w 25"/>
                <a:gd name="T1" fmla="*/ 2 h 15"/>
                <a:gd name="T2" fmla="*/ 0 w 25"/>
                <a:gd name="T3" fmla="*/ 13 h 15"/>
                <a:gd name="T4" fmla="*/ 23 w 25"/>
                <a:gd name="T5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5">
                  <a:moveTo>
                    <a:pt x="23" y="2"/>
                  </a:moveTo>
                  <a:cubicBezTo>
                    <a:pt x="17" y="0"/>
                    <a:pt x="2" y="7"/>
                    <a:pt x="0" y="13"/>
                  </a:cubicBezTo>
                  <a:cubicBezTo>
                    <a:pt x="8" y="5"/>
                    <a:pt x="25" y="15"/>
                    <a:pt x="2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任意多边形: 形状 574">
              <a:extLst>
                <a:ext uri="{FF2B5EF4-FFF2-40B4-BE49-F238E27FC236}">
                  <a16:creationId xmlns:a16="http://schemas.microsoft.com/office/drawing/2014/main" id="{9779E0B9-8C31-4C9D-9765-BC67183E3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495338" y="-5257913"/>
              <a:ext cx="47625" cy="36513"/>
            </a:xfrm>
            <a:custGeom>
              <a:avLst/>
              <a:gdLst>
                <a:gd name="T0" fmla="*/ 0 w 16"/>
                <a:gd name="T1" fmla="*/ 12 h 12"/>
                <a:gd name="T2" fmla="*/ 14 w 16"/>
                <a:gd name="T3" fmla="*/ 0 h 12"/>
                <a:gd name="T4" fmla="*/ 0 w 16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2">
                  <a:moveTo>
                    <a:pt x="0" y="12"/>
                  </a:moveTo>
                  <a:cubicBezTo>
                    <a:pt x="6" y="10"/>
                    <a:pt x="16" y="7"/>
                    <a:pt x="14" y="0"/>
                  </a:cubicBezTo>
                  <a:cubicBezTo>
                    <a:pt x="11" y="3"/>
                    <a:pt x="2" y="7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FF391C86-EB71-4E94-811A-D8D482E2ED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84213" y="-5211874"/>
              <a:ext cx="74613" cy="47626"/>
            </a:xfrm>
            <a:custGeom>
              <a:avLst/>
              <a:gdLst>
                <a:gd name="T0" fmla="*/ 0 w 25"/>
                <a:gd name="T1" fmla="*/ 16 h 16"/>
                <a:gd name="T2" fmla="*/ 23 w 25"/>
                <a:gd name="T3" fmla="*/ 0 h 16"/>
                <a:gd name="T4" fmla="*/ 0 w 25"/>
                <a:gd name="T5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6">
                  <a:moveTo>
                    <a:pt x="0" y="16"/>
                  </a:moveTo>
                  <a:cubicBezTo>
                    <a:pt x="5" y="7"/>
                    <a:pt x="25" y="7"/>
                    <a:pt x="23" y="0"/>
                  </a:cubicBezTo>
                  <a:cubicBezTo>
                    <a:pt x="20" y="0"/>
                    <a:pt x="0" y="9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任意多边形: 形状 576">
              <a:extLst>
                <a:ext uri="{FF2B5EF4-FFF2-40B4-BE49-F238E27FC236}">
                  <a16:creationId xmlns:a16="http://schemas.microsoft.com/office/drawing/2014/main" id="{A64392AE-3DE0-4A4D-A83E-12B77EFB3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25463" y="-5203937"/>
              <a:ext cx="66675" cy="47626"/>
            </a:xfrm>
            <a:custGeom>
              <a:avLst/>
              <a:gdLst>
                <a:gd name="T0" fmla="*/ 4 w 22"/>
                <a:gd name="T1" fmla="*/ 16 h 16"/>
                <a:gd name="T2" fmla="*/ 20 w 22"/>
                <a:gd name="T3" fmla="*/ 2 h 16"/>
                <a:gd name="T4" fmla="*/ 6 w 22"/>
                <a:gd name="T5" fmla="*/ 5 h 16"/>
                <a:gd name="T6" fmla="*/ 4 w 22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6">
                  <a:moveTo>
                    <a:pt x="4" y="16"/>
                  </a:moveTo>
                  <a:cubicBezTo>
                    <a:pt x="11" y="12"/>
                    <a:pt x="22" y="9"/>
                    <a:pt x="20" y="2"/>
                  </a:cubicBezTo>
                  <a:cubicBezTo>
                    <a:pt x="17" y="5"/>
                    <a:pt x="6" y="0"/>
                    <a:pt x="6" y="5"/>
                  </a:cubicBezTo>
                  <a:cubicBezTo>
                    <a:pt x="15" y="7"/>
                    <a:pt x="0" y="12"/>
                    <a:pt x="4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任意多边形: 形状 577">
              <a:extLst>
                <a:ext uri="{FF2B5EF4-FFF2-40B4-BE49-F238E27FC236}">
                  <a16:creationId xmlns:a16="http://schemas.microsoft.com/office/drawing/2014/main" id="{19A6865D-9311-4F38-B585-6FECA57CD31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41326" y="-5164248"/>
              <a:ext cx="84138" cy="74614"/>
            </a:xfrm>
            <a:custGeom>
              <a:avLst/>
              <a:gdLst>
                <a:gd name="T0" fmla="*/ 21 w 28"/>
                <a:gd name="T1" fmla="*/ 7 h 25"/>
                <a:gd name="T2" fmla="*/ 28 w 28"/>
                <a:gd name="T3" fmla="*/ 5 h 25"/>
                <a:gd name="T4" fmla="*/ 16 w 28"/>
                <a:gd name="T5" fmla="*/ 4 h 25"/>
                <a:gd name="T6" fmla="*/ 18 w 28"/>
                <a:gd name="T7" fmla="*/ 13 h 25"/>
                <a:gd name="T8" fmla="*/ 2 w 28"/>
                <a:gd name="T9" fmla="*/ 25 h 25"/>
                <a:gd name="T10" fmla="*/ 21 w 28"/>
                <a:gd name="T11" fmla="*/ 15 h 25"/>
                <a:gd name="T12" fmla="*/ 18 w 28"/>
                <a:gd name="T13" fmla="*/ 15 h 25"/>
                <a:gd name="T14" fmla="*/ 21 w 28"/>
                <a:gd name="T15" fmla="*/ 7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25">
                  <a:moveTo>
                    <a:pt x="21" y="7"/>
                  </a:moveTo>
                  <a:cubicBezTo>
                    <a:pt x="25" y="5"/>
                    <a:pt x="26" y="5"/>
                    <a:pt x="28" y="5"/>
                  </a:cubicBezTo>
                  <a:cubicBezTo>
                    <a:pt x="26" y="0"/>
                    <a:pt x="19" y="5"/>
                    <a:pt x="16" y="4"/>
                  </a:cubicBezTo>
                  <a:cubicBezTo>
                    <a:pt x="18" y="9"/>
                    <a:pt x="12" y="11"/>
                    <a:pt x="18" y="13"/>
                  </a:cubicBezTo>
                  <a:cubicBezTo>
                    <a:pt x="11" y="11"/>
                    <a:pt x="0" y="15"/>
                    <a:pt x="2" y="25"/>
                  </a:cubicBezTo>
                  <a:cubicBezTo>
                    <a:pt x="5" y="15"/>
                    <a:pt x="19" y="25"/>
                    <a:pt x="21" y="15"/>
                  </a:cubicBezTo>
                  <a:cubicBezTo>
                    <a:pt x="21" y="15"/>
                    <a:pt x="19" y="15"/>
                    <a:pt x="18" y="15"/>
                  </a:cubicBezTo>
                  <a:cubicBezTo>
                    <a:pt x="21" y="13"/>
                    <a:pt x="21" y="9"/>
                    <a:pt x="2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任意多边形: 形状 578">
              <a:extLst>
                <a:ext uri="{FF2B5EF4-FFF2-40B4-BE49-F238E27FC236}">
                  <a16:creationId xmlns:a16="http://schemas.microsoft.com/office/drawing/2014/main" id="{75013C41-0480-4873-BD59-C2EF9138162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2176" y="-4067266"/>
              <a:ext cx="44450" cy="28576"/>
            </a:xfrm>
            <a:custGeom>
              <a:avLst/>
              <a:gdLst>
                <a:gd name="T0" fmla="*/ 10 w 15"/>
                <a:gd name="T1" fmla="*/ 2 h 10"/>
                <a:gd name="T2" fmla="*/ 1 w 15"/>
                <a:gd name="T3" fmla="*/ 6 h 10"/>
                <a:gd name="T4" fmla="*/ 10 w 15"/>
                <a:gd name="T5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10" y="2"/>
                  </a:moveTo>
                  <a:cubicBezTo>
                    <a:pt x="7" y="8"/>
                    <a:pt x="0" y="0"/>
                    <a:pt x="1" y="6"/>
                  </a:cubicBezTo>
                  <a:cubicBezTo>
                    <a:pt x="3" y="10"/>
                    <a:pt x="15" y="10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任意多边形: 形状 579">
              <a:extLst>
                <a:ext uri="{FF2B5EF4-FFF2-40B4-BE49-F238E27FC236}">
                  <a16:creationId xmlns:a16="http://schemas.microsoft.com/office/drawing/2014/main" id="{7738DE49-CF5A-49C7-9474-FB5FFBC858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15938" y="-4495899"/>
              <a:ext cx="49213" cy="30163"/>
            </a:xfrm>
            <a:custGeom>
              <a:avLst/>
              <a:gdLst>
                <a:gd name="T0" fmla="*/ 10 w 16"/>
                <a:gd name="T1" fmla="*/ 0 h 10"/>
                <a:gd name="T2" fmla="*/ 0 w 16"/>
                <a:gd name="T3" fmla="*/ 2 h 10"/>
                <a:gd name="T4" fmla="*/ 10 w 16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10" y="0"/>
                  </a:moveTo>
                  <a:cubicBezTo>
                    <a:pt x="7" y="2"/>
                    <a:pt x="4" y="2"/>
                    <a:pt x="0" y="2"/>
                  </a:cubicBezTo>
                  <a:cubicBezTo>
                    <a:pt x="0" y="10"/>
                    <a:pt x="16" y="8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任意多边形: 形状 580">
              <a:extLst>
                <a:ext uri="{FF2B5EF4-FFF2-40B4-BE49-F238E27FC236}">
                  <a16:creationId xmlns:a16="http://schemas.microsoft.com/office/drawing/2014/main" id="{6119DF39-944A-4396-9B3F-835B4FE27C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34988" y="-4160930"/>
              <a:ext cx="47625" cy="30163"/>
            </a:xfrm>
            <a:custGeom>
              <a:avLst/>
              <a:gdLst>
                <a:gd name="T0" fmla="*/ 2 w 16"/>
                <a:gd name="T1" fmla="*/ 8 h 10"/>
                <a:gd name="T2" fmla="*/ 16 w 16"/>
                <a:gd name="T3" fmla="*/ 0 h 10"/>
                <a:gd name="T4" fmla="*/ 2 w 16"/>
                <a:gd name="T5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2" y="8"/>
                  </a:moveTo>
                  <a:cubicBezTo>
                    <a:pt x="8" y="10"/>
                    <a:pt x="14" y="3"/>
                    <a:pt x="16" y="0"/>
                  </a:cubicBezTo>
                  <a:cubicBezTo>
                    <a:pt x="12" y="3"/>
                    <a:pt x="0" y="3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任意多边形: 形状 581">
              <a:extLst>
                <a:ext uri="{FF2B5EF4-FFF2-40B4-BE49-F238E27FC236}">
                  <a16:creationId xmlns:a16="http://schemas.microsoft.com/office/drawing/2014/main" id="{83374812-72CF-4E15-900D-97640D04878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684251" y="-3070298"/>
              <a:ext cx="26988" cy="36513"/>
            </a:xfrm>
            <a:custGeom>
              <a:avLst/>
              <a:gdLst>
                <a:gd name="T0" fmla="*/ 4 w 9"/>
                <a:gd name="T1" fmla="*/ 0 h 12"/>
                <a:gd name="T2" fmla="*/ 0 w 9"/>
                <a:gd name="T3" fmla="*/ 4 h 12"/>
                <a:gd name="T4" fmla="*/ 4 w 9"/>
                <a:gd name="T5" fmla="*/ 12 h 12"/>
                <a:gd name="T6" fmla="*/ 9 w 9"/>
                <a:gd name="T7" fmla="*/ 2 h 12"/>
                <a:gd name="T8" fmla="*/ 4 w 9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12">
                  <a:moveTo>
                    <a:pt x="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1" y="8"/>
                    <a:pt x="3" y="8"/>
                    <a:pt x="4" y="12"/>
                  </a:cubicBezTo>
                  <a:cubicBezTo>
                    <a:pt x="8" y="10"/>
                    <a:pt x="9" y="6"/>
                    <a:pt x="9" y="2"/>
                  </a:cubicBezTo>
                  <a:cubicBezTo>
                    <a:pt x="4" y="6"/>
                    <a:pt x="3" y="6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任意多边形: 形状 582">
              <a:extLst>
                <a:ext uri="{FF2B5EF4-FFF2-40B4-BE49-F238E27FC236}">
                  <a16:creationId xmlns:a16="http://schemas.microsoft.com/office/drawing/2014/main" id="{4639D2A4-A043-4581-A6BC-40BC5717075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85675" y="-4599088"/>
              <a:ext cx="242888" cy="103189"/>
            </a:xfrm>
            <a:custGeom>
              <a:avLst/>
              <a:gdLst>
                <a:gd name="T0" fmla="*/ 0 w 81"/>
                <a:gd name="T1" fmla="*/ 34 h 34"/>
                <a:gd name="T2" fmla="*/ 81 w 81"/>
                <a:gd name="T3" fmla="*/ 0 h 34"/>
                <a:gd name="T4" fmla="*/ 0 w 81"/>
                <a:gd name="T5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1" h="34">
                  <a:moveTo>
                    <a:pt x="0" y="34"/>
                  </a:moveTo>
                  <a:cubicBezTo>
                    <a:pt x="30" y="22"/>
                    <a:pt x="58" y="17"/>
                    <a:pt x="81" y="0"/>
                  </a:cubicBezTo>
                  <a:cubicBezTo>
                    <a:pt x="58" y="17"/>
                    <a:pt x="16" y="2"/>
                    <a:pt x="0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任意多边形: 形状 583">
              <a:extLst>
                <a:ext uri="{FF2B5EF4-FFF2-40B4-BE49-F238E27FC236}">
                  <a16:creationId xmlns:a16="http://schemas.microsoft.com/office/drawing/2014/main" id="{DF0FC425-D91B-41BE-951E-998BB5F9DA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131801" y="-3556082"/>
              <a:ext cx="39688" cy="47626"/>
            </a:xfrm>
            <a:custGeom>
              <a:avLst/>
              <a:gdLst>
                <a:gd name="T0" fmla="*/ 0 w 13"/>
                <a:gd name="T1" fmla="*/ 6 h 16"/>
                <a:gd name="T2" fmla="*/ 9 w 13"/>
                <a:gd name="T3" fmla="*/ 0 h 16"/>
                <a:gd name="T4" fmla="*/ 0 w 13"/>
                <a:gd name="T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6">
                  <a:moveTo>
                    <a:pt x="0" y="6"/>
                  </a:moveTo>
                  <a:cubicBezTo>
                    <a:pt x="3" y="16"/>
                    <a:pt x="13" y="8"/>
                    <a:pt x="9" y="0"/>
                  </a:cubicBez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任意多边形: 形状 584">
              <a:extLst>
                <a:ext uri="{FF2B5EF4-FFF2-40B4-BE49-F238E27FC236}">
                  <a16:creationId xmlns:a16="http://schemas.microsoft.com/office/drawing/2014/main" id="{50415739-B74E-4DA9-9F1E-84E95887A6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15938" y="-3273502"/>
              <a:ext cx="39688" cy="26988"/>
            </a:xfrm>
            <a:custGeom>
              <a:avLst/>
              <a:gdLst>
                <a:gd name="T0" fmla="*/ 0 w 13"/>
                <a:gd name="T1" fmla="*/ 9 h 9"/>
                <a:gd name="T2" fmla="*/ 11 w 13"/>
                <a:gd name="T3" fmla="*/ 0 h 9"/>
                <a:gd name="T4" fmla="*/ 0 w 13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9">
                  <a:moveTo>
                    <a:pt x="0" y="9"/>
                  </a:moveTo>
                  <a:cubicBezTo>
                    <a:pt x="2" y="9"/>
                    <a:pt x="13" y="7"/>
                    <a:pt x="11" y="0"/>
                  </a:cubicBezTo>
                  <a:cubicBezTo>
                    <a:pt x="8" y="7"/>
                    <a:pt x="0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任意多边形: 形状 585">
              <a:extLst>
                <a:ext uri="{FF2B5EF4-FFF2-40B4-BE49-F238E27FC236}">
                  <a16:creationId xmlns:a16="http://schemas.microsoft.com/office/drawing/2014/main" id="{CADF1BB7-E331-4F9C-AC45-E2A7C4AA8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003213" y="-3498931"/>
              <a:ext cx="53975" cy="36513"/>
            </a:xfrm>
            <a:custGeom>
              <a:avLst/>
              <a:gdLst>
                <a:gd name="T0" fmla="*/ 5 w 18"/>
                <a:gd name="T1" fmla="*/ 12 h 12"/>
                <a:gd name="T2" fmla="*/ 18 w 18"/>
                <a:gd name="T3" fmla="*/ 0 h 12"/>
                <a:gd name="T4" fmla="*/ 5 w 1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2">
                  <a:moveTo>
                    <a:pt x="5" y="12"/>
                  </a:moveTo>
                  <a:cubicBezTo>
                    <a:pt x="13" y="8"/>
                    <a:pt x="16" y="6"/>
                    <a:pt x="18" y="0"/>
                  </a:cubicBezTo>
                  <a:cubicBezTo>
                    <a:pt x="14" y="4"/>
                    <a:pt x="0" y="4"/>
                    <a:pt x="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任意多边形: 形状 586">
              <a:extLst>
                <a:ext uri="{FF2B5EF4-FFF2-40B4-BE49-F238E27FC236}">
                  <a16:creationId xmlns:a16="http://schemas.microsoft.com/office/drawing/2014/main" id="{5B51F752-8071-41B1-8850-CE8DDCC8A4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82576" y="-3387804"/>
              <a:ext cx="66675" cy="47626"/>
            </a:xfrm>
            <a:custGeom>
              <a:avLst/>
              <a:gdLst>
                <a:gd name="T0" fmla="*/ 11 w 22"/>
                <a:gd name="T1" fmla="*/ 2 h 16"/>
                <a:gd name="T2" fmla="*/ 0 w 22"/>
                <a:gd name="T3" fmla="*/ 5 h 16"/>
                <a:gd name="T4" fmla="*/ 11 w 22"/>
                <a:gd name="T5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6">
                  <a:moveTo>
                    <a:pt x="11" y="2"/>
                  </a:moveTo>
                  <a:cubicBezTo>
                    <a:pt x="13" y="7"/>
                    <a:pt x="4" y="0"/>
                    <a:pt x="0" y="5"/>
                  </a:cubicBezTo>
                  <a:cubicBezTo>
                    <a:pt x="2" y="16"/>
                    <a:pt x="22" y="0"/>
                    <a:pt x="1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任意多边形: 形状 587">
              <a:extLst>
                <a:ext uri="{FF2B5EF4-FFF2-40B4-BE49-F238E27FC236}">
                  <a16:creationId xmlns:a16="http://schemas.microsoft.com/office/drawing/2014/main" id="{2B2B5991-7F8C-4D1E-AD27-D05853EB1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38126" y="-3370341"/>
              <a:ext cx="44450" cy="47626"/>
            </a:xfrm>
            <a:custGeom>
              <a:avLst/>
              <a:gdLst>
                <a:gd name="T0" fmla="*/ 0 w 15"/>
                <a:gd name="T1" fmla="*/ 7 h 16"/>
                <a:gd name="T2" fmla="*/ 12 w 15"/>
                <a:gd name="T3" fmla="*/ 0 h 16"/>
                <a:gd name="T4" fmla="*/ 0 w 15"/>
                <a:gd name="T5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6">
                  <a:moveTo>
                    <a:pt x="0" y="7"/>
                  </a:moveTo>
                  <a:cubicBezTo>
                    <a:pt x="1" y="16"/>
                    <a:pt x="15" y="6"/>
                    <a:pt x="12" y="0"/>
                  </a:cubicBezTo>
                  <a:cubicBezTo>
                    <a:pt x="4" y="4"/>
                    <a:pt x="6" y="7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任意多边形: 形状 588">
              <a:extLst>
                <a:ext uri="{FF2B5EF4-FFF2-40B4-BE49-F238E27FC236}">
                  <a16:creationId xmlns:a16="http://schemas.microsoft.com/office/drawing/2014/main" id="{8D764052-8B24-4A10-8251-7DA77436ADD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01538" y="-4514949"/>
              <a:ext cx="84138" cy="57151"/>
            </a:xfrm>
            <a:custGeom>
              <a:avLst/>
              <a:gdLst>
                <a:gd name="T0" fmla="*/ 24 w 28"/>
                <a:gd name="T1" fmla="*/ 0 h 19"/>
                <a:gd name="T2" fmla="*/ 0 w 28"/>
                <a:gd name="T3" fmla="*/ 13 h 19"/>
                <a:gd name="T4" fmla="*/ 15 w 28"/>
                <a:gd name="T5" fmla="*/ 17 h 19"/>
                <a:gd name="T6" fmla="*/ 24 w 28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8" h="19">
                  <a:moveTo>
                    <a:pt x="24" y="0"/>
                  </a:moveTo>
                  <a:cubicBezTo>
                    <a:pt x="21" y="6"/>
                    <a:pt x="4" y="4"/>
                    <a:pt x="0" y="13"/>
                  </a:cubicBezTo>
                  <a:cubicBezTo>
                    <a:pt x="4" y="19"/>
                    <a:pt x="9" y="17"/>
                    <a:pt x="15" y="17"/>
                  </a:cubicBezTo>
                  <a:cubicBezTo>
                    <a:pt x="11" y="8"/>
                    <a:pt x="28" y="10"/>
                    <a:pt x="2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任意多边形: 形状 589">
              <a:extLst>
                <a:ext uri="{FF2B5EF4-FFF2-40B4-BE49-F238E27FC236}">
                  <a16:creationId xmlns:a16="http://schemas.microsoft.com/office/drawing/2014/main" id="{7060D04B-B7C4-47B9-B171-FE7CBC4CB0E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85675" y="-4197444"/>
              <a:ext cx="66675" cy="36513"/>
            </a:xfrm>
            <a:custGeom>
              <a:avLst/>
              <a:gdLst>
                <a:gd name="T0" fmla="*/ 13 w 22"/>
                <a:gd name="T1" fmla="*/ 0 h 12"/>
                <a:gd name="T2" fmla="*/ 0 w 22"/>
                <a:gd name="T3" fmla="*/ 4 h 12"/>
                <a:gd name="T4" fmla="*/ 2 w 22"/>
                <a:gd name="T5" fmla="*/ 8 h 12"/>
                <a:gd name="T6" fmla="*/ 0 w 22"/>
                <a:gd name="T7" fmla="*/ 12 h 12"/>
                <a:gd name="T8" fmla="*/ 13 w 22"/>
                <a:gd name="T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13" y="0"/>
                  </a:moveTo>
                  <a:cubicBezTo>
                    <a:pt x="13" y="6"/>
                    <a:pt x="4" y="0"/>
                    <a:pt x="0" y="4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0" y="10"/>
                    <a:pt x="0" y="10"/>
                    <a:pt x="0" y="12"/>
                  </a:cubicBezTo>
                  <a:cubicBezTo>
                    <a:pt x="6" y="10"/>
                    <a:pt x="22" y="4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任意多边形: 形状 590">
              <a:extLst>
                <a:ext uri="{FF2B5EF4-FFF2-40B4-BE49-F238E27FC236}">
                  <a16:creationId xmlns:a16="http://schemas.microsoft.com/office/drawing/2014/main" id="{C3850407-FD84-4D25-A32F-0F74CF76604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74550" y="-4178393"/>
              <a:ext cx="36513" cy="38101"/>
            </a:xfrm>
            <a:custGeom>
              <a:avLst/>
              <a:gdLst>
                <a:gd name="T0" fmla="*/ 0 w 12"/>
                <a:gd name="T1" fmla="*/ 13 h 13"/>
                <a:gd name="T2" fmla="*/ 12 w 12"/>
                <a:gd name="T3" fmla="*/ 0 h 13"/>
                <a:gd name="T4" fmla="*/ 0 w 12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0" y="13"/>
                  </a:moveTo>
                  <a:cubicBezTo>
                    <a:pt x="10" y="11"/>
                    <a:pt x="10" y="6"/>
                    <a:pt x="12" y="0"/>
                  </a:cubicBezTo>
                  <a:cubicBezTo>
                    <a:pt x="6" y="5"/>
                    <a:pt x="6" y="9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任意多边形: 形状 591">
              <a:extLst>
                <a:ext uri="{FF2B5EF4-FFF2-40B4-BE49-F238E27FC236}">
                  <a16:creationId xmlns:a16="http://schemas.microsoft.com/office/drawing/2014/main" id="{43B8A368-C786-4BE8-BF0A-D64969879A2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36488" y="-3573545"/>
              <a:ext cx="34925" cy="38101"/>
            </a:xfrm>
            <a:custGeom>
              <a:avLst/>
              <a:gdLst>
                <a:gd name="T0" fmla="*/ 3 w 12"/>
                <a:gd name="T1" fmla="*/ 13 h 13"/>
                <a:gd name="T2" fmla="*/ 12 w 12"/>
                <a:gd name="T3" fmla="*/ 2 h 13"/>
                <a:gd name="T4" fmla="*/ 3 w 12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3" y="13"/>
                  </a:moveTo>
                  <a:cubicBezTo>
                    <a:pt x="9" y="10"/>
                    <a:pt x="12" y="6"/>
                    <a:pt x="12" y="2"/>
                  </a:cubicBezTo>
                  <a:cubicBezTo>
                    <a:pt x="9" y="0"/>
                    <a:pt x="0" y="4"/>
                    <a:pt x="3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任意多边形: 形状 592">
              <a:extLst>
                <a:ext uri="{FF2B5EF4-FFF2-40B4-BE49-F238E27FC236}">
                  <a16:creationId xmlns:a16="http://schemas.microsoft.com/office/drawing/2014/main" id="{56F97431-3D68-4F56-8C54-4EF12CF7F5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85713" y="-3229051"/>
              <a:ext cx="44450" cy="26988"/>
            </a:xfrm>
            <a:custGeom>
              <a:avLst/>
              <a:gdLst>
                <a:gd name="T0" fmla="*/ 0 w 15"/>
                <a:gd name="T1" fmla="*/ 8 h 9"/>
                <a:gd name="T2" fmla="*/ 13 w 15"/>
                <a:gd name="T3" fmla="*/ 9 h 9"/>
                <a:gd name="T4" fmla="*/ 15 w 15"/>
                <a:gd name="T5" fmla="*/ 2 h 9"/>
                <a:gd name="T6" fmla="*/ 0 w 15"/>
                <a:gd name="T7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9">
                  <a:moveTo>
                    <a:pt x="0" y="8"/>
                  </a:moveTo>
                  <a:cubicBezTo>
                    <a:pt x="6" y="6"/>
                    <a:pt x="6" y="4"/>
                    <a:pt x="13" y="9"/>
                  </a:cubicBezTo>
                  <a:cubicBezTo>
                    <a:pt x="11" y="6"/>
                    <a:pt x="15" y="6"/>
                    <a:pt x="15" y="2"/>
                  </a:cubicBezTo>
                  <a:cubicBezTo>
                    <a:pt x="11" y="2"/>
                    <a:pt x="0" y="0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任意多边形: 形状 593">
              <a:extLst>
                <a:ext uri="{FF2B5EF4-FFF2-40B4-BE49-F238E27FC236}">
                  <a16:creationId xmlns:a16="http://schemas.microsoft.com/office/drawing/2014/main" id="{610B552D-395F-4079-92F4-2CE2170E81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907963" y="-2708342"/>
              <a:ext cx="57150" cy="39688"/>
            </a:xfrm>
            <a:custGeom>
              <a:avLst/>
              <a:gdLst>
                <a:gd name="T0" fmla="*/ 2 w 19"/>
                <a:gd name="T1" fmla="*/ 13 h 13"/>
                <a:gd name="T2" fmla="*/ 14 w 19"/>
                <a:gd name="T3" fmla="*/ 0 h 13"/>
                <a:gd name="T4" fmla="*/ 2 w 19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3">
                  <a:moveTo>
                    <a:pt x="2" y="13"/>
                  </a:moveTo>
                  <a:cubicBezTo>
                    <a:pt x="7" y="8"/>
                    <a:pt x="19" y="8"/>
                    <a:pt x="14" y="0"/>
                  </a:cubicBezTo>
                  <a:cubicBezTo>
                    <a:pt x="9" y="2"/>
                    <a:pt x="0" y="4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任意多边形: 形状 594">
              <a:extLst>
                <a:ext uri="{FF2B5EF4-FFF2-40B4-BE49-F238E27FC236}">
                  <a16:creationId xmlns:a16="http://schemas.microsoft.com/office/drawing/2014/main" id="{9B349C19-BAA8-421C-85A8-5C3A5339D3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37912" y="-5575418"/>
              <a:ext cx="38100" cy="57151"/>
            </a:xfrm>
            <a:custGeom>
              <a:avLst/>
              <a:gdLst>
                <a:gd name="T0" fmla="*/ 5 w 13"/>
                <a:gd name="T1" fmla="*/ 19 h 19"/>
                <a:gd name="T2" fmla="*/ 13 w 13"/>
                <a:gd name="T3" fmla="*/ 0 h 19"/>
                <a:gd name="T4" fmla="*/ 3 w 13"/>
                <a:gd name="T5" fmla="*/ 10 h 19"/>
                <a:gd name="T6" fmla="*/ 5 w 13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9">
                  <a:moveTo>
                    <a:pt x="5" y="19"/>
                  </a:moveTo>
                  <a:cubicBezTo>
                    <a:pt x="10" y="14"/>
                    <a:pt x="13" y="8"/>
                    <a:pt x="13" y="0"/>
                  </a:cubicBezTo>
                  <a:cubicBezTo>
                    <a:pt x="5" y="2"/>
                    <a:pt x="3" y="6"/>
                    <a:pt x="3" y="10"/>
                  </a:cubicBezTo>
                  <a:cubicBezTo>
                    <a:pt x="10" y="8"/>
                    <a:pt x="0" y="17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任意多边形: 形状 595">
              <a:extLst>
                <a:ext uri="{FF2B5EF4-FFF2-40B4-BE49-F238E27FC236}">
                  <a16:creationId xmlns:a16="http://schemas.microsoft.com/office/drawing/2014/main" id="{1D7960E1-86C4-4F06-A034-A738C1932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9163" y="-3211588"/>
              <a:ext cx="63500" cy="30163"/>
            </a:xfrm>
            <a:custGeom>
              <a:avLst/>
              <a:gdLst>
                <a:gd name="T0" fmla="*/ 21 w 21"/>
                <a:gd name="T1" fmla="*/ 0 h 10"/>
                <a:gd name="T2" fmla="*/ 0 w 21"/>
                <a:gd name="T3" fmla="*/ 5 h 10"/>
                <a:gd name="T4" fmla="*/ 21 w 21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0">
                  <a:moveTo>
                    <a:pt x="21" y="0"/>
                  </a:moveTo>
                  <a:cubicBezTo>
                    <a:pt x="14" y="3"/>
                    <a:pt x="7" y="5"/>
                    <a:pt x="0" y="5"/>
                  </a:cubicBezTo>
                  <a:cubicBezTo>
                    <a:pt x="3" y="10"/>
                    <a:pt x="20" y="5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任意多边形: 形状 596">
              <a:extLst>
                <a:ext uri="{FF2B5EF4-FFF2-40B4-BE49-F238E27FC236}">
                  <a16:creationId xmlns:a16="http://schemas.microsoft.com/office/drawing/2014/main" id="{2B25C73A-65BF-4F0F-AC05-08DB4312961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33125" y="-5650032"/>
              <a:ext cx="74613" cy="47626"/>
            </a:xfrm>
            <a:custGeom>
              <a:avLst/>
              <a:gdLst>
                <a:gd name="T0" fmla="*/ 25 w 25"/>
                <a:gd name="T1" fmla="*/ 7 h 16"/>
                <a:gd name="T2" fmla="*/ 23 w 25"/>
                <a:gd name="T3" fmla="*/ 0 h 16"/>
                <a:gd name="T4" fmla="*/ 0 w 25"/>
                <a:gd name="T5" fmla="*/ 16 h 16"/>
                <a:gd name="T6" fmla="*/ 25 w 25"/>
                <a:gd name="T7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6">
                  <a:moveTo>
                    <a:pt x="25" y="7"/>
                  </a:moveTo>
                  <a:cubicBezTo>
                    <a:pt x="23" y="4"/>
                    <a:pt x="23" y="2"/>
                    <a:pt x="23" y="0"/>
                  </a:cubicBezTo>
                  <a:cubicBezTo>
                    <a:pt x="14" y="0"/>
                    <a:pt x="0" y="4"/>
                    <a:pt x="0" y="16"/>
                  </a:cubicBezTo>
                  <a:cubicBezTo>
                    <a:pt x="12" y="9"/>
                    <a:pt x="12" y="4"/>
                    <a:pt x="2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任意多边形: 形状 597">
              <a:extLst>
                <a:ext uri="{FF2B5EF4-FFF2-40B4-BE49-F238E27FC236}">
                  <a16:creationId xmlns:a16="http://schemas.microsoft.com/office/drawing/2014/main" id="{25CA3EEC-EF9D-405F-9373-2938FCD586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26787" y="-5407140"/>
              <a:ext cx="57150" cy="44451"/>
            </a:xfrm>
            <a:custGeom>
              <a:avLst/>
              <a:gdLst>
                <a:gd name="T0" fmla="*/ 0 w 19"/>
                <a:gd name="T1" fmla="*/ 15 h 15"/>
                <a:gd name="T2" fmla="*/ 19 w 19"/>
                <a:gd name="T3" fmla="*/ 0 h 15"/>
                <a:gd name="T4" fmla="*/ 0 w 19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5">
                  <a:moveTo>
                    <a:pt x="0" y="15"/>
                  </a:moveTo>
                  <a:cubicBezTo>
                    <a:pt x="7" y="10"/>
                    <a:pt x="19" y="8"/>
                    <a:pt x="19" y="0"/>
                  </a:cubicBezTo>
                  <a:cubicBezTo>
                    <a:pt x="8" y="6"/>
                    <a:pt x="2" y="8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任意多边形: 形状 598">
              <a:extLst>
                <a:ext uri="{FF2B5EF4-FFF2-40B4-BE49-F238E27FC236}">
                  <a16:creationId xmlns:a16="http://schemas.microsoft.com/office/drawing/2014/main" id="{24673F43-470A-43F5-9199-95E3043B9F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01362" y="-5610344"/>
              <a:ext cx="131763" cy="71439"/>
            </a:xfrm>
            <a:custGeom>
              <a:avLst/>
              <a:gdLst>
                <a:gd name="T0" fmla="*/ 26 w 44"/>
                <a:gd name="T1" fmla="*/ 8 h 24"/>
                <a:gd name="T2" fmla="*/ 25 w 44"/>
                <a:gd name="T3" fmla="*/ 11 h 24"/>
                <a:gd name="T4" fmla="*/ 32 w 44"/>
                <a:gd name="T5" fmla="*/ 11 h 24"/>
                <a:gd name="T6" fmla="*/ 39 w 44"/>
                <a:gd name="T7" fmla="*/ 1 h 24"/>
                <a:gd name="T8" fmla="*/ 26 w 44"/>
                <a:gd name="T9" fmla="*/ 3 h 24"/>
                <a:gd name="T10" fmla="*/ 26 w 44"/>
                <a:gd name="T11" fmla="*/ 8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4" h="24">
                  <a:moveTo>
                    <a:pt x="26" y="8"/>
                  </a:moveTo>
                  <a:cubicBezTo>
                    <a:pt x="14" y="9"/>
                    <a:pt x="0" y="24"/>
                    <a:pt x="25" y="11"/>
                  </a:cubicBezTo>
                  <a:cubicBezTo>
                    <a:pt x="26" y="13"/>
                    <a:pt x="33" y="14"/>
                    <a:pt x="32" y="11"/>
                  </a:cubicBezTo>
                  <a:cubicBezTo>
                    <a:pt x="25" y="3"/>
                    <a:pt x="44" y="11"/>
                    <a:pt x="39" y="1"/>
                  </a:cubicBezTo>
                  <a:cubicBezTo>
                    <a:pt x="33" y="5"/>
                    <a:pt x="30" y="0"/>
                    <a:pt x="26" y="3"/>
                  </a:cubicBezTo>
                  <a:cubicBezTo>
                    <a:pt x="26" y="5"/>
                    <a:pt x="28" y="8"/>
                    <a:pt x="26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任意多边形: 形状 599">
              <a:extLst>
                <a:ext uri="{FF2B5EF4-FFF2-40B4-BE49-F238E27FC236}">
                  <a16:creationId xmlns:a16="http://schemas.microsoft.com/office/drawing/2014/main" id="{709D9A18-CEBE-433E-B7DE-8D345B2FBA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41225" y="-2848044"/>
              <a:ext cx="26988" cy="38101"/>
            </a:xfrm>
            <a:custGeom>
              <a:avLst/>
              <a:gdLst>
                <a:gd name="T0" fmla="*/ 0 w 9"/>
                <a:gd name="T1" fmla="*/ 9 h 13"/>
                <a:gd name="T2" fmla="*/ 9 w 9"/>
                <a:gd name="T3" fmla="*/ 0 h 13"/>
                <a:gd name="T4" fmla="*/ 0 w 9"/>
                <a:gd name="T5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0" y="9"/>
                  </a:moveTo>
                  <a:cubicBezTo>
                    <a:pt x="5" y="13"/>
                    <a:pt x="9" y="6"/>
                    <a:pt x="9" y="0"/>
                  </a:cubicBezTo>
                  <a:cubicBezTo>
                    <a:pt x="3" y="2"/>
                    <a:pt x="0" y="6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任意多边形: 形状 600">
              <a:extLst>
                <a:ext uri="{FF2B5EF4-FFF2-40B4-BE49-F238E27FC236}">
                  <a16:creationId xmlns:a16="http://schemas.microsoft.com/office/drawing/2014/main" id="{A956CBE8-F854-4DE1-8D25-EF8DA6867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42788" y="-3127449"/>
              <a:ext cx="57150" cy="57151"/>
            </a:xfrm>
            <a:custGeom>
              <a:avLst/>
              <a:gdLst>
                <a:gd name="T0" fmla="*/ 19 w 19"/>
                <a:gd name="T1" fmla="*/ 9 h 19"/>
                <a:gd name="T2" fmla="*/ 14 w 19"/>
                <a:gd name="T3" fmla="*/ 0 h 19"/>
                <a:gd name="T4" fmla="*/ 0 w 19"/>
                <a:gd name="T5" fmla="*/ 10 h 19"/>
                <a:gd name="T6" fmla="*/ 2 w 19"/>
                <a:gd name="T7" fmla="*/ 19 h 19"/>
                <a:gd name="T8" fmla="*/ 19 w 19"/>
                <a:gd name="T9" fmla="*/ 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9">
                  <a:moveTo>
                    <a:pt x="19" y="9"/>
                  </a:moveTo>
                  <a:cubicBezTo>
                    <a:pt x="17" y="5"/>
                    <a:pt x="15" y="2"/>
                    <a:pt x="14" y="0"/>
                  </a:cubicBezTo>
                  <a:cubicBezTo>
                    <a:pt x="9" y="4"/>
                    <a:pt x="7" y="7"/>
                    <a:pt x="0" y="10"/>
                  </a:cubicBezTo>
                  <a:cubicBezTo>
                    <a:pt x="2" y="14"/>
                    <a:pt x="2" y="16"/>
                    <a:pt x="2" y="19"/>
                  </a:cubicBezTo>
                  <a:cubicBezTo>
                    <a:pt x="5" y="12"/>
                    <a:pt x="9" y="2"/>
                    <a:pt x="1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任意多边形: 形状 601">
              <a:extLst>
                <a:ext uri="{FF2B5EF4-FFF2-40B4-BE49-F238E27FC236}">
                  <a16:creationId xmlns:a16="http://schemas.microsoft.com/office/drawing/2014/main" id="{03CCA56C-AE08-409C-81AD-7E801D101D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06275" y="-3025848"/>
              <a:ext cx="120650" cy="96839"/>
            </a:xfrm>
            <a:custGeom>
              <a:avLst/>
              <a:gdLst>
                <a:gd name="T0" fmla="*/ 5 w 40"/>
                <a:gd name="T1" fmla="*/ 30 h 32"/>
                <a:gd name="T2" fmla="*/ 40 w 40"/>
                <a:gd name="T3" fmla="*/ 2 h 32"/>
                <a:gd name="T4" fmla="*/ 0 w 40"/>
                <a:gd name="T5" fmla="*/ 25 h 32"/>
                <a:gd name="T6" fmla="*/ 16 w 40"/>
                <a:gd name="T7" fmla="*/ 23 h 32"/>
                <a:gd name="T8" fmla="*/ 5 w 40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32">
                  <a:moveTo>
                    <a:pt x="5" y="30"/>
                  </a:moveTo>
                  <a:cubicBezTo>
                    <a:pt x="21" y="32"/>
                    <a:pt x="26" y="11"/>
                    <a:pt x="40" y="2"/>
                  </a:cubicBezTo>
                  <a:cubicBezTo>
                    <a:pt x="26" y="0"/>
                    <a:pt x="5" y="16"/>
                    <a:pt x="0" y="25"/>
                  </a:cubicBezTo>
                  <a:cubicBezTo>
                    <a:pt x="5" y="23"/>
                    <a:pt x="12" y="16"/>
                    <a:pt x="16" y="23"/>
                  </a:cubicBezTo>
                  <a:cubicBezTo>
                    <a:pt x="12" y="25"/>
                    <a:pt x="3" y="25"/>
                    <a:pt x="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任意多边形: 形状 602">
              <a:extLst>
                <a:ext uri="{FF2B5EF4-FFF2-40B4-BE49-F238E27FC236}">
                  <a16:creationId xmlns:a16="http://schemas.microsoft.com/office/drawing/2014/main" id="{39605468-A139-4285-AD40-9C36B234F7B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64850" y="-5556368"/>
              <a:ext cx="46038" cy="38101"/>
            </a:xfrm>
            <a:custGeom>
              <a:avLst/>
              <a:gdLst>
                <a:gd name="T0" fmla="*/ 0 w 15"/>
                <a:gd name="T1" fmla="*/ 13 h 13"/>
                <a:gd name="T2" fmla="*/ 13 w 15"/>
                <a:gd name="T3" fmla="*/ 0 h 13"/>
                <a:gd name="T4" fmla="*/ 0 w 15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3">
                  <a:moveTo>
                    <a:pt x="0" y="13"/>
                  </a:moveTo>
                  <a:cubicBezTo>
                    <a:pt x="6" y="8"/>
                    <a:pt x="15" y="6"/>
                    <a:pt x="13" y="0"/>
                  </a:cubicBezTo>
                  <a:cubicBezTo>
                    <a:pt x="6" y="2"/>
                    <a:pt x="0" y="6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任意多边形: 形状 603">
              <a:extLst>
                <a:ext uri="{FF2B5EF4-FFF2-40B4-BE49-F238E27FC236}">
                  <a16:creationId xmlns:a16="http://schemas.microsoft.com/office/drawing/2014/main" id="{9C226095-79C2-4607-A716-54B5ED45D6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17225" y="-5538905"/>
              <a:ext cx="47625" cy="30163"/>
            </a:xfrm>
            <a:custGeom>
              <a:avLst/>
              <a:gdLst>
                <a:gd name="T0" fmla="*/ 3 w 16"/>
                <a:gd name="T1" fmla="*/ 10 h 10"/>
                <a:gd name="T2" fmla="*/ 9 w 16"/>
                <a:gd name="T3" fmla="*/ 0 h 10"/>
                <a:gd name="T4" fmla="*/ 3 w 16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3" y="10"/>
                  </a:moveTo>
                  <a:cubicBezTo>
                    <a:pt x="9" y="8"/>
                    <a:pt x="16" y="7"/>
                    <a:pt x="9" y="0"/>
                  </a:cubicBezTo>
                  <a:cubicBezTo>
                    <a:pt x="0" y="2"/>
                    <a:pt x="0" y="5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任意多边形: 形状 604">
              <a:extLst>
                <a:ext uri="{FF2B5EF4-FFF2-40B4-BE49-F238E27FC236}">
                  <a16:creationId xmlns:a16="http://schemas.microsoft.com/office/drawing/2014/main" id="{F7B1E02E-3C99-47FF-A2D0-C49A028B2B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5150" y="-5508742"/>
              <a:ext cx="101600" cy="44451"/>
            </a:xfrm>
            <a:custGeom>
              <a:avLst/>
              <a:gdLst>
                <a:gd name="T0" fmla="*/ 5 w 34"/>
                <a:gd name="T1" fmla="*/ 3 h 15"/>
                <a:gd name="T2" fmla="*/ 12 w 34"/>
                <a:gd name="T3" fmla="*/ 15 h 15"/>
                <a:gd name="T4" fmla="*/ 29 w 34"/>
                <a:gd name="T5" fmla="*/ 0 h 15"/>
                <a:gd name="T6" fmla="*/ 5 w 34"/>
                <a:gd name="T7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15">
                  <a:moveTo>
                    <a:pt x="5" y="3"/>
                  </a:moveTo>
                  <a:cubicBezTo>
                    <a:pt x="4" y="8"/>
                    <a:pt x="9" y="14"/>
                    <a:pt x="12" y="15"/>
                  </a:cubicBezTo>
                  <a:cubicBezTo>
                    <a:pt x="0" y="0"/>
                    <a:pt x="34" y="8"/>
                    <a:pt x="29" y="0"/>
                  </a:cubicBezTo>
                  <a:cubicBezTo>
                    <a:pt x="17" y="3"/>
                    <a:pt x="17" y="1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任意多边形: 形状 605">
              <a:extLst>
                <a:ext uri="{FF2B5EF4-FFF2-40B4-BE49-F238E27FC236}">
                  <a16:creationId xmlns:a16="http://schemas.microsoft.com/office/drawing/2014/main" id="{803D9412-D455-4269-BA55-726CA7F5C1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63400" y="-2902020"/>
              <a:ext cx="68263" cy="34926"/>
            </a:xfrm>
            <a:custGeom>
              <a:avLst/>
              <a:gdLst>
                <a:gd name="T0" fmla="*/ 23 w 23"/>
                <a:gd name="T1" fmla="*/ 7 h 12"/>
                <a:gd name="T2" fmla="*/ 19 w 23"/>
                <a:gd name="T3" fmla="*/ 0 h 12"/>
                <a:gd name="T4" fmla="*/ 7 w 23"/>
                <a:gd name="T5" fmla="*/ 2 h 12"/>
                <a:gd name="T6" fmla="*/ 1 w 23"/>
                <a:gd name="T7" fmla="*/ 11 h 12"/>
                <a:gd name="T8" fmla="*/ 1 w 23"/>
                <a:gd name="T9" fmla="*/ 11 h 12"/>
                <a:gd name="T10" fmla="*/ 1 w 23"/>
                <a:gd name="T11" fmla="*/ 11 h 12"/>
                <a:gd name="T12" fmla="*/ 2 w 23"/>
                <a:gd name="T13" fmla="*/ 12 h 12"/>
                <a:gd name="T14" fmla="*/ 23 w 23"/>
                <a:gd name="T15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12">
                  <a:moveTo>
                    <a:pt x="23" y="7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4" y="5"/>
                    <a:pt x="10" y="2"/>
                    <a:pt x="7" y="2"/>
                  </a:cubicBezTo>
                  <a:cubicBezTo>
                    <a:pt x="14" y="8"/>
                    <a:pt x="0" y="7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1" y="12"/>
                    <a:pt x="2" y="12"/>
                  </a:cubicBezTo>
                  <a:cubicBezTo>
                    <a:pt x="10" y="7"/>
                    <a:pt x="18" y="5"/>
                    <a:pt x="2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任意多边形: 形状 606">
              <a:extLst>
                <a:ext uri="{FF2B5EF4-FFF2-40B4-BE49-F238E27FC236}">
                  <a16:creationId xmlns:a16="http://schemas.microsoft.com/office/drawing/2014/main" id="{AB75C962-2ED3-41E2-9DD6-FA2FFBA53D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53812" y="-3962489"/>
              <a:ext cx="55563" cy="44451"/>
            </a:xfrm>
            <a:custGeom>
              <a:avLst/>
              <a:gdLst>
                <a:gd name="T0" fmla="*/ 0 w 19"/>
                <a:gd name="T1" fmla="*/ 8 h 15"/>
                <a:gd name="T2" fmla="*/ 19 w 19"/>
                <a:gd name="T3" fmla="*/ 8 h 15"/>
                <a:gd name="T4" fmla="*/ 0 w 19"/>
                <a:gd name="T5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" h="15">
                  <a:moveTo>
                    <a:pt x="0" y="8"/>
                  </a:moveTo>
                  <a:cubicBezTo>
                    <a:pt x="5" y="15"/>
                    <a:pt x="12" y="10"/>
                    <a:pt x="19" y="8"/>
                  </a:cubicBezTo>
                  <a:cubicBezTo>
                    <a:pt x="15" y="0"/>
                    <a:pt x="7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任意多边形: 形状 607">
              <a:extLst>
                <a:ext uri="{FF2B5EF4-FFF2-40B4-BE49-F238E27FC236}">
                  <a16:creationId xmlns:a16="http://schemas.microsoft.com/office/drawing/2014/main" id="{3C15E1A5-2339-49A3-92A5-A85C8306D9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99900" y="-2902020"/>
              <a:ext cx="66675" cy="74614"/>
            </a:xfrm>
            <a:custGeom>
              <a:avLst/>
              <a:gdLst>
                <a:gd name="T0" fmla="*/ 18 w 22"/>
                <a:gd name="T1" fmla="*/ 0 h 25"/>
                <a:gd name="T2" fmla="*/ 0 w 22"/>
                <a:gd name="T3" fmla="*/ 15 h 25"/>
                <a:gd name="T4" fmla="*/ 14 w 22"/>
                <a:gd name="T5" fmla="*/ 21 h 25"/>
                <a:gd name="T6" fmla="*/ 22 w 22"/>
                <a:gd name="T7" fmla="*/ 11 h 25"/>
                <a:gd name="T8" fmla="*/ 22 w 22"/>
                <a:gd name="T9" fmla="*/ 11 h 25"/>
                <a:gd name="T10" fmla="*/ 18 w 22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25">
                  <a:moveTo>
                    <a:pt x="18" y="0"/>
                  </a:moveTo>
                  <a:cubicBezTo>
                    <a:pt x="10" y="4"/>
                    <a:pt x="8" y="9"/>
                    <a:pt x="0" y="15"/>
                  </a:cubicBezTo>
                  <a:cubicBezTo>
                    <a:pt x="8" y="9"/>
                    <a:pt x="8" y="25"/>
                    <a:pt x="14" y="21"/>
                  </a:cubicBezTo>
                  <a:cubicBezTo>
                    <a:pt x="12" y="15"/>
                    <a:pt x="16" y="9"/>
                    <a:pt x="22" y="11"/>
                  </a:cubicBezTo>
                  <a:cubicBezTo>
                    <a:pt x="22" y="11"/>
                    <a:pt x="22" y="11"/>
                    <a:pt x="22" y="11"/>
                  </a:cubicBezTo>
                  <a:cubicBezTo>
                    <a:pt x="16" y="6"/>
                    <a:pt x="18" y="6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任意多边形: 形状 608">
              <a:extLst>
                <a:ext uri="{FF2B5EF4-FFF2-40B4-BE49-F238E27FC236}">
                  <a16:creationId xmlns:a16="http://schemas.microsoft.com/office/drawing/2014/main" id="{634438D2-54DA-4E50-9B58-8628F522D2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66575" y="-287027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任意多边形: 形状 609">
              <a:extLst>
                <a:ext uri="{FF2B5EF4-FFF2-40B4-BE49-F238E27FC236}">
                  <a16:creationId xmlns:a16="http://schemas.microsoft.com/office/drawing/2014/main" id="{F339F104-643E-408B-A882-547D60DB42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66575" y="-2765493"/>
              <a:ext cx="38100" cy="39688"/>
            </a:xfrm>
            <a:custGeom>
              <a:avLst/>
              <a:gdLst>
                <a:gd name="T0" fmla="*/ 0 w 13"/>
                <a:gd name="T1" fmla="*/ 2 h 13"/>
                <a:gd name="T2" fmla="*/ 11 w 13"/>
                <a:gd name="T3" fmla="*/ 0 h 13"/>
                <a:gd name="T4" fmla="*/ 0 w 13"/>
                <a:gd name="T5" fmla="*/ 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3">
                  <a:moveTo>
                    <a:pt x="0" y="2"/>
                  </a:moveTo>
                  <a:cubicBezTo>
                    <a:pt x="3" y="13"/>
                    <a:pt x="13" y="6"/>
                    <a:pt x="11" y="0"/>
                  </a:cubicBezTo>
                  <a:cubicBezTo>
                    <a:pt x="8" y="2"/>
                    <a:pt x="3" y="4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任意多边形: 形状 610">
              <a:extLst>
                <a:ext uri="{FF2B5EF4-FFF2-40B4-BE49-F238E27FC236}">
                  <a16:creationId xmlns:a16="http://schemas.microsoft.com/office/drawing/2014/main" id="{C8B0ACCF-2CD9-4C75-BD99-32B3B70DA9C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5450" y="-2867095"/>
              <a:ext cx="34925" cy="39688"/>
            </a:xfrm>
            <a:custGeom>
              <a:avLst/>
              <a:gdLst>
                <a:gd name="T0" fmla="*/ 0 w 12"/>
                <a:gd name="T1" fmla="*/ 13 h 13"/>
                <a:gd name="T2" fmla="*/ 12 w 12"/>
                <a:gd name="T3" fmla="*/ 0 h 13"/>
                <a:gd name="T4" fmla="*/ 0 w 12"/>
                <a:gd name="T5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3">
                  <a:moveTo>
                    <a:pt x="0" y="13"/>
                  </a:moveTo>
                  <a:cubicBezTo>
                    <a:pt x="7" y="13"/>
                    <a:pt x="10" y="7"/>
                    <a:pt x="12" y="0"/>
                  </a:cubicBezTo>
                  <a:cubicBezTo>
                    <a:pt x="5" y="4"/>
                    <a:pt x="0" y="7"/>
                    <a:pt x="0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任意多边形: 形状 611">
              <a:extLst>
                <a:ext uri="{FF2B5EF4-FFF2-40B4-BE49-F238E27FC236}">
                  <a16:creationId xmlns:a16="http://schemas.microsoft.com/office/drawing/2014/main" id="{B84CB9D7-BEEB-4B8D-81E3-E79AA1B0A0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36400" y="-2884558"/>
              <a:ext cx="36513" cy="26988"/>
            </a:xfrm>
            <a:custGeom>
              <a:avLst/>
              <a:gdLst>
                <a:gd name="T0" fmla="*/ 12 w 12"/>
                <a:gd name="T1" fmla="*/ 0 h 9"/>
                <a:gd name="T2" fmla="*/ 1 w 12"/>
                <a:gd name="T3" fmla="*/ 8 h 9"/>
                <a:gd name="T4" fmla="*/ 12 w 1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9">
                  <a:moveTo>
                    <a:pt x="12" y="0"/>
                  </a:moveTo>
                  <a:cubicBezTo>
                    <a:pt x="8" y="2"/>
                    <a:pt x="0" y="2"/>
                    <a:pt x="1" y="8"/>
                  </a:cubicBezTo>
                  <a:cubicBezTo>
                    <a:pt x="8" y="9"/>
                    <a:pt x="12" y="8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任意多边形: 形状 612">
              <a:extLst>
                <a:ext uri="{FF2B5EF4-FFF2-40B4-BE49-F238E27FC236}">
                  <a16:creationId xmlns:a16="http://schemas.microsoft.com/office/drawing/2014/main" id="{9F87AD4F-344D-4503-B0CC-5B2837A7B2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5288" y="-2708342"/>
              <a:ext cx="65088" cy="39688"/>
            </a:xfrm>
            <a:custGeom>
              <a:avLst/>
              <a:gdLst>
                <a:gd name="T0" fmla="*/ 0 w 22"/>
                <a:gd name="T1" fmla="*/ 11 h 13"/>
                <a:gd name="T2" fmla="*/ 19 w 22"/>
                <a:gd name="T3" fmla="*/ 0 h 13"/>
                <a:gd name="T4" fmla="*/ 0 w 22"/>
                <a:gd name="T5" fmla="*/ 11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3">
                  <a:moveTo>
                    <a:pt x="0" y="11"/>
                  </a:moveTo>
                  <a:cubicBezTo>
                    <a:pt x="2" y="13"/>
                    <a:pt x="22" y="2"/>
                    <a:pt x="19" y="0"/>
                  </a:cubicBezTo>
                  <a:cubicBezTo>
                    <a:pt x="13" y="4"/>
                    <a:pt x="0" y="5"/>
                    <a:pt x="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任意多边形: 形状 613">
              <a:extLst>
                <a:ext uri="{FF2B5EF4-FFF2-40B4-BE49-F238E27FC236}">
                  <a16:creationId xmlns:a16="http://schemas.microsoft.com/office/drawing/2014/main" id="{90FF82C6-49CD-4A88-8DB0-35C9942B75F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87175" y="-2875032"/>
              <a:ext cx="84138" cy="57151"/>
            </a:xfrm>
            <a:custGeom>
              <a:avLst/>
              <a:gdLst>
                <a:gd name="T0" fmla="*/ 22 w 28"/>
                <a:gd name="T1" fmla="*/ 0 h 19"/>
                <a:gd name="T2" fmla="*/ 2 w 28"/>
                <a:gd name="T3" fmla="*/ 16 h 19"/>
                <a:gd name="T4" fmla="*/ 22 w 28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22" y="0"/>
                  </a:moveTo>
                  <a:cubicBezTo>
                    <a:pt x="20" y="5"/>
                    <a:pt x="0" y="14"/>
                    <a:pt x="2" y="16"/>
                  </a:cubicBezTo>
                  <a:cubicBezTo>
                    <a:pt x="3" y="19"/>
                    <a:pt x="28" y="6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CF7CF9C3-D53F-4FE1-8F44-5CB9BC33A7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90375" y="-2371786"/>
              <a:ext cx="39688" cy="34926"/>
            </a:xfrm>
            <a:custGeom>
              <a:avLst/>
              <a:gdLst>
                <a:gd name="T0" fmla="*/ 6 w 13"/>
                <a:gd name="T1" fmla="*/ 0 h 12"/>
                <a:gd name="T2" fmla="*/ 7 w 13"/>
                <a:gd name="T3" fmla="*/ 12 h 12"/>
                <a:gd name="T4" fmla="*/ 13 w 13"/>
                <a:gd name="T5" fmla="*/ 9 h 12"/>
                <a:gd name="T6" fmla="*/ 6 w 13"/>
                <a:gd name="T7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2">
                  <a:moveTo>
                    <a:pt x="6" y="0"/>
                  </a:moveTo>
                  <a:cubicBezTo>
                    <a:pt x="0" y="2"/>
                    <a:pt x="4" y="11"/>
                    <a:pt x="7" y="12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1" y="4"/>
                    <a:pt x="7" y="5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13EC97D8-6F87-4543-AFD5-34822645F2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72875" y="-2716280"/>
              <a:ext cx="39688" cy="26988"/>
            </a:xfrm>
            <a:custGeom>
              <a:avLst/>
              <a:gdLst>
                <a:gd name="T0" fmla="*/ 9 w 13"/>
                <a:gd name="T1" fmla="*/ 0 h 9"/>
                <a:gd name="T2" fmla="*/ 0 w 13"/>
                <a:gd name="T3" fmla="*/ 3 h 9"/>
                <a:gd name="T4" fmla="*/ 13 w 13"/>
                <a:gd name="T5" fmla="*/ 8 h 9"/>
                <a:gd name="T6" fmla="*/ 9 w 1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9">
                  <a:moveTo>
                    <a:pt x="9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2" y="9"/>
                    <a:pt x="9" y="6"/>
                    <a:pt x="13" y="8"/>
                  </a:cubicBezTo>
                  <a:cubicBezTo>
                    <a:pt x="11" y="3"/>
                    <a:pt x="9" y="5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D64535C7-C0BC-4338-83D4-CD85CC5D02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88737" y="-2782956"/>
              <a:ext cx="30163" cy="57151"/>
            </a:xfrm>
            <a:custGeom>
              <a:avLst/>
              <a:gdLst>
                <a:gd name="T0" fmla="*/ 2 w 10"/>
                <a:gd name="T1" fmla="*/ 19 h 19"/>
                <a:gd name="T2" fmla="*/ 0 w 10"/>
                <a:gd name="T3" fmla="*/ 10 h 19"/>
                <a:gd name="T4" fmla="*/ 3 w 10"/>
                <a:gd name="T5" fmla="*/ 13 h 19"/>
                <a:gd name="T6" fmla="*/ 2 w 10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9">
                  <a:moveTo>
                    <a:pt x="2" y="19"/>
                  </a:moveTo>
                  <a:cubicBezTo>
                    <a:pt x="10" y="17"/>
                    <a:pt x="3" y="0"/>
                    <a:pt x="0" y="10"/>
                  </a:cubicBezTo>
                  <a:cubicBezTo>
                    <a:pt x="2" y="10"/>
                    <a:pt x="3" y="11"/>
                    <a:pt x="3" y="13"/>
                  </a:cubicBezTo>
                  <a:cubicBezTo>
                    <a:pt x="2" y="15"/>
                    <a:pt x="0" y="17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989C1D65-8D5A-45AD-A707-9DD0136B91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63350" y="-2428937"/>
              <a:ext cx="84138" cy="57151"/>
            </a:xfrm>
            <a:custGeom>
              <a:avLst/>
              <a:gdLst>
                <a:gd name="T0" fmla="*/ 6 w 28"/>
                <a:gd name="T1" fmla="*/ 19 h 19"/>
                <a:gd name="T2" fmla="*/ 28 w 28"/>
                <a:gd name="T3" fmla="*/ 4 h 19"/>
                <a:gd name="T4" fmla="*/ 6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6" y="19"/>
                  </a:moveTo>
                  <a:cubicBezTo>
                    <a:pt x="13" y="6"/>
                    <a:pt x="21" y="15"/>
                    <a:pt x="28" y="4"/>
                  </a:cubicBezTo>
                  <a:cubicBezTo>
                    <a:pt x="25" y="0"/>
                    <a:pt x="0" y="8"/>
                    <a:pt x="6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F4D7A0F1-3619-4B5C-ADD8-7404628E8CD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14125" y="-2743268"/>
              <a:ext cx="39688" cy="74614"/>
            </a:xfrm>
            <a:custGeom>
              <a:avLst/>
              <a:gdLst>
                <a:gd name="T0" fmla="*/ 2 w 13"/>
                <a:gd name="T1" fmla="*/ 19 h 25"/>
                <a:gd name="T2" fmla="*/ 7 w 13"/>
                <a:gd name="T3" fmla="*/ 25 h 25"/>
                <a:gd name="T4" fmla="*/ 13 w 13"/>
                <a:gd name="T5" fmla="*/ 7 h 25"/>
                <a:gd name="T6" fmla="*/ 0 w 13"/>
                <a:gd name="T7" fmla="*/ 11 h 25"/>
                <a:gd name="T8" fmla="*/ 2 w 13"/>
                <a:gd name="T9" fmla="*/ 19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25">
                  <a:moveTo>
                    <a:pt x="2" y="19"/>
                  </a:moveTo>
                  <a:cubicBezTo>
                    <a:pt x="7" y="13"/>
                    <a:pt x="7" y="21"/>
                    <a:pt x="7" y="25"/>
                  </a:cubicBezTo>
                  <a:cubicBezTo>
                    <a:pt x="8" y="19"/>
                    <a:pt x="13" y="15"/>
                    <a:pt x="13" y="7"/>
                  </a:cubicBezTo>
                  <a:cubicBezTo>
                    <a:pt x="8" y="19"/>
                    <a:pt x="4" y="0"/>
                    <a:pt x="0" y="11"/>
                  </a:cubicBezTo>
                  <a:cubicBezTo>
                    <a:pt x="7" y="9"/>
                    <a:pt x="0" y="15"/>
                    <a:pt x="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1C5D34D5-8EBC-4AB5-AFEA-DBA3B1DDDB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04600" y="-2641666"/>
              <a:ext cx="84138" cy="36513"/>
            </a:xfrm>
            <a:custGeom>
              <a:avLst/>
              <a:gdLst>
                <a:gd name="T0" fmla="*/ 0 w 28"/>
                <a:gd name="T1" fmla="*/ 12 h 12"/>
                <a:gd name="T2" fmla="*/ 27 w 28"/>
                <a:gd name="T3" fmla="*/ 0 h 12"/>
                <a:gd name="T4" fmla="*/ 0 w 28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2">
                  <a:moveTo>
                    <a:pt x="0" y="12"/>
                  </a:moveTo>
                  <a:cubicBezTo>
                    <a:pt x="7" y="9"/>
                    <a:pt x="28" y="12"/>
                    <a:pt x="27" y="0"/>
                  </a:cubicBezTo>
                  <a:cubicBezTo>
                    <a:pt x="20" y="11"/>
                    <a:pt x="9" y="0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BC1421C4-4EB5-4F20-BE59-E1BBE5C97A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12525" y="-2320985"/>
              <a:ext cx="114300" cy="98427"/>
            </a:xfrm>
            <a:custGeom>
              <a:avLst/>
              <a:gdLst>
                <a:gd name="T0" fmla="*/ 30 w 38"/>
                <a:gd name="T1" fmla="*/ 0 h 33"/>
                <a:gd name="T2" fmla="*/ 0 w 38"/>
                <a:gd name="T3" fmla="*/ 22 h 33"/>
                <a:gd name="T4" fmla="*/ 2 w 38"/>
                <a:gd name="T5" fmla="*/ 33 h 33"/>
                <a:gd name="T6" fmla="*/ 32 w 38"/>
                <a:gd name="T7" fmla="*/ 17 h 33"/>
                <a:gd name="T8" fmla="*/ 38 w 38"/>
                <a:gd name="T9" fmla="*/ 4 h 33"/>
                <a:gd name="T10" fmla="*/ 34 w 38"/>
                <a:gd name="T11" fmla="*/ 0 h 33"/>
                <a:gd name="T12" fmla="*/ 34 w 38"/>
                <a:gd name="T13" fmla="*/ 2 h 33"/>
                <a:gd name="T14" fmla="*/ 30 w 38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3">
                  <a:moveTo>
                    <a:pt x="30" y="0"/>
                  </a:moveTo>
                  <a:cubicBezTo>
                    <a:pt x="19" y="9"/>
                    <a:pt x="20" y="24"/>
                    <a:pt x="0" y="22"/>
                  </a:cubicBezTo>
                  <a:cubicBezTo>
                    <a:pt x="2" y="26"/>
                    <a:pt x="2" y="29"/>
                    <a:pt x="2" y="33"/>
                  </a:cubicBezTo>
                  <a:cubicBezTo>
                    <a:pt x="11" y="24"/>
                    <a:pt x="25" y="26"/>
                    <a:pt x="32" y="17"/>
                  </a:cubicBezTo>
                  <a:cubicBezTo>
                    <a:pt x="28" y="17"/>
                    <a:pt x="30" y="6"/>
                    <a:pt x="38" y="4"/>
                  </a:cubicBezTo>
                  <a:cubicBezTo>
                    <a:pt x="37" y="3"/>
                    <a:pt x="35" y="1"/>
                    <a:pt x="34" y="0"/>
                  </a:cubicBezTo>
                  <a:cubicBezTo>
                    <a:pt x="34" y="1"/>
                    <a:pt x="34" y="1"/>
                    <a:pt x="34" y="2"/>
                  </a:cubicBezTo>
                  <a:cubicBezTo>
                    <a:pt x="33" y="0"/>
                    <a:pt x="32" y="0"/>
                    <a:pt x="3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任意多边形: 形状 621">
              <a:extLst>
                <a:ext uri="{FF2B5EF4-FFF2-40B4-BE49-F238E27FC236}">
                  <a16:creationId xmlns:a16="http://schemas.microsoft.com/office/drawing/2014/main" id="{36355086-FF97-4B49-AB70-A516D351B6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83937" y="-2567052"/>
              <a:ext cx="53975" cy="53976"/>
            </a:xfrm>
            <a:custGeom>
              <a:avLst/>
              <a:gdLst>
                <a:gd name="T0" fmla="*/ 2 w 18"/>
                <a:gd name="T1" fmla="*/ 5 h 18"/>
                <a:gd name="T2" fmla="*/ 18 w 18"/>
                <a:gd name="T3" fmla="*/ 3 h 18"/>
                <a:gd name="T4" fmla="*/ 2 w 18"/>
                <a:gd name="T5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8">
                  <a:moveTo>
                    <a:pt x="2" y="5"/>
                  </a:moveTo>
                  <a:cubicBezTo>
                    <a:pt x="0" y="18"/>
                    <a:pt x="15" y="10"/>
                    <a:pt x="18" y="3"/>
                  </a:cubicBezTo>
                  <a:cubicBezTo>
                    <a:pt x="11" y="0"/>
                    <a:pt x="9" y="12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任意多边形: 形状 622">
              <a:extLst>
                <a:ext uri="{FF2B5EF4-FFF2-40B4-BE49-F238E27FC236}">
                  <a16:creationId xmlns:a16="http://schemas.microsoft.com/office/drawing/2014/main" id="{9510DC22-258C-4A0D-854D-96F8A2552A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462" y="-2186045"/>
              <a:ext cx="49213" cy="26988"/>
            </a:xfrm>
            <a:custGeom>
              <a:avLst/>
              <a:gdLst>
                <a:gd name="T0" fmla="*/ 0 w 16"/>
                <a:gd name="T1" fmla="*/ 3 h 9"/>
                <a:gd name="T2" fmla="*/ 11 w 16"/>
                <a:gd name="T3" fmla="*/ 0 h 9"/>
                <a:gd name="T4" fmla="*/ 0 w 16"/>
                <a:gd name="T5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9">
                  <a:moveTo>
                    <a:pt x="0" y="3"/>
                  </a:moveTo>
                  <a:cubicBezTo>
                    <a:pt x="0" y="9"/>
                    <a:pt x="16" y="3"/>
                    <a:pt x="11" y="0"/>
                  </a:cubicBezTo>
                  <a:cubicBezTo>
                    <a:pt x="0" y="3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任意多边形: 形状 623">
              <a:extLst>
                <a:ext uri="{FF2B5EF4-FFF2-40B4-BE49-F238E27FC236}">
                  <a16:creationId xmlns:a16="http://schemas.microsoft.com/office/drawing/2014/main" id="{C615E388-8B09-4C8C-B38B-9EEDE19459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26787" y="-2522601"/>
              <a:ext cx="74613" cy="39688"/>
            </a:xfrm>
            <a:custGeom>
              <a:avLst/>
              <a:gdLst>
                <a:gd name="T0" fmla="*/ 20 w 25"/>
                <a:gd name="T1" fmla="*/ 0 h 13"/>
                <a:gd name="T2" fmla="*/ 4 w 25"/>
                <a:gd name="T3" fmla="*/ 13 h 13"/>
                <a:gd name="T4" fmla="*/ 20 w 25"/>
                <a:gd name="T5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3">
                  <a:moveTo>
                    <a:pt x="20" y="0"/>
                  </a:moveTo>
                  <a:cubicBezTo>
                    <a:pt x="11" y="4"/>
                    <a:pt x="0" y="2"/>
                    <a:pt x="4" y="13"/>
                  </a:cubicBezTo>
                  <a:cubicBezTo>
                    <a:pt x="5" y="7"/>
                    <a:pt x="25" y="2"/>
                    <a:pt x="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任意多边形: 形状 624">
              <a:extLst>
                <a:ext uri="{FF2B5EF4-FFF2-40B4-BE49-F238E27FC236}">
                  <a16:creationId xmlns:a16="http://schemas.microsoft.com/office/drawing/2014/main" id="{9DECF4AD-2317-4947-8B0F-65D293E15F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6937" y="-2540064"/>
              <a:ext cx="104775" cy="26988"/>
            </a:xfrm>
            <a:custGeom>
              <a:avLst/>
              <a:gdLst>
                <a:gd name="T0" fmla="*/ 0 w 35"/>
                <a:gd name="T1" fmla="*/ 4 h 9"/>
                <a:gd name="T2" fmla="*/ 35 w 35"/>
                <a:gd name="T3" fmla="*/ 2 h 9"/>
                <a:gd name="T4" fmla="*/ 3 w 35"/>
                <a:gd name="T5" fmla="*/ 1 h 9"/>
                <a:gd name="T6" fmla="*/ 1 w 35"/>
                <a:gd name="T7" fmla="*/ 4 h 9"/>
                <a:gd name="T8" fmla="*/ 0 w 35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" h="9">
                  <a:moveTo>
                    <a:pt x="0" y="4"/>
                  </a:moveTo>
                  <a:cubicBezTo>
                    <a:pt x="10" y="8"/>
                    <a:pt x="27" y="9"/>
                    <a:pt x="35" y="2"/>
                  </a:cubicBezTo>
                  <a:cubicBezTo>
                    <a:pt x="25" y="4"/>
                    <a:pt x="10" y="0"/>
                    <a:pt x="3" y="1"/>
                  </a:cubicBezTo>
                  <a:cubicBezTo>
                    <a:pt x="2" y="2"/>
                    <a:pt x="2" y="2"/>
                    <a:pt x="1" y="4"/>
                  </a:cubicBezTo>
                  <a:cubicBezTo>
                    <a:pt x="1" y="4"/>
                    <a:pt x="0" y="4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C4C792C2-2661-4B71-8DFE-6B2D0B9423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58550" y="-2243196"/>
              <a:ext cx="53975" cy="47626"/>
            </a:xfrm>
            <a:custGeom>
              <a:avLst/>
              <a:gdLst>
                <a:gd name="T0" fmla="*/ 13 w 18"/>
                <a:gd name="T1" fmla="*/ 2 h 16"/>
                <a:gd name="T2" fmla="*/ 0 w 18"/>
                <a:gd name="T3" fmla="*/ 4 h 16"/>
                <a:gd name="T4" fmla="*/ 5 w 18"/>
                <a:gd name="T5" fmla="*/ 12 h 16"/>
                <a:gd name="T6" fmla="*/ 13 w 18"/>
                <a:gd name="T7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6">
                  <a:moveTo>
                    <a:pt x="13" y="2"/>
                  </a:moveTo>
                  <a:cubicBezTo>
                    <a:pt x="8" y="4"/>
                    <a:pt x="6" y="4"/>
                    <a:pt x="0" y="4"/>
                  </a:cubicBezTo>
                  <a:cubicBezTo>
                    <a:pt x="1" y="8"/>
                    <a:pt x="1" y="14"/>
                    <a:pt x="5" y="12"/>
                  </a:cubicBezTo>
                  <a:cubicBezTo>
                    <a:pt x="0" y="0"/>
                    <a:pt x="18" y="16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66915FB7-73CC-4608-B074-53ABC698C3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34725" y="-2455925"/>
              <a:ext cx="49213" cy="26988"/>
            </a:xfrm>
            <a:custGeom>
              <a:avLst/>
              <a:gdLst>
                <a:gd name="T0" fmla="*/ 14 w 16"/>
                <a:gd name="T1" fmla="*/ 3 h 9"/>
                <a:gd name="T2" fmla="*/ 0 w 16"/>
                <a:gd name="T3" fmla="*/ 0 h 9"/>
                <a:gd name="T4" fmla="*/ 5 w 16"/>
                <a:gd name="T5" fmla="*/ 9 h 9"/>
                <a:gd name="T6" fmla="*/ 14 w 16"/>
                <a:gd name="T7" fmla="*/ 3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9">
                  <a:moveTo>
                    <a:pt x="14" y="3"/>
                  </a:moveTo>
                  <a:cubicBezTo>
                    <a:pt x="9" y="3"/>
                    <a:pt x="5" y="0"/>
                    <a:pt x="0" y="0"/>
                  </a:cubicBezTo>
                  <a:cubicBezTo>
                    <a:pt x="5" y="5"/>
                    <a:pt x="4" y="3"/>
                    <a:pt x="5" y="9"/>
                  </a:cubicBezTo>
                  <a:cubicBezTo>
                    <a:pt x="7" y="6"/>
                    <a:pt x="16" y="8"/>
                    <a:pt x="14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ECBF15D6-18A3-4B2D-9B09-014C168939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34725" y="-2390836"/>
              <a:ext cx="26988" cy="46038"/>
            </a:xfrm>
            <a:custGeom>
              <a:avLst/>
              <a:gdLst>
                <a:gd name="T0" fmla="*/ 0 w 9"/>
                <a:gd name="T1" fmla="*/ 9 h 15"/>
                <a:gd name="T2" fmla="*/ 8 w 9"/>
                <a:gd name="T3" fmla="*/ 0 h 15"/>
                <a:gd name="T4" fmla="*/ 0 w 9"/>
                <a:gd name="T5" fmla="*/ 9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5">
                  <a:moveTo>
                    <a:pt x="0" y="9"/>
                  </a:moveTo>
                  <a:cubicBezTo>
                    <a:pt x="6" y="15"/>
                    <a:pt x="9" y="8"/>
                    <a:pt x="8" y="0"/>
                  </a:cubicBezTo>
                  <a:cubicBezTo>
                    <a:pt x="4" y="2"/>
                    <a:pt x="0" y="6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79686E0E-E13F-46A0-AEF9-507BB0AD07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23600" y="-2408299"/>
              <a:ext cx="53975" cy="63501"/>
            </a:xfrm>
            <a:custGeom>
              <a:avLst/>
              <a:gdLst>
                <a:gd name="T0" fmla="*/ 18 w 18"/>
                <a:gd name="T1" fmla="*/ 0 h 21"/>
                <a:gd name="T2" fmla="*/ 0 w 18"/>
                <a:gd name="T3" fmla="*/ 4 h 21"/>
                <a:gd name="T4" fmla="*/ 0 w 18"/>
                <a:gd name="T5" fmla="*/ 15 h 21"/>
                <a:gd name="T6" fmla="*/ 18 w 18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1">
                  <a:moveTo>
                    <a:pt x="18" y="0"/>
                  </a:moveTo>
                  <a:cubicBezTo>
                    <a:pt x="11" y="4"/>
                    <a:pt x="4" y="7"/>
                    <a:pt x="0" y="4"/>
                  </a:cubicBezTo>
                  <a:cubicBezTo>
                    <a:pt x="6" y="11"/>
                    <a:pt x="1" y="9"/>
                    <a:pt x="0" y="15"/>
                  </a:cubicBezTo>
                  <a:cubicBezTo>
                    <a:pt x="6" y="21"/>
                    <a:pt x="15" y="7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5673BDD4-57EB-481E-9021-CEA3202233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77474" y="-3694197"/>
              <a:ext cx="44450" cy="36513"/>
            </a:xfrm>
            <a:custGeom>
              <a:avLst/>
              <a:gdLst>
                <a:gd name="T0" fmla="*/ 9 w 15"/>
                <a:gd name="T1" fmla="*/ 1 h 12"/>
                <a:gd name="T2" fmla="*/ 4 w 15"/>
                <a:gd name="T3" fmla="*/ 7 h 12"/>
                <a:gd name="T4" fmla="*/ 15 w 15"/>
                <a:gd name="T5" fmla="*/ 7 h 12"/>
                <a:gd name="T6" fmla="*/ 9 w 15"/>
                <a:gd name="T7" fmla="*/ 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2">
                  <a:moveTo>
                    <a:pt x="9" y="1"/>
                  </a:moveTo>
                  <a:cubicBezTo>
                    <a:pt x="13" y="7"/>
                    <a:pt x="0" y="0"/>
                    <a:pt x="4" y="7"/>
                  </a:cubicBezTo>
                  <a:cubicBezTo>
                    <a:pt x="8" y="7"/>
                    <a:pt x="9" y="12"/>
                    <a:pt x="15" y="7"/>
                  </a:cubicBezTo>
                  <a:cubicBezTo>
                    <a:pt x="13" y="5"/>
                    <a:pt x="13" y="1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963FA7E8-BDCC-4CD1-8E01-9AF1DDD6B9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20400" y="-2344798"/>
              <a:ext cx="117475" cy="68264"/>
            </a:xfrm>
            <a:custGeom>
              <a:avLst/>
              <a:gdLst>
                <a:gd name="T0" fmla="*/ 31 w 39"/>
                <a:gd name="T1" fmla="*/ 0 h 23"/>
                <a:gd name="T2" fmla="*/ 5 w 39"/>
                <a:gd name="T3" fmla="*/ 15 h 23"/>
                <a:gd name="T4" fmla="*/ 2 w 39"/>
                <a:gd name="T5" fmla="*/ 10 h 23"/>
                <a:gd name="T6" fmla="*/ 0 w 39"/>
                <a:gd name="T7" fmla="*/ 12 h 23"/>
                <a:gd name="T8" fmla="*/ 31 w 39"/>
                <a:gd name="T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23">
                  <a:moveTo>
                    <a:pt x="31" y="0"/>
                  </a:moveTo>
                  <a:cubicBezTo>
                    <a:pt x="27" y="11"/>
                    <a:pt x="10" y="7"/>
                    <a:pt x="5" y="15"/>
                  </a:cubicBezTo>
                  <a:cubicBezTo>
                    <a:pt x="4" y="13"/>
                    <a:pt x="3" y="11"/>
                    <a:pt x="2" y="10"/>
                  </a:cubicBezTo>
                  <a:cubicBezTo>
                    <a:pt x="1" y="11"/>
                    <a:pt x="1" y="12"/>
                    <a:pt x="0" y="12"/>
                  </a:cubicBezTo>
                  <a:cubicBezTo>
                    <a:pt x="5" y="23"/>
                    <a:pt x="39" y="10"/>
                    <a:pt x="3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任意多边形: 形状 631">
              <a:extLst>
                <a:ext uri="{FF2B5EF4-FFF2-40B4-BE49-F238E27FC236}">
                  <a16:creationId xmlns:a16="http://schemas.microsoft.com/office/drawing/2014/main" id="{F97895A6-5A46-4692-9167-C766A86D7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36187" y="-3694197"/>
              <a:ext cx="26988" cy="25400"/>
            </a:xfrm>
            <a:custGeom>
              <a:avLst/>
              <a:gdLst>
                <a:gd name="T0" fmla="*/ 9 w 9"/>
                <a:gd name="T1" fmla="*/ 0 h 8"/>
                <a:gd name="T2" fmla="*/ 0 w 9"/>
                <a:gd name="T3" fmla="*/ 1 h 8"/>
                <a:gd name="T4" fmla="*/ 2 w 9"/>
                <a:gd name="T5" fmla="*/ 5 h 8"/>
                <a:gd name="T6" fmla="*/ 9 w 9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8">
                  <a:moveTo>
                    <a:pt x="9" y="0"/>
                  </a:moveTo>
                  <a:cubicBezTo>
                    <a:pt x="6" y="0"/>
                    <a:pt x="3" y="0"/>
                    <a:pt x="0" y="1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7" y="8"/>
                    <a:pt x="8" y="4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0A867139-DB91-4E12-873D-0A91990A7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091737" y="-3583070"/>
              <a:ext cx="63500" cy="36513"/>
            </a:xfrm>
            <a:custGeom>
              <a:avLst/>
              <a:gdLst>
                <a:gd name="T0" fmla="*/ 18 w 21"/>
                <a:gd name="T1" fmla="*/ 0 h 12"/>
                <a:gd name="T2" fmla="*/ 0 w 21"/>
                <a:gd name="T3" fmla="*/ 12 h 12"/>
                <a:gd name="T4" fmla="*/ 18 w 21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12">
                  <a:moveTo>
                    <a:pt x="18" y="0"/>
                  </a:moveTo>
                  <a:cubicBezTo>
                    <a:pt x="10" y="3"/>
                    <a:pt x="0" y="6"/>
                    <a:pt x="0" y="12"/>
                  </a:cubicBezTo>
                  <a:cubicBezTo>
                    <a:pt x="7" y="9"/>
                    <a:pt x="21" y="2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247D0D5A-8E87-42B4-80A8-FAA0373BA7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69499" y="-3613233"/>
              <a:ext cx="26988" cy="39688"/>
            </a:xfrm>
            <a:custGeom>
              <a:avLst/>
              <a:gdLst>
                <a:gd name="T0" fmla="*/ 9 w 9"/>
                <a:gd name="T1" fmla="*/ 0 h 13"/>
                <a:gd name="T2" fmla="*/ 4 w 9"/>
                <a:gd name="T3" fmla="*/ 2 h 13"/>
                <a:gd name="T4" fmla="*/ 0 w 9"/>
                <a:gd name="T5" fmla="*/ 13 h 13"/>
                <a:gd name="T6" fmla="*/ 9 w 9"/>
                <a:gd name="T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9" y="0"/>
                  </a:moveTo>
                  <a:cubicBezTo>
                    <a:pt x="8" y="1"/>
                    <a:pt x="6" y="1"/>
                    <a:pt x="4" y="2"/>
                  </a:cubicBezTo>
                  <a:cubicBezTo>
                    <a:pt x="2" y="5"/>
                    <a:pt x="1" y="10"/>
                    <a:pt x="0" y="13"/>
                  </a:cubicBezTo>
                  <a:cubicBezTo>
                    <a:pt x="8" y="12"/>
                    <a:pt x="9" y="6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9FA77C97-7AA5-491D-864D-DA235F520E3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4975" y="-2159057"/>
              <a:ext cx="46038" cy="30163"/>
            </a:xfrm>
            <a:custGeom>
              <a:avLst/>
              <a:gdLst>
                <a:gd name="T0" fmla="*/ 0 w 15"/>
                <a:gd name="T1" fmla="*/ 10 h 10"/>
                <a:gd name="T2" fmla="*/ 13 w 15"/>
                <a:gd name="T3" fmla="*/ 0 h 10"/>
                <a:gd name="T4" fmla="*/ 0 w 15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0">
                  <a:moveTo>
                    <a:pt x="0" y="10"/>
                  </a:moveTo>
                  <a:cubicBezTo>
                    <a:pt x="3" y="7"/>
                    <a:pt x="15" y="7"/>
                    <a:pt x="13" y="0"/>
                  </a:cubicBezTo>
                  <a:cubicBezTo>
                    <a:pt x="5" y="0"/>
                    <a:pt x="0" y="3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FB2607ED-C5DA-4A26-94F2-F580A0B4A1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02824" y="-3546557"/>
              <a:ext cx="39688" cy="38101"/>
            </a:xfrm>
            <a:custGeom>
              <a:avLst/>
              <a:gdLst>
                <a:gd name="T0" fmla="*/ 0 w 13"/>
                <a:gd name="T1" fmla="*/ 9 h 13"/>
                <a:gd name="T2" fmla="*/ 4 w 13"/>
                <a:gd name="T3" fmla="*/ 11 h 13"/>
                <a:gd name="T4" fmla="*/ 6 w 13"/>
                <a:gd name="T5" fmla="*/ 13 h 13"/>
                <a:gd name="T6" fmla="*/ 11 w 13"/>
                <a:gd name="T7" fmla="*/ 2 h 13"/>
                <a:gd name="T8" fmla="*/ 0 w 13"/>
                <a:gd name="T9" fmla="*/ 9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3">
                  <a:moveTo>
                    <a:pt x="0" y="9"/>
                  </a:moveTo>
                  <a:cubicBezTo>
                    <a:pt x="2" y="9"/>
                    <a:pt x="4" y="9"/>
                    <a:pt x="4" y="11"/>
                  </a:cubicBezTo>
                  <a:cubicBezTo>
                    <a:pt x="4" y="13"/>
                    <a:pt x="6" y="13"/>
                    <a:pt x="6" y="13"/>
                  </a:cubicBezTo>
                  <a:cubicBezTo>
                    <a:pt x="6" y="8"/>
                    <a:pt x="13" y="8"/>
                    <a:pt x="11" y="2"/>
                  </a:cubicBezTo>
                  <a:cubicBezTo>
                    <a:pt x="6" y="0"/>
                    <a:pt x="0" y="6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B5F1FA71-0D2D-4782-A9A1-A05434FC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02862" y="-1952678"/>
              <a:ext cx="36513" cy="36513"/>
            </a:xfrm>
            <a:custGeom>
              <a:avLst/>
              <a:gdLst>
                <a:gd name="T0" fmla="*/ 2 w 12"/>
                <a:gd name="T1" fmla="*/ 12 h 12"/>
                <a:gd name="T2" fmla="*/ 10 w 12"/>
                <a:gd name="T3" fmla="*/ 0 h 12"/>
                <a:gd name="T4" fmla="*/ 2 w 1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12">
                  <a:moveTo>
                    <a:pt x="2" y="12"/>
                  </a:moveTo>
                  <a:cubicBezTo>
                    <a:pt x="10" y="10"/>
                    <a:pt x="12" y="5"/>
                    <a:pt x="10" y="0"/>
                  </a:cubicBezTo>
                  <a:cubicBezTo>
                    <a:pt x="8" y="3"/>
                    <a:pt x="0" y="7"/>
                    <a:pt x="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42134925-D949-4DD0-A838-C9EB9688DCC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46773" y="-523903"/>
              <a:ext cx="46038" cy="42863"/>
            </a:xfrm>
            <a:custGeom>
              <a:avLst/>
              <a:gdLst>
                <a:gd name="T0" fmla="*/ 15 w 15"/>
                <a:gd name="T1" fmla="*/ 5 h 14"/>
                <a:gd name="T2" fmla="*/ 13 w 15"/>
                <a:gd name="T3" fmla="*/ 0 h 14"/>
                <a:gd name="T4" fmla="*/ 5 w 15"/>
                <a:gd name="T5" fmla="*/ 5 h 14"/>
                <a:gd name="T6" fmla="*/ 0 w 15"/>
                <a:gd name="T7" fmla="*/ 14 h 14"/>
                <a:gd name="T8" fmla="*/ 15 w 15"/>
                <a:gd name="T9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4">
                  <a:moveTo>
                    <a:pt x="15" y="5"/>
                  </a:moveTo>
                  <a:cubicBezTo>
                    <a:pt x="14" y="3"/>
                    <a:pt x="13" y="1"/>
                    <a:pt x="13" y="0"/>
                  </a:cubicBezTo>
                  <a:cubicBezTo>
                    <a:pt x="10" y="2"/>
                    <a:pt x="8" y="4"/>
                    <a:pt x="5" y="5"/>
                  </a:cubicBezTo>
                  <a:cubicBezTo>
                    <a:pt x="4" y="8"/>
                    <a:pt x="3" y="11"/>
                    <a:pt x="0" y="14"/>
                  </a:cubicBezTo>
                  <a:cubicBezTo>
                    <a:pt x="5" y="10"/>
                    <a:pt x="14" y="12"/>
                    <a:pt x="1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EE7129A6-D439-4B03-938A-FC5D01B6A03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74337" y="-3945027"/>
              <a:ext cx="123825" cy="44451"/>
            </a:xfrm>
            <a:custGeom>
              <a:avLst/>
              <a:gdLst>
                <a:gd name="T0" fmla="*/ 0 w 41"/>
                <a:gd name="T1" fmla="*/ 15 h 15"/>
                <a:gd name="T2" fmla="*/ 41 w 41"/>
                <a:gd name="T3" fmla="*/ 7 h 15"/>
                <a:gd name="T4" fmla="*/ 39 w 41"/>
                <a:gd name="T5" fmla="*/ 0 h 15"/>
                <a:gd name="T6" fmla="*/ 24 w 41"/>
                <a:gd name="T7" fmla="*/ 1 h 15"/>
                <a:gd name="T8" fmla="*/ 7 w 41"/>
                <a:gd name="T9" fmla="*/ 8 h 15"/>
                <a:gd name="T10" fmla="*/ 0 w 41"/>
                <a:gd name="T11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1" h="15">
                  <a:moveTo>
                    <a:pt x="0" y="15"/>
                  </a:moveTo>
                  <a:cubicBezTo>
                    <a:pt x="15" y="8"/>
                    <a:pt x="28" y="10"/>
                    <a:pt x="41" y="7"/>
                  </a:cubicBezTo>
                  <a:cubicBezTo>
                    <a:pt x="37" y="3"/>
                    <a:pt x="39" y="2"/>
                    <a:pt x="39" y="0"/>
                  </a:cubicBezTo>
                  <a:cubicBezTo>
                    <a:pt x="35" y="0"/>
                    <a:pt x="30" y="1"/>
                    <a:pt x="24" y="1"/>
                  </a:cubicBezTo>
                  <a:cubicBezTo>
                    <a:pt x="19" y="4"/>
                    <a:pt x="13" y="6"/>
                    <a:pt x="7" y="8"/>
                  </a:cubicBezTo>
                  <a:cubicBezTo>
                    <a:pt x="4" y="10"/>
                    <a:pt x="2" y="12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E5E02BCB-148A-4040-83FF-C34B6A2303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80800" y="-2540064"/>
              <a:ext cx="7938" cy="9525"/>
            </a:xfrm>
            <a:custGeom>
              <a:avLst/>
              <a:gdLst>
                <a:gd name="T0" fmla="*/ 3 w 3"/>
                <a:gd name="T1" fmla="*/ 3 h 3"/>
                <a:gd name="T2" fmla="*/ 0 w 3"/>
                <a:gd name="T3" fmla="*/ 0 h 3"/>
                <a:gd name="T4" fmla="*/ 3 w 3"/>
                <a:gd name="T5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cubicBezTo>
                    <a:pt x="3" y="2"/>
                    <a:pt x="0" y="0"/>
                    <a:pt x="0" y="0"/>
                  </a:cubicBezTo>
                  <a:cubicBezTo>
                    <a:pt x="0" y="2"/>
                    <a:pt x="3" y="3"/>
                    <a:pt x="3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94E70307-229C-465B-905A-17976B26D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1685" y="-4097429"/>
              <a:ext cx="3175" cy="7938"/>
            </a:xfrm>
            <a:custGeom>
              <a:avLst/>
              <a:gdLst>
                <a:gd name="T0" fmla="*/ 1 w 1"/>
                <a:gd name="T1" fmla="*/ 1 h 3"/>
                <a:gd name="T2" fmla="*/ 0 w 1"/>
                <a:gd name="T3" fmla="*/ 0 h 3"/>
                <a:gd name="T4" fmla="*/ 0 w 1"/>
                <a:gd name="T5" fmla="*/ 3 h 3"/>
                <a:gd name="T6" fmla="*/ 1 w 1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3">
                  <a:moveTo>
                    <a:pt x="1" y="1"/>
                  </a:moveTo>
                  <a:cubicBezTo>
                    <a:pt x="1" y="0"/>
                    <a:pt x="0" y="0"/>
                    <a:pt x="0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1" y="3"/>
                    <a:pt x="1" y="2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65A80526-9E2A-41E4-AA7E-8A9A25F926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1775" y="-1516108"/>
              <a:ext cx="11113" cy="12700"/>
            </a:xfrm>
            <a:custGeom>
              <a:avLst/>
              <a:gdLst>
                <a:gd name="T0" fmla="*/ 2 w 4"/>
                <a:gd name="T1" fmla="*/ 2 h 4"/>
                <a:gd name="T2" fmla="*/ 0 w 4"/>
                <a:gd name="T3" fmla="*/ 3 h 4"/>
                <a:gd name="T4" fmla="*/ 1 w 4"/>
                <a:gd name="T5" fmla="*/ 4 h 4"/>
                <a:gd name="T6" fmla="*/ 4 w 4"/>
                <a:gd name="T7" fmla="*/ 0 h 4"/>
                <a:gd name="T8" fmla="*/ 2 w 4"/>
                <a:gd name="T9" fmla="*/ 0 h 4"/>
                <a:gd name="T10" fmla="*/ 2 w 4"/>
                <a:gd name="T11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2" y="2"/>
                  </a:moveTo>
                  <a:cubicBezTo>
                    <a:pt x="2" y="2"/>
                    <a:pt x="1" y="3"/>
                    <a:pt x="0" y="3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3" y="3"/>
                    <a:pt x="3" y="2"/>
                    <a:pt x="4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2" y="1"/>
                    <a:pt x="2" y="1"/>
                    <a:pt x="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FCAB5F08-0F07-4AD6-8ED8-2EA9C5B5D4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73810" y="-4143468"/>
              <a:ext cx="4763" cy="3175"/>
            </a:xfrm>
            <a:custGeom>
              <a:avLst/>
              <a:gdLst>
                <a:gd name="T0" fmla="*/ 1 w 2"/>
                <a:gd name="T1" fmla="*/ 0 h 1"/>
                <a:gd name="T2" fmla="*/ 0 w 2"/>
                <a:gd name="T3" fmla="*/ 0 h 1"/>
                <a:gd name="T4" fmla="*/ 2 w 2"/>
                <a:gd name="T5" fmla="*/ 1 h 1"/>
                <a:gd name="T6" fmla="*/ 1 w 2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1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843AF7B5-D65F-4A36-A650-0426CDB5AB5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881685" y="-4043453"/>
              <a:ext cx="290513" cy="260355"/>
            </a:xfrm>
            <a:custGeom>
              <a:avLst/>
              <a:gdLst>
                <a:gd name="T0" fmla="*/ 56 w 97"/>
                <a:gd name="T1" fmla="*/ 11 h 87"/>
                <a:gd name="T2" fmla="*/ 51 w 97"/>
                <a:gd name="T3" fmla="*/ 20 h 87"/>
                <a:gd name="T4" fmla="*/ 28 w 97"/>
                <a:gd name="T5" fmla="*/ 29 h 87"/>
                <a:gd name="T6" fmla="*/ 26 w 97"/>
                <a:gd name="T7" fmla="*/ 30 h 87"/>
                <a:gd name="T8" fmla="*/ 26 w 97"/>
                <a:gd name="T9" fmla="*/ 32 h 87"/>
                <a:gd name="T10" fmla="*/ 21 w 97"/>
                <a:gd name="T11" fmla="*/ 25 h 87"/>
                <a:gd name="T12" fmla="*/ 21 w 97"/>
                <a:gd name="T13" fmla="*/ 36 h 87"/>
                <a:gd name="T14" fmla="*/ 24 w 97"/>
                <a:gd name="T15" fmla="*/ 39 h 87"/>
                <a:gd name="T16" fmla="*/ 21 w 97"/>
                <a:gd name="T17" fmla="*/ 41 h 87"/>
                <a:gd name="T18" fmla="*/ 21 w 97"/>
                <a:gd name="T19" fmla="*/ 39 h 87"/>
                <a:gd name="T20" fmla="*/ 17 w 97"/>
                <a:gd name="T21" fmla="*/ 43 h 87"/>
                <a:gd name="T22" fmla="*/ 12 w 97"/>
                <a:gd name="T23" fmla="*/ 36 h 87"/>
                <a:gd name="T24" fmla="*/ 10 w 97"/>
                <a:gd name="T25" fmla="*/ 38 h 87"/>
                <a:gd name="T26" fmla="*/ 5 w 97"/>
                <a:gd name="T27" fmla="*/ 32 h 87"/>
                <a:gd name="T28" fmla="*/ 8 w 97"/>
                <a:gd name="T29" fmla="*/ 38 h 87"/>
                <a:gd name="T30" fmla="*/ 7 w 97"/>
                <a:gd name="T31" fmla="*/ 39 h 87"/>
                <a:gd name="T32" fmla="*/ 1 w 97"/>
                <a:gd name="T33" fmla="*/ 34 h 87"/>
                <a:gd name="T34" fmla="*/ 0 w 97"/>
                <a:gd name="T35" fmla="*/ 36 h 87"/>
                <a:gd name="T36" fmla="*/ 0 w 97"/>
                <a:gd name="T37" fmla="*/ 87 h 87"/>
                <a:gd name="T38" fmla="*/ 35 w 97"/>
                <a:gd name="T39" fmla="*/ 61 h 87"/>
                <a:gd name="T40" fmla="*/ 24 w 97"/>
                <a:gd name="T41" fmla="*/ 68 h 87"/>
                <a:gd name="T42" fmla="*/ 8 w 97"/>
                <a:gd name="T43" fmla="*/ 68 h 87"/>
                <a:gd name="T44" fmla="*/ 35 w 97"/>
                <a:gd name="T45" fmla="*/ 52 h 87"/>
                <a:gd name="T46" fmla="*/ 35 w 97"/>
                <a:gd name="T47" fmla="*/ 55 h 87"/>
                <a:gd name="T48" fmla="*/ 31 w 97"/>
                <a:gd name="T49" fmla="*/ 53 h 87"/>
                <a:gd name="T50" fmla="*/ 47 w 97"/>
                <a:gd name="T51" fmla="*/ 52 h 87"/>
                <a:gd name="T52" fmla="*/ 39 w 97"/>
                <a:gd name="T53" fmla="*/ 45 h 87"/>
                <a:gd name="T54" fmla="*/ 30 w 97"/>
                <a:gd name="T55" fmla="*/ 46 h 87"/>
                <a:gd name="T56" fmla="*/ 33 w 97"/>
                <a:gd name="T57" fmla="*/ 43 h 87"/>
                <a:gd name="T58" fmla="*/ 53 w 97"/>
                <a:gd name="T59" fmla="*/ 38 h 87"/>
                <a:gd name="T60" fmla="*/ 59 w 97"/>
                <a:gd name="T61" fmla="*/ 30 h 87"/>
                <a:gd name="T62" fmla="*/ 57 w 97"/>
                <a:gd name="T63" fmla="*/ 36 h 87"/>
                <a:gd name="T64" fmla="*/ 67 w 97"/>
                <a:gd name="T65" fmla="*/ 25 h 87"/>
                <a:gd name="T66" fmla="*/ 69 w 97"/>
                <a:gd name="T67" fmla="*/ 27 h 87"/>
                <a:gd name="T68" fmla="*/ 78 w 97"/>
                <a:gd name="T69" fmla="*/ 23 h 87"/>
                <a:gd name="T70" fmla="*/ 88 w 97"/>
                <a:gd name="T71" fmla="*/ 25 h 87"/>
                <a:gd name="T72" fmla="*/ 81 w 97"/>
                <a:gd name="T73" fmla="*/ 36 h 87"/>
                <a:gd name="T74" fmla="*/ 92 w 97"/>
                <a:gd name="T75" fmla="*/ 25 h 87"/>
                <a:gd name="T76" fmla="*/ 97 w 97"/>
                <a:gd name="T77" fmla="*/ 22 h 87"/>
                <a:gd name="T78" fmla="*/ 78 w 97"/>
                <a:gd name="T79" fmla="*/ 22 h 87"/>
                <a:gd name="T80" fmla="*/ 78 w 97"/>
                <a:gd name="T81" fmla="*/ 18 h 87"/>
                <a:gd name="T82" fmla="*/ 65 w 97"/>
                <a:gd name="T83" fmla="*/ 13 h 87"/>
                <a:gd name="T84" fmla="*/ 53 w 97"/>
                <a:gd name="T85" fmla="*/ 0 h 87"/>
                <a:gd name="T86" fmla="*/ 56 w 97"/>
                <a:gd name="T87" fmla="*/ 11 h 87"/>
                <a:gd name="T88" fmla="*/ 28 w 97"/>
                <a:gd name="T89" fmla="*/ 41 h 87"/>
                <a:gd name="T90" fmla="*/ 26 w 97"/>
                <a:gd name="T91" fmla="*/ 41 h 87"/>
                <a:gd name="T92" fmla="*/ 30 w 97"/>
                <a:gd name="T93" fmla="*/ 36 h 87"/>
                <a:gd name="T94" fmla="*/ 28 w 97"/>
                <a:gd name="T95" fmla="*/ 41 h 87"/>
                <a:gd name="T96" fmla="*/ 33 w 97"/>
                <a:gd name="T97" fmla="*/ 36 h 87"/>
                <a:gd name="T98" fmla="*/ 33 w 97"/>
                <a:gd name="T99" fmla="*/ 30 h 87"/>
                <a:gd name="T100" fmla="*/ 40 w 97"/>
                <a:gd name="T101" fmla="*/ 38 h 87"/>
                <a:gd name="T102" fmla="*/ 33 w 97"/>
                <a:gd name="T103" fmla="*/ 36 h 87"/>
                <a:gd name="T104" fmla="*/ 42 w 97"/>
                <a:gd name="T105" fmla="*/ 27 h 87"/>
                <a:gd name="T106" fmla="*/ 44 w 97"/>
                <a:gd name="T107" fmla="*/ 23 h 87"/>
                <a:gd name="T108" fmla="*/ 46 w 97"/>
                <a:gd name="T109" fmla="*/ 27 h 87"/>
                <a:gd name="T110" fmla="*/ 42 w 97"/>
                <a:gd name="T111" fmla="*/ 29 h 87"/>
                <a:gd name="T112" fmla="*/ 42 w 97"/>
                <a:gd name="T113" fmla="*/ 27 h 87"/>
                <a:gd name="T114" fmla="*/ 51 w 97"/>
                <a:gd name="T115" fmla="*/ 32 h 87"/>
                <a:gd name="T116" fmla="*/ 47 w 97"/>
                <a:gd name="T117" fmla="*/ 34 h 87"/>
                <a:gd name="T118" fmla="*/ 44 w 97"/>
                <a:gd name="T119" fmla="*/ 30 h 87"/>
                <a:gd name="T120" fmla="*/ 47 w 97"/>
                <a:gd name="T121" fmla="*/ 29 h 87"/>
                <a:gd name="T122" fmla="*/ 51 w 97"/>
                <a:gd name="T123" fmla="*/ 30 h 87"/>
                <a:gd name="T124" fmla="*/ 51 w 97"/>
                <a:gd name="T125" fmla="*/ 3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7" h="87">
                  <a:moveTo>
                    <a:pt x="56" y="11"/>
                  </a:moveTo>
                  <a:cubicBezTo>
                    <a:pt x="51" y="6"/>
                    <a:pt x="53" y="16"/>
                    <a:pt x="51" y="20"/>
                  </a:cubicBezTo>
                  <a:cubicBezTo>
                    <a:pt x="42" y="22"/>
                    <a:pt x="33" y="22"/>
                    <a:pt x="28" y="29"/>
                  </a:cubicBezTo>
                  <a:cubicBezTo>
                    <a:pt x="26" y="29"/>
                    <a:pt x="26" y="30"/>
                    <a:pt x="26" y="30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3" y="30"/>
                    <a:pt x="26" y="23"/>
                    <a:pt x="21" y="25"/>
                  </a:cubicBezTo>
                  <a:cubicBezTo>
                    <a:pt x="26" y="30"/>
                    <a:pt x="15" y="30"/>
                    <a:pt x="21" y="36"/>
                  </a:cubicBezTo>
                  <a:cubicBezTo>
                    <a:pt x="26" y="29"/>
                    <a:pt x="23" y="34"/>
                    <a:pt x="24" y="39"/>
                  </a:cubicBezTo>
                  <a:cubicBezTo>
                    <a:pt x="24" y="39"/>
                    <a:pt x="23" y="41"/>
                    <a:pt x="21" y="41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19" y="41"/>
                    <a:pt x="19" y="43"/>
                    <a:pt x="17" y="43"/>
                  </a:cubicBezTo>
                  <a:cubicBezTo>
                    <a:pt x="15" y="39"/>
                    <a:pt x="14" y="38"/>
                    <a:pt x="12" y="36"/>
                  </a:cubicBezTo>
                  <a:cubicBezTo>
                    <a:pt x="12" y="36"/>
                    <a:pt x="12" y="36"/>
                    <a:pt x="10" y="38"/>
                  </a:cubicBezTo>
                  <a:cubicBezTo>
                    <a:pt x="8" y="34"/>
                    <a:pt x="7" y="32"/>
                    <a:pt x="5" y="32"/>
                  </a:cubicBezTo>
                  <a:cubicBezTo>
                    <a:pt x="7" y="34"/>
                    <a:pt x="7" y="36"/>
                    <a:pt x="8" y="38"/>
                  </a:cubicBezTo>
                  <a:cubicBezTo>
                    <a:pt x="8" y="39"/>
                    <a:pt x="7" y="39"/>
                    <a:pt x="7" y="39"/>
                  </a:cubicBezTo>
                  <a:cubicBezTo>
                    <a:pt x="5" y="39"/>
                    <a:pt x="3" y="38"/>
                    <a:pt x="1" y="34"/>
                  </a:cubicBezTo>
                  <a:cubicBezTo>
                    <a:pt x="1" y="35"/>
                    <a:pt x="0" y="36"/>
                    <a:pt x="0" y="36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14" y="81"/>
                    <a:pt x="27" y="73"/>
                    <a:pt x="35" y="61"/>
                  </a:cubicBezTo>
                  <a:cubicBezTo>
                    <a:pt x="31" y="57"/>
                    <a:pt x="28" y="66"/>
                    <a:pt x="24" y="68"/>
                  </a:cubicBezTo>
                  <a:cubicBezTo>
                    <a:pt x="15" y="55"/>
                    <a:pt x="17" y="71"/>
                    <a:pt x="8" y="68"/>
                  </a:cubicBezTo>
                  <a:cubicBezTo>
                    <a:pt x="7" y="52"/>
                    <a:pt x="26" y="57"/>
                    <a:pt x="35" y="52"/>
                  </a:cubicBezTo>
                  <a:cubicBezTo>
                    <a:pt x="37" y="52"/>
                    <a:pt x="37" y="53"/>
                    <a:pt x="35" y="55"/>
                  </a:cubicBezTo>
                  <a:cubicBezTo>
                    <a:pt x="35" y="55"/>
                    <a:pt x="33" y="52"/>
                    <a:pt x="31" y="53"/>
                  </a:cubicBezTo>
                  <a:cubicBezTo>
                    <a:pt x="42" y="64"/>
                    <a:pt x="40" y="52"/>
                    <a:pt x="47" y="52"/>
                  </a:cubicBezTo>
                  <a:cubicBezTo>
                    <a:pt x="44" y="46"/>
                    <a:pt x="40" y="46"/>
                    <a:pt x="39" y="45"/>
                  </a:cubicBezTo>
                  <a:cubicBezTo>
                    <a:pt x="40" y="52"/>
                    <a:pt x="35" y="48"/>
                    <a:pt x="30" y="46"/>
                  </a:cubicBezTo>
                  <a:cubicBezTo>
                    <a:pt x="31" y="46"/>
                    <a:pt x="31" y="45"/>
                    <a:pt x="33" y="43"/>
                  </a:cubicBezTo>
                  <a:cubicBezTo>
                    <a:pt x="39" y="41"/>
                    <a:pt x="46" y="40"/>
                    <a:pt x="53" y="38"/>
                  </a:cubicBezTo>
                  <a:cubicBezTo>
                    <a:pt x="51" y="33"/>
                    <a:pt x="57" y="30"/>
                    <a:pt x="59" y="30"/>
                  </a:cubicBezTo>
                  <a:cubicBezTo>
                    <a:pt x="59" y="32"/>
                    <a:pt x="58" y="35"/>
                    <a:pt x="57" y="36"/>
                  </a:cubicBezTo>
                  <a:cubicBezTo>
                    <a:pt x="64" y="34"/>
                    <a:pt x="69" y="30"/>
                    <a:pt x="67" y="25"/>
                  </a:cubicBezTo>
                  <a:cubicBezTo>
                    <a:pt x="67" y="25"/>
                    <a:pt x="69" y="25"/>
                    <a:pt x="69" y="27"/>
                  </a:cubicBezTo>
                  <a:cubicBezTo>
                    <a:pt x="69" y="22"/>
                    <a:pt x="76" y="27"/>
                    <a:pt x="78" y="23"/>
                  </a:cubicBezTo>
                  <a:cubicBezTo>
                    <a:pt x="81" y="25"/>
                    <a:pt x="85" y="25"/>
                    <a:pt x="88" y="25"/>
                  </a:cubicBezTo>
                  <a:cubicBezTo>
                    <a:pt x="83" y="29"/>
                    <a:pt x="83" y="29"/>
                    <a:pt x="81" y="36"/>
                  </a:cubicBezTo>
                  <a:cubicBezTo>
                    <a:pt x="83" y="36"/>
                    <a:pt x="90" y="29"/>
                    <a:pt x="92" y="25"/>
                  </a:cubicBezTo>
                  <a:cubicBezTo>
                    <a:pt x="94" y="25"/>
                    <a:pt x="95" y="25"/>
                    <a:pt x="97" y="22"/>
                  </a:cubicBezTo>
                  <a:cubicBezTo>
                    <a:pt x="90" y="23"/>
                    <a:pt x="85" y="23"/>
                    <a:pt x="78" y="22"/>
                  </a:cubicBezTo>
                  <a:cubicBezTo>
                    <a:pt x="78" y="20"/>
                    <a:pt x="78" y="20"/>
                    <a:pt x="78" y="18"/>
                  </a:cubicBezTo>
                  <a:cubicBezTo>
                    <a:pt x="72" y="18"/>
                    <a:pt x="69" y="16"/>
                    <a:pt x="65" y="13"/>
                  </a:cubicBezTo>
                  <a:cubicBezTo>
                    <a:pt x="62" y="9"/>
                    <a:pt x="58" y="6"/>
                    <a:pt x="53" y="0"/>
                  </a:cubicBezTo>
                  <a:cubicBezTo>
                    <a:pt x="51" y="6"/>
                    <a:pt x="58" y="7"/>
                    <a:pt x="56" y="11"/>
                  </a:cubicBezTo>
                  <a:close/>
                  <a:moveTo>
                    <a:pt x="28" y="41"/>
                  </a:moveTo>
                  <a:cubicBezTo>
                    <a:pt x="26" y="41"/>
                    <a:pt x="26" y="41"/>
                    <a:pt x="26" y="41"/>
                  </a:cubicBezTo>
                  <a:cubicBezTo>
                    <a:pt x="28" y="39"/>
                    <a:pt x="28" y="38"/>
                    <a:pt x="30" y="36"/>
                  </a:cubicBezTo>
                  <a:cubicBezTo>
                    <a:pt x="30" y="38"/>
                    <a:pt x="28" y="41"/>
                    <a:pt x="28" y="41"/>
                  </a:cubicBezTo>
                  <a:close/>
                  <a:moveTo>
                    <a:pt x="33" y="36"/>
                  </a:moveTo>
                  <a:cubicBezTo>
                    <a:pt x="35" y="34"/>
                    <a:pt x="35" y="32"/>
                    <a:pt x="33" y="30"/>
                  </a:cubicBezTo>
                  <a:cubicBezTo>
                    <a:pt x="37" y="32"/>
                    <a:pt x="39" y="34"/>
                    <a:pt x="40" y="38"/>
                  </a:cubicBezTo>
                  <a:cubicBezTo>
                    <a:pt x="39" y="38"/>
                    <a:pt x="35" y="38"/>
                    <a:pt x="33" y="36"/>
                  </a:cubicBezTo>
                  <a:close/>
                  <a:moveTo>
                    <a:pt x="42" y="27"/>
                  </a:moveTo>
                  <a:cubicBezTo>
                    <a:pt x="44" y="27"/>
                    <a:pt x="42" y="25"/>
                    <a:pt x="44" y="23"/>
                  </a:cubicBezTo>
                  <a:cubicBezTo>
                    <a:pt x="44" y="25"/>
                    <a:pt x="46" y="25"/>
                    <a:pt x="46" y="27"/>
                  </a:cubicBezTo>
                  <a:cubicBezTo>
                    <a:pt x="46" y="27"/>
                    <a:pt x="44" y="27"/>
                    <a:pt x="42" y="29"/>
                  </a:cubicBezTo>
                  <a:cubicBezTo>
                    <a:pt x="42" y="29"/>
                    <a:pt x="42" y="29"/>
                    <a:pt x="42" y="27"/>
                  </a:cubicBezTo>
                  <a:close/>
                  <a:moveTo>
                    <a:pt x="51" y="32"/>
                  </a:moveTo>
                  <a:cubicBezTo>
                    <a:pt x="51" y="32"/>
                    <a:pt x="49" y="32"/>
                    <a:pt x="47" y="34"/>
                  </a:cubicBezTo>
                  <a:cubicBezTo>
                    <a:pt x="46" y="32"/>
                    <a:pt x="46" y="30"/>
                    <a:pt x="44" y="30"/>
                  </a:cubicBezTo>
                  <a:cubicBezTo>
                    <a:pt x="46" y="29"/>
                    <a:pt x="46" y="29"/>
                    <a:pt x="47" y="29"/>
                  </a:cubicBezTo>
                  <a:cubicBezTo>
                    <a:pt x="49" y="29"/>
                    <a:pt x="49" y="30"/>
                    <a:pt x="51" y="30"/>
                  </a:cubicBezTo>
                  <a:cubicBezTo>
                    <a:pt x="51" y="30"/>
                    <a:pt x="51" y="30"/>
                    <a:pt x="5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89648B37-21FB-4FA0-A617-39ADECF5CB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77412" y="-3316365"/>
              <a:ext cx="4763" cy="3175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0 h 1"/>
                <a:gd name="T4" fmla="*/ 0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1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65289D24-DE9B-4C3D-95C0-6BD6C7428F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0" y="-4248245"/>
              <a:ext cx="3175" cy="3175"/>
            </a:xfrm>
            <a:custGeom>
              <a:avLst/>
              <a:gdLst>
                <a:gd name="T0" fmla="*/ 0 w 1"/>
                <a:gd name="T1" fmla="*/ 1 h 1"/>
                <a:gd name="T2" fmla="*/ 1 w 1"/>
                <a:gd name="T3" fmla="*/ 0 h 1"/>
                <a:gd name="T4" fmla="*/ 0 w 1"/>
                <a:gd name="T5" fmla="*/ 0 h 1"/>
                <a:gd name="T6" fmla="*/ 0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0" y="1"/>
                  </a:moveTo>
                  <a:cubicBezTo>
                    <a:pt x="0" y="1"/>
                    <a:pt x="0" y="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99EB8E49-7E96-4FFA-8080-9F597C8FC99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881685" y="-5835773"/>
              <a:ext cx="7997829" cy="6864473"/>
            </a:xfrm>
            <a:custGeom>
              <a:avLst/>
              <a:gdLst>
                <a:gd name="T0" fmla="*/ 1608 w 2667"/>
                <a:gd name="T1" fmla="*/ 238 h 2291"/>
                <a:gd name="T2" fmla="*/ 1560 w 2667"/>
                <a:gd name="T3" fmla="*/ 125 h 2291"/>
                <a:gd name="T4" fmla="*/ 1665 w 2667"/>
                <a:gd name="T5" fmla="*/ 27 h 2291"/>
                <a:gd name="T6" fmla="*/ 21 w 2667"/>
                <a:gd name="T7" fmla="*/ 533 h 2291"/>
                <a:gd name="T8" fmla="*/ 61 w 2667"/>
                <a:gd name="T9" fmla="*/ 545 h 2291"/>
                <a:gd name="T10" fmla="*/ 63 w 2667"/>
                <a:gd name="T11" fmla="*/ 558 h 2291"/>
                <a:gd name="T12" fmla="*/ 71 w 2667"/>
                <a:gd name="T13" fmla="*/ 593 h 2291"/>
                <a:gd name="T14" fmla="*/ 67 w 2667"/>
                <a:gd name="T15" fmla="*/ 605 h 2291"/>
                <a:gd name="T16" fmla="*/ 129 w 2667"/>
                <a:gd name="T17" fmla="*/ 592 h 2291"/>
                <a:gd name="T18" fmla="*/ 161 w 2667"/>
                <a:gd name="T19" fmla="*/ 591 h 2291"/>
                <a:gd name="T20" fmla="*/ 78 w 2667"/>
                <a:gd name="T21" fmla="*/ 680 h 2291"/>
                <a:gd name="T22" fmla="*/ 0 w 2667"/>
                <a:gd name="T23" fmla="*/ 709 h 2291"/>
                <a:gd name="T24" fmla="*/ 56 w 2667"/>
                <a:gd name="T25" fmla="*/ 1797 h 2291"/>
                <a:gd name="T26" fmla="*/ 62 w 2667"/>
                <a:gd name="T27" fmla="*/ 1964 h 2291"/>
                <a:gd name="T28" fmla="*/ 53 w 2667"/>
                <a:gd name="T29" fmla="*/ 2029 h 2291"/>
                <a:gd name="T30" fmla="*/ 158 w 2667"/>
                <a:gd name="T31" fmla="*/ 2063 h 2291"/>
                <a:gd name="T32" fmla="*/ 626 w 2667"/>
                <a:gd name="T33" fmla="*/ 1999 h 2291"/>
                <a:gd name="T34" fmla="*/ 1512 w 2667"/>
                <a:gd name="T35" fmla="*/ 1701 h 2291"/>
                <a:gd name="T36" fmla="*/ 1468 w 2667"/>
                <a:gd name="T37" fmla="*/ 1513 h 2291"/>
                <a:gd name="T38" fmla="*/ 1486 w 2667"/>
                <a:gd name="T39" fmla="*/ 1442 h 2291"/>
                <a:gd name="T40" fmla="*/ 1761 w 2667"/>
                <a:gd name="T41" fmla="*/ 1288 h 2291"/>
                <a:gd name="T42" fmla="*/ 1738 w 2667"/>
                <a:gd name="T43" fmla="*/ 1256 h 2291"/>
                <a:gd name="T44" fmla="*/ 1543 w 2667"/>
                <a:gd name="T45" fmla="*/ 1332 h 2291"/>
                <a:gd name="T46" fmla="*/ 1630 w 2667"/>
                <a:gd name="T47" fmla="*/ 1269 h 2291"/>
                <a:gd name="T48" fmla="*/ 2019 w 2667"/>
                <a:gd name="T49" fmla="*/ 1095 h 2291"/>
                <a:gd name="T50" fmla="*/ 1818 w 2667"/>
                <a:gd name="T51" fmla="*/ 1148 h 2291"/>
                <a:gd name="T52" fmla="*/ 1415 w 2667"/>
                <a:gd name="T53" fmla="*/ 1336 h 2291"/>
                <a:gd name="T54" fmla="*/ 1566 w 2667"/>
                <a:gd name="T55" fmla="*/ 1251 h 2291"/>
                <a:gd name="T56" fmla="*/ 1639 w 2667"/>
                <a:gd name="T57" fmla="*/ 1164 h 2291"/>
                <a:gd name="T58" fmla="*/ 1822 w 2667"/>
                <a:gd name="T59" fmla="*/ 1059 h 2291"/>
                <a:gd name="T60" fmla="*/ 2004 w 2667"/>
                <a:gd name="T61" fmla="*/ 925 h 2291"/>
                <a:gd name="T62" fmla="*/ 2198 w 2667"/>
                <a:gd name="T63" fmla="*/ 754 h 2291"/>
                <a:gd name="T64" fmla="*/ 2487 w 2667"/>
                <a:gd name="T65" fmla="*/ 511 h 2291"/>
                <a:gd name="T66" fmla="*/ 2113 w 2667"/>
                <a:gd name="T67" fmla="*/ 589 h 2291"/>
                <a:gd name="T68" fmla="*/ 1683 w 2667"/>
                <a:gd name="T69" fmla="*/ 747 h 2291"/>
                <a:gd name="T70" fmla="*/ 1584 w 2667"/>
                <a:gd name="T71" fmla="*/ 719 h 2291"/>
                <a:gd name="T72" fmla="*/ 2365 w 2667"/>
                <a:gd name="T73" fmla="*/ 334 h 2291"/>
                <a:gd name="T74" fmla="*/ 1992 w 2667"/>
                <a:gd name="T75" fmla="*/ 472 h 2291"/>
                <a:gd name="T76" fmla="*/ 2120 w 2667"/>
                <a:gd name="T77" fmla="*/ 396 h 2291"/>
                <a:gd name="T78" fmla="*/ 2649 w 2667"/>
                <a:gd name="T79" fmla="*/ 65 h 2291"/>
                <a:gd name="T80" fmla="*/ 40 w 2667"/>
                <a:gd name="T81" fmla="*/ 480 h 2291"/>
                <a:gd name="T82" fmla="*/ 124 w 2667"/>
                <a:gd name="T83" fmla="*/ 510 h 2291"/>
                <a:gd name="T84" fmla="*/ 37 w 2667"/>
                <a:gd name="T85" fmla="*/ 724 h 2291"/>
                <a:gd name="T86" fmla="*/ 99 w 2667"/>
                <a:gd name="T87" fmla="*/ 1689 h 2291"/>
                <a:gd name="T88" fmla="*/ 186 w 2667"/>
                <a:gd name="T89" fmla="*/ 561 h 2291"/>
                <a:gd name="T90" fmla="*/ 1470 w 2667"/>
                <a:gd name="T91" fmla="*/ 1495 h 2291"/>
                <a:gd name="T92" fmla="*/ 1603 w 2667"/>
                <a:gd name="T93" fmla="*/ 1322 h 2291"/>
                <a:gd name="T94" fmla="*/ 1825 w 2667"/>
                <a:gd name="T95" fmla="*/ 1167 h 2291"/>
                <a:gd name="T96" fmla="*/ 1607 w 2667"/>
                <a:gd name="T97" fmla="*/ 1199 h 2291"/>
                <a:gd name="T98" fmla="*/ 1571 w 2667"/>
                <a:gd name="T99" fmla="*/ 1212 h 2291"/>
                <a:gd name="T100" fmla="*/ 1532 w 2667"/>
                <a:gd name="T101" fmla="*/ 180 h 2291"/>
                <a:gd name="T102" fmla="*/ 1512 w 2667"/>
                <a:gd name="T103" fmla="*/ 226 h 2291"/>
                <a:gd name="T104" fmla="*/ 1422 w 2667"/>
                <a:gd name="T105" fmla="*/ 27 h 2291"/>
                <a:gd name="T106" fmla="*/ 1257 w 2667"/>
                <a:gd name="T107" fmla="*/ 850 h 2291"/>
                <a:gd name="T108" fmla="*/ 1275 w 2667"/>
                <a:gd name="T109" fmla="*/ 836 h 2291"/>
                <a:gd name="T110" fmla="*/ 1397 w 2667"/>
                <a:gd name="T111" fmla="*/ 1302 h 2291"/>
                <a:gd name="T112" fmla="*/ 1502 w 2667"/>
                <a:gd name="T113" fmla="*/ 1237 h 2291"/>
                <a:gd name="T114" fmla="*/ 1548 w 2667"/>
                <a:gd name="T115" fmla="*/ 687 h 2291"/>
                <a:gd name="T116" fmla="*/ 1299 w 2667"/>
                <a:gd name="T117" fmla="*/ 842 h 2291"/>
                <a:gd name="T118" fmla="*/ 1372 w 2667"/>
                <a:gd name="T119" fmla="*/ 740 h 2291"/>
                <a:gd name="T120" fmla="*/ 1473 w 2667"/>
                <a:gd name="T121" fmla="*/ 691 h 2291"/>
                <a:gd name="T122" fmla="*/ 1614 w 2667"/>
                <a:gd name="T123" fmla="*/ 636 h 2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67" h="2291">
                  <a:moveTo>
                    <a:pt x="2225" y="0"/>
                  </a:moveTo>
                  <a:cubicBezTo>
                    <a:pt x="2169" y="0"/>
                    <a:pt x="2169" y="0"/>
                    <a:pt x="2169" y="0"/>
                  </a:cubicBezTo>
                  <a:cubicBezTo>
                    <a:pt x="2162" y="4"/>
                    <a:pt x="2156" y="8"/>
                    <a:pt x="2152" y="15"/>
                  </a:cubicBezTo>
                  <a:cubicBezTo>
                    <a:pt x="2154" y="4"/>
                    <a:pt x="2145" y="15"/>
                    <a:pt x="2145" y="15"/>
                  </a:cubicBezTo>
                  <a:cubicBezTo>
                    <a:pt x="2143" y="11"/>
                    <a:pt x="2143" y="11"/>
                    <a:pt x="2143" y="11"/>
                  </a:cubicBezTo>
                  <a:cubicBezTo>
                    <a:pt x="2109" y="15"/>
                    <a:pt x="2063" y="61"/>
                    <a:pt x="2043" y="56"/>
                  </a:cubicBezTo>
                  <a:cubicBezTo>
                    <a:pt x="2049" y="59"/>
                    <a:pt x="2042" y="73"/>
                    <a:pt x="2033" y="70"/>
                  </a:cubicBezTo>
                  <a:cubicBezTo>
                    <a:pt x="2027" y="65"/>
                    <a:pt x="2035" y="63"/>
                    <a:pt x="2031" y="59"/>
                  </a:cubicBezTo>
                  <a:cubicBezTo>
                    <a:pt x="1988" y="84"/>
                    <a:pt x="1937" y="102"/>
                    <a:pt x="1884" y="128"/>
                  </a:cubicBezTo>
                  <a:cubicBezTo>
                    <a:pt x="1885" y="128"/>
                    <a:pt x="1889" y="127"/>
                    <a:pt x="1889" y="128"/>
                  </a:cubicBezTo>
                  <a:cubicBezTo>
                    <a:pt x="1862" y="137"/>
                    <a:pt x="1850" y="136"/>
                    <a:pt x="1830" y="150"/>
                  </a:cubicBezTo>
                  <a:cubicBezTo>
                    <a:pt x="1811" y="155"/>
                    <a:pt x="1777" y="175"/>
                    <a:pt x="1766" y="178"/>
                  </a:cubicBezTo>
                  <a:cubicBezTo>
                    <a:pt x="1768" y="178"/>
                    <a:pt x="1779" y="178"/>
                    <a:pt x="1775" y="182"/>
                  </a:cubicBezTo>
                  <a:cubicBezTo>
                    <a:pt x="1749" y="178"/>
                    <a:pt x="1731" y="185"/>
                    <a:pt x="1704" y="199"/>
                  </a:cubicBezTo>
                  <a:cubicBezTo>
                    <a:pt x="1697" y="190"/>
                    <a:pt x="1676" y="199"/>
                    <a:pt x="1681" y="210"/>
                  </a:cubicBezTo>
                  <a:cubicBezTo>
                    <a:pt x="1688" y="208"/>
                    <a:pt x="1690" y="205"/>
                    <a:pt x="1690" y="201"/>
                  </a:cubicBezTo>
                  <a:cubicBezTo>
                    <a:pt x="1694" y="203"/>
                    <a:pt x="1701" y="196"/>
                    <a:pt x="1702" y="205"/>
                  </a:cubicBezTo>
                  <a:cubicBezTo>
                    <a:pt x="1692" y="210"/>
                    <a:pt x="1663" y="226"/>
                    <a:pt x="1674" y="210"/>
                  </a:cubicBezTo>
                  <a:cubicBezTo>
                    <a:pt x="1649" y="231"/>
                    <a:pt x="1633" y="221"/>
                    <a:pt x="1608" y="238"/>
                  </a:cubicBezTo>
                  <a:cubicBezTo>
                    <a:pt x="1607" y="235"/>
                    <a:pt x="1605" y="233"/>
                    <a:pt x="1601" y="233"/>
                  </a:cubicBezTo>
                  <a:cubicBezTo>
                    <a:pt x="1598" y="230"/>
                    <a:pt x="1596" y="228"/>
                    <a:pt x="1594" y="230"/>
                  </a:cubicBezTo>
                  <a:cubicBezTo>
                    <a:pt x="1594" y="224"/>
                    <a:pt x="1598" y="224"/>
                    <a:pt x="1601" y="224"/>
                  </a:cubicBezTo>
                  <a:cubicBezTo>
                    <a:pt x="1596" y="217"/>
                    <a:pt x="1603" y="219"/>
                    <a:pt x="1601" y="214"/>
                  </a:cubicBezTo>
                  <a:cubicBezTo>
                    <a:pt x="1598" y="215"/>
                    <a:pt x="1596" y="215"/>
                    <a:pt x="1592" y="212"/>
                  </a:cubicBezTo>
                  <a:cubicBezTo>
                    <a:pt x="1594" y="210"/>
                    <a:pt x="1596" y="208"/>
                    <a:pt x="1598" y="205"/>
                  </a:cubicBezTo>
                  <a:cubicBezTo>
                    <a:pt x="1587" y="192"/>
                    <a:pt x="1587" y="187"/>
                    <a:pt x="1576" y="171"/>
                  </a:cubicBezTo>
                  <a:cubicBezTo>
                    <a:pt x="1573" y="169"/>
                    <a:pt x="1569" y="173"/>
                    <a:pt x="1564" y="167"/>
                  </a:cubicBezTo>
                  <a:cubicBezTo>
                    <a:pt x="1564" y="164"/>
                    <a:pt x="1564" y="160"/>
                    <a:pt x="1562" y="159"/>
                  </a:cubicBezTo>
                  <a:cubicBezTo>
                    <a:pt x="1575" y="153"/>
                    <a:pt x="1587" y="148"/>
                    <a:pt x="1584" y="143"/>
                  </a:cubicBezTo>
                  <a:cubicBezTo>
                    <a:pt x="1591" y="144"/>
                    <a:pt x="1605" y="143"/>
                    <a:pt x="1605" y="148"/>
                  </a:cubicBezTo>
                  <a:cubicBezTo>
                    <a:pt x="1596" y="153"/>
                    <a:pt x="1571" y="159"/>
                    <a:pt x="1571" y="167"/>
                  </a:cubicBezTo>
                  <a:cubicBezTo>
                    <a:pt x="1584" y="162"/>
                    <a:pt x="1612" y="150"/>
                    <a:pt x="1623" y="136"/>
                  </a:cubicBezTo>
                  <a:cubicBezTo>
                    <a:pt x="1612" y="139"/>
                    <a:pt x="1612" y="141"/>
                    <a:pt x="1599" y="143"/>
                  </a:cubicBezTo>
                  <a:cubicBezTo>
                    <a:pt x="1592" y="136"/>
                    <a:pt x="1575" y="143"/>
                    <a:pt x="1562" y="151"/>
                  </a:cubicBezTo>
                  <a:cubicBezTo>
                    <a:pt x="1562" y="151"/>
                    <a:pt x="1562" y="151"/>
                    <a:pt x="1562" y="150"/>
                  </a:cubicBezTo>
                  <a:cubicBezTo>
                    <a:pt x="1560" y="141"/>
                    <a:pt x="1555" y="144"/>
                    <a:pt x="1552" y="137"/>
                  </a:cubicBezTo>
                  <a:cubicBezTo>
                    <a:pt x="1557" y="136"/>
                    <a:pt x="1560" y="132"/>
                    <a:pt x="1564" y="134"/>
                  </a:cubicBezTo>
                  <a:cubicBezTo>
                    <a:pt x="1560" y="130"/>
                    <a:pt x="1562" y="128"/>
                    <a:pt x="1560" y="125"/>
                  </a:cubicBezTo>
                  <a:cubicBezTo>
                    <a:pt x="1555" y="125"/>
                    <a:pt x="1557" y="136"/>
                    <a:pt x="1552" y="130"/>
                  </a:cubicBezTo>
                  <a:cubicBezTo>
                    <a:pt x="1548" y="125"/>
                    <a:pt x="1552" y="120"/>
                    <a:pt x="1555" y="121"/>
                  </a:cubicBezTo>
                  <a:cubicBezTo>
                    <a:pt x="1552" y="109"/>
                    <a:pt x="1562" y="88"/>
                    <a:pt x="1543" y="84"/>
                  </a:cubicBezTo>
                  <a:cubicBezTo>
                    <a:pt x="1543" y="82"/>
                    <a:pt x="1543" y="81"/>
                    <a:pt x="1546" y="79"/>
                  </a:cubicBezTo>
                  <a:cubicBezTo>
                    <a:pt x="1539" y="72"/>
                    <a:pt x="1539" y="70"/>
                    <a:pt x="1532" y="66"/>
                  </a:cubicBezTo>
                  <a:cubicBezTo>
                    <a:pt x="1534" y="65"/>
                    <a:pt x="1532" y="61"/>
                    <a:pt x="1534" y="59"/>
                  </a:cubicBezTo>
                  <a:cubicBezTo>
                    <a:pt x="1537" y="56"/>
                    <a:pt x="1539" y="59"/>
                    <a:pt x="1541" y="58"/>
                  </a:cubicBezTo>
                  <a:cubicBezTo>
                    <a:pt x="1539" y="40"/>
                    <a:pt x="1516" y="17"/>
                    <a:pt x="1512" y="38"/>
                  </a:cubicBezTo>
                  <a:cubicBezTo>
                    <a:pt x="1509" y="33"/>
                    <a:pt x="1507" y="27"/>
                    <a:pt x="1509" y="24"/>
                  </a:cubicBezTo>
                  <a:cubicBezTo>
                    <a:pt x="1514" y="22"/>
                    <a:pt x="1521" y="24"/>
                    <a:pt x="1527" y="20"/>
                  </a:cubicBezTo>
                  <a:cubicBezTo>
                    <a:pt x="1548" y="33"/>
                    <a:pt x="1569" y="52"/>
                    <a:pt x="1566" y="77"/>
                  </a:cubicBezTo>
                  <a:cubicBezTo>
                    <a:pt x="1564" y="86"/>
                    <a:pt x="1557" y="84"/>
                    <a:pt x="1562" y="97"/>
                  </a:cubicBezTo>
                  <a:cubicBezTo>
                    <a:pt x="1568" y="93"/>
                    <a:pt x="1568" y="89"/>
                    <a:pt x="1575" y="91"/>
                  </a:cubicBezTo>
                  <a:cubicBezTo>
                    <a:pt x="1562" y="75"/>
                    <a:pt x="1589" y="79"/>
                    <a:pt x="1589" y="68"/>
                  </a:cubicBezTo>
                  <a:cubicBezTo>
                    <a:pt x="1592" y="70"/>
                    <a:pt x="1596" y="75"/>
                    <a:pt x="1599" y="73"/>
                  </a:cubicBezTo>
                  <a:cubicBezTo>
                    <a:pt x="1601" y="70"/>
                    <a:pt x="1599" y="66"/>
                    <a:pt x="1601" y="63"/>
                  </a:cubicBezTo>
                  <a:cubicBezTo>
                    <a:pt x="1610" y="66"/>
                    <a:pt x="1615" y="56"/>
                    <a:pt x="1628" y="50"/>
                  </a:cubicBezTo>
                  <a:cubicBezTo>
                    <a:pt x="1630" y="54"/>
                    <a:pt x="1628" y="54"/>
                    <a:pt x="1630" y="56"/>
                  </a:cubicBezTo>
                  <a:cubicBezTo>
                    <a:pt x="1640" y="43"/>
                    <a:pt x="1660" y="47"/>
                    <a:pt x="1665" y="27"/>
                  </a:cubicBezTo>
                  <a:cubicBezTo>
                    <a:pt x="1672" y="26"/>
                    <a:pt x="1678" y="29"/>
                    <a:pt x="1683" y="24"/>
                  </a:cubicBezTo>
                  <a:cubicBezTo>
                    <a:pt x="1687" y="31"/>
                    <a:pt x="1690" y="33"/>
                    <a:pt x="1694" y="36"/>
                  </a:cubicBezTo>
                  <a:cubicBezTo>
                    <a:pt x="1695" y="25"/>
                    <a:pt x="1692" y="12"/>
                    <a:pt x="16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07"/>
                    <a:pt x="0" y="507"/>
                    <a:pt x="0" y="507"/>
                  </a:cubicBezTo>
                  <a:cubicBezTo>
                    <a:pt x="2" y="508"/>
                    <a:pt x="4" y="509"/>
                    <a:pt x="5" y="511"/>
                  </a:cubicBezTo>
                  <a:cubicBezTo>
                    <a:pt x="3" y="513"/>
                    <a:pt x="1" y="513"/>
                    <a:pt x="0" y="512"/>
                  </a:cubicBezTo>
                  <a:cubicBezTo>
                    <a:pt x="0" y="517"/>
                    <a:pt x="0" y="517"/>
                    <a:pt x="0" y="517"/>
                  </a:cubicBezTo>
                  <a:cubicBezTo>
                    <a:pt x="2" y="517"/>
                    <a:pt x="3" y="517"/>
                    <a:pt x="5" y="517"/>
                  </a:cubicBezTo>
                  <a:cubicBezTo>
                    <a:pt x="4" y="519"/>
                    <a:pt x="2" y="520"/>
                    <a:pt x="0" y="522"/>
                  </a:cubicBezTo>
                  <a:cubicBezTo>
                    <a:pt x="0" y="530"/>
                    <a:pt x="0" y="530"/>
                    <a:pt x="0" y="530"/>
                  </a:cubicBezTo>
                  <a:cubicBezTo>
                    <a:pt x="9" y="530"/>
                    <a:pt x="13" y="517"/>
                    <a:pt x="21" y="522"/>
                  </a:cubicBezTo>
                  <a:cubicBezTo>
                    <a:pt x="15" y="521"/>
                    <a:pt x="15" y="525"/>
                    <a:pt x="16" y="529"/>
                  </a:cubicBezTo>
                  <a:cubicBezTo>
                    <a:pt x="16" y="530"/>
                    <a:pt x="16" y="530"/>
                    <a:pt x="17" y="530"/>
                  </a:cubicBezTo>
                  <a:cubicBezTo>
                    <a:pt x="16" y="530"/>
                    <a:pt x="16" y="531"/>
                    <a:pt x="16" y="531"/>
                  </a:cubicBezTo>
                  <a:cubicBezTo>
                    <a:pt x="16" y="533"/>
                    <a:pt x="16" y="534"/>
                    <a:pt x="16" y="536"/>
                  </a:cubicBezTo>
                  <a:cubicBezTo>
                    <a:pt x="16" y="536"/>
                    <a:pt x="16" y="536"/>
                    <a:pt x="16" y="536"/>
                  </a:cubicBezTo>
                  <a:cubicBezTo>
                    <a:pt x="21" y="537"/>
                    <a:pt x="17" y="543"/>
                    <a:pt x="23" y="543"/>
                  </a:cubicBezTo>
                  <a:cubicBezTo>
                    <a:pt x="19" y="538"/>
                    <a:pt x="21" y="536"/>
                    <a:pt x="21" y="533"/>
                  </a:cubicBezTo>
                  <a:cubicBezTo>
                    <a:pt x="26" y="538"/>
                    <a:pt x="35" y="536"/>
                    <a:pt x="35" y="543"/>
                  </a:cubicBezTo>
                  <a:cubicBezTo>
                    <a:pt x="39" y="536"/>
                    <a:pt x="44" y="524"/>
                    <a:pt x="56" y="533"/>
                  </a:cubicBezTo>
                  <a:cubicBezTo>
                    <a:pt x="55" y="536"/>
                    <a:pt x="49" y="529"/>
                    <a:pt x="51" y="536"/>
                  </a:cubicBezTo>
                  <a:cubicBezTo>
                    <a:pt x="53" y="534"/>
                    <a:pt x="55" y="536"/>
                    <a:pt x="53" y="538"/>
                  </a:cubicBezTo>
                  <a:cubicBezTo>
                    <a:pt x="49" y="540"/>
                    <a:pt x="47" y="527"/>
                    <a:pt x="46" y="534"/>
                  </a:cubicBezTo>
                  <a:cubicBezTo>
                    <a:pt x="49" y="545"/>
                    <a:pt x="39" y="549"/>
                    <a:pt x="35" y="556"/>
                  </a:cubicBezTo>
                  <a:cubicBezTo>
                    <a:pt x="33" y="550"/>
                    <a:pt x="30" y="554"/>
                    <a:pt x="28" y="552"/>
                  </a:cubicBezTo>
                  <a:cubicBezTo>
                    <a:pt x="33" y="558"/>
                    <a:pt x="24" y="561"/>
                    <a:pt x="31" y="561"/>
                  </a:cubicBezTo>
                  <a:cubicBezTo>
                    <a:pt x="30" y="557"/>
                    <a:pt x="33" y="559"/>
                    <a:pt x="35" y="560"/>
                  </a:cubicBezTo>
                  <a:cubicBezTo>
                    <a:pt x="36" y="560"/>
                    <a:pt x="36" y="560"/>
                    <a:pt x="37" y="560"/>
                  </a:cubicBezTo>
                  <a:cubicBezTo>
                    <a:pt x="37" y="560"/>
                    <a:pt x="37" y="560"/>
                    <a:pt x="37" y="560"/>
                  </a:cubicBezTo>
                  <a:cubicBezTo>
                    <a:pt x="38" y="560"/>
                    <a:pt x="38" y="560"/>
                    <a:pt x="39" y="559"/>
                  </a:cubicBezTo>
                  <a:cubicBezTo>
                    <a:pt x="35" y="550"/>
                    <a:pt x="49" y="558"/>
                    <a:pt x="51" y="547"/>
                  </a:cubicBezTo>
                  <a:cubicBezTo>
                    <a:pt x="53" y="550"/>
                    <a:pt x="56" y="554"/>
                    <a:pt x="55" y="556"/>
                  </a:cubicBezTo>
                  <a:cubicBezTo>
                    <a:pt x="53" y="556"/>
                    <a:pt x="46" y="554"/>
                    <a:pt x="49" y="559"/>
                  </a:cubicBezTo>
                  <a:cubicBezTo>
                    <a:pt x="53" y="558"/>
                    <a:pt x="56" y="559"/>
                    <a:pt x="60" y="556"/>
                  </a:cubicBezTo>
                  <a:cubicBezTo>
                    <a:pt x="56" y="552"/>
                    <a:pt x="58" y="550"/>
                    <a:pt x="60" y="549"/>
                  </a:cubicBezTo>
                  <a:cubicBezTo>
                    <a:pt x="56" y="543"/>
                    <a:pt x="56" y="542"/>
                    <a:pt x="58" y="538"/>
                  </a:cubicBezTo>
                  <a:cubicBezTo>
                    <a:pt x="60" y="541"/>
                    <a:pt x="60" y="543"/>
                    <a:pt x="61" y="545"/>
                  </a:cubicBezTo>
                  <a:cubicBezTo>
                    <a:pt x="62" y="545"/>
                    <a:pt x="63" y="545"/>
                    <a:pt x="65" y="545"/>
                  </a:cubicBezTo>
                  <a:cubicBezTo>
                    <a:pt x="62" y="536"/>
                    <a:pt x="62" y="529"/>
                    <a:pt x="62" y="520"/>
                  </a:cubicBezTo>
                  <a:cubicBezTo>
                    <a:pt x="63" y="526"/>
                    <a:pt x="66" y="525"/>
                    <a:pt x="68" y="526"/>
                  </a:cubicBezTo>
                  <a:cubicBezTo>
                    <a:pt x="68" y="526"/>
                    <a:pt x="69" y="526"/>
                    <a:pt x="69" y="525"/>
                  </a:cubicBezTo>
                  <a:cubicBezTo>
                    <a:pt x="70" y="530"/>
                    <a:pt x="72" y="532"/>
                    <a:pt x="74" y="533"/>
                  </a:cubicBezTo>
                  <a:cubicBezTo>
                    <a:pt x="70" y="523"/>
                    <a:pt x="78" y="530"/>
                    <a:pt x="78" y="519"/>
                  </a:cubicBezTo>
                  <a:cubicBezTo>
                    <a:pt x="79" y="526"/>
                    <a:pt x="78" y="524"/>
                    <a:pt x="83" y="527"/>
                  </a:cubicBezTo>
                  <a:cubicBezTo>
                    <a:pt x="76" y="531"/>
                    <a:pt x="83" y="527"/>
                    <a:pt x="85" y="533"/>
                  </a:cubicBezTo>
                  <a:cubicBezTo>
                    <a:pt x="85" y="534"/>
                    <a:pt x="85" y="536"/>
                    <a:pt x="83" y="536"/>
                  </a:cubicBezTo>
                  <a:cubicBezTo>
                    <a:pt x="83" y="533"/>
                    <a:pt x="80" y="533"/>
                    <a:pt x="78" y="535"/>
                  </a:cubicBezTo>
                  <a:cubicBezTo>
                    <a:pt x="80" y="536"/>
                    <a:pt x="81" y="537"/>
                    <a:pt x="81" y="541"/>
                  </a:cubicBezTo>
                  <a:cubicBezTo>
                    <a:pt x="83" y="544"/>
                    <a:pt x="85" y="549"/>
                    <a:pt x="85" y="550"/>
                  </a:cubicBezTo>
                  <a:cubicBezTo>
                    <a:pt x="88" y="543"/>
                    <a:pt x="92" y="542"/>
                    <a:pt x="90" y="533"/>
                  </a:cubicBezTo>
                  <a:cubicBezTo>
                    <a:pt x="97" y="531"/>
                    <a:pt x="102" y="529"/>
                    <a:pt x="106" y="540"/>
                  </a:cubicBezTo>
                  <a:cubicBezTo>
                    <a:pt x="102" y="542"/>
                    <a:pt x="101" y="536"/>
                    <a:pt x="97" y="536"/>
                  </a:cubicBezTo>
                  <a:cubicBezTo>
                    <a:pt x="95" y="545"/>
                    <a:pt x="91" y="550"/>
                    <a:pt x="90" y="555"/>
                  </a:cubicBezTo>
                  <a:cubicBezTo>
                    <a:pt x="91" y="552"/>
                    <a:pt x="97" y="561"/>
                    <a:pt x="95" y="563"/>
                  </a:cubicBezTo>
                  <a:cubicBezTo>
                    <a:pt x="90" y="563"/>
                    <a:pt x="81" y="559"/>
                    <a:pt x="85" y="566"/>
                  </a:cubicBezTo>
                  <a:cubicBezTo>
                    <a:pt x="76" y="556"/>
                    <a:pt x="71" y="566"/>
                    <a:pt x="63" y="558"/>
                  </a:cubicBezTo>
                  <a:cubicBezTo>
                    <a:pt x="60" y="559"/>
                    <a:pt x="62" y="565"/>
                    <a:pt x="62" y="570"/>
                  </a:cubicBezTo>
                  <a:cubicBezTo>
                    <a:pt x="60" y="565"/>
                    <a:pt x="56" y="570"/>
                    <a:pt x="53" y="568"/>
                  </a:cubicBezTo>
                  <a:cubicBezTo>
                    <a:pt x="53" y="563"/>
                    <a:pt x="47" y="561"/>
                    <a:pt x="44" y="559"/>
                  </a:cubicBezTo>
                  <a:cubicBezTo>
                    <a:pt x="47" y="565"/>
                    <a:pt x="33" y="561"/>
                    <a:pt x="40" y="565"/>
                  </a:cubicBezTo>
                  <a:cubicBezTo>
                    <a:pt x="42" y="565"/>
                    <a:pt x="44" y="565"/>
                    <a:pt x="46" y="566"/>
                  </a:cubicBezTo>
                  <a:cubicBezTo>
                    <a:pt x="42" y="568"/>
                    <a:pt x="42" y="572"/>
                    <a:pt x="40" y="575"/>
                  </a:cubicBezTo>
                  <a:cubicBezTo>
                    <a:pt x="44" y="582"/>
                    <a:pt x="47" y="575"/>
                    <a:pt x="51" y="584"/>
                  </a:cubicBezTo>
                  <a:cubicBezTo>
                    <a:pt x="49" y="584"/>
                    <a:pt x="46" y="586"/>
                    <a:pt x="42" y="584"/>
                  </a:cubicBezTo>
                  <a:cubicBezTo>
                    <a:pt x="46" y="581"/>
                    <a:pt x="37" y="582"/>
                    <a:pt x="35" y="579"/>
                  </a:cubicBezTo>
                  <a:cubicBezTo>
                    <a:pt x="31" y="584"/>
                    <a:pt x="30" y="582"/>
                    <a:pt x="23" y="586"/>
                  </a:cubicBezTo>
                  <a:cubicBezTo>
                    <a:pt x="28" y="597"/>
                    <a:pt x="30" y="584"/>
                    <a:pt x="37" y="582"/>
                  </a:cubicBezTo>
                  <a:cubicBezTo>
                    <a:pt x="38" y="584"/>
                    <a:pt x="39" y="585"/>
                    <a:pt x="40" y="586"/>
                  </a:cubicBezTo>
                  <a:cubicBezTo>
                    <a:pt x="40" y="586"/>
                    <a:pt x="40" y="585"/>
                    <a:pt x="41" y="584"/>
                  </a:cubicBezTo>
                  <a:cubicBezTo>
                    <a:pt x="42" y="586"/>
                    <a:pt x="42" y="587"/>
                    <a:pt x="42" y="589"/>
                  </a:cubicBezTo>
                  <a:cubicBezTo>
                    <a:pt x="44" y="591"/>
                    <a:pt x="47" y="592"/>
                    <a:pt x="49" y="593"/>
                  </a:cubicBezTo>
                  <a:cubicBezTo>
                    <a:pt x="49" y="593"/>
                    <a:pt x="49" y="593"/>
                    <a:pt x="49" y="593"/>
                  </a:cubicBezTo>
                  <a:cubicBezTo>
                    <a:pt x="49" y="593"/>
                    <a:pt x="49" y="593"/>
                    <a:pt x="49" y="593"/>
                  </a:cubicBezTo>
                  <a:cubicBezTo>
                    <a:pt x="55" y="594"/>
                    <a:pt x="60" y="594"/>
                    <a:pt x="65" y="600"/>
                  </a:cubicBezTo>
                  <a:cubicBezTo>
                    <a:pt x="69" y="597"/>
                    <a:pt x="63" y="589"/>
                    <a:pt x="71" y="593"/>
                  </a:cubicBezTo>
                  <a:cubicBezTo>
                    <a:pt x="65" y="584"/>
                    <a:pt x="65" y="584"/>
                    <a:pt x="65" y="584"/>
                  </a:cubicBezTo>
                  <a:cubicBezTo>
                    <a:pt x="62" y="586"/>
                    <a:pt x="65" y="591"/>
                    <a:pt x="60" y="593"/>
                  </a:cubicBezTo>
                  <a:cubicBezTo>
                    <a:pt x="56" y="591"/>
                    <a:pt x="55" y="593"/>
                    <a:pt x="51" y="589"/>
                  </a:cubicBezTo>
                  <a:cubicBezTo>
                    <a:pt x="55" y="588"/>
                    <a:pt x="55" y="584"/>
                    <a:pt x="60" y="579"/>
                  </a:cubicBezTo>
                  <a:cubicBezTo>
                    <a:pt x="62" y="586"/>
                    <a:pt x="65" y="581"/>
                    <a:pt x="69" y="582"/>
                  </a:cubicBezTo>
                  <a:cubicBezTo>
                    <a:pt x="60" y="572"/>
                    <a:pt x="55" y="582"/>
                    <a:pt x="44" y="573"/>
                  </a:cubicBezTo>
                  <a:cubicBezTo>
                    <a:pt x="51" y="572"/>
                    <a:pt x="62" y="568"/>
                    <a:pt x="78" y="579"/>
                  </a:cubicBezTo>
                  <a:cubicBezTo>
                    <a:pt x="79" y="577"/>
                    <a:pt x="74" y="577"/>
                    <a:pt x="76" y="575"/>
                  </a:cubicBezTo>
                  <a:cubicBezTo>
                    <a:pt x="78" y="577"/>
                    <a:pt x="79" y="575"/>
                    <a:pt x="78" y="573"/>
                  </a:cubicBezTo>
                  <a:cubicBezTo>
                    <a:pt x="76" y="575"/>
                    <a:pt x="69" y="572"/>
                    <a:pt x="71" y="570"/>
                  </a:cubicBezTo>
                  <a:cubicBezTo>
                    <a:pt x="76" y="570"/>
                    <a:pt x="81" y="568"/>
                    <a:pt x="87" y="570"/>
                  </a:cubicBezTo>
                  <a:cubicBezTo>
                    <a:pt x="88" y="575"/>
                    <a:pt x="83" y="575"/>
                    <a:pt x="85" y="581"/>
                  </a:cubicBezTo>
                  <a:cubicBezTo>
                    <a:pt x="87" y="581"/>
                    <a:pt x="90" y="581"/>
                    <a:pt x="92" y="581"/>
                  </a:cubicBezTo>
                  <a:cubicBezTo>
                    <a:pt x="90" y="577"/>
                    <a:pt x="88" y="566"/>
                    <a:pt x="95" y="570"/>
                  </a:cubicBezTo>
                  <a:cubicBezTo>
                    <a:pt x="88" y="579"/>
                    <a:pt x="110" y="566"/>
                    <a:pt x="111" y="581"/>
                  </a:cubicBezTo>
                  <a:cubicBezTo>
                    <a:pt x="113" y="577"/>
                    <a:pt x="110" y="572"/>
                    <a:pt x="117" y="570"/>
                  </a:cubicBezTo>
                  <a:cubicBezTo>
                    <a:pt x="118" y="581"/>
                    <a:pt x="120" y="572"/>
                    <a:pt x="126" y="575"/>
                  </a:cubicBezTo>
                  <a:cubicBezTo>
                    <a:pt x="113" y="588"/>
                    <a:pt x="95" y="604"/>
                    <a:pt x="83" y="591"/>
                  </a:cubicBezTo>
                  <a:cubicBezTo>
                    <a:pt x="76" y="598"/>
                    <a:pt x="71" y="600"/>
                    <a:pt x="67" y="605"/>
                  </a:cubicBezTo>
                  <a:cubicBezTo>
                    <a:pt x="69" y="607"/>
                    <a:pt x="69" y="607"/>
                    <a:pt x="69" y="607"/>
                  </a:cubicBezTo>
                  <a:cubicBezTo>
                    <a:pt x="67" y="609"/>
                    <a:pt x="67" y="611"/>
                    <a:pt x="65" y="611"/>
                  </a:cubicBezTo>
                  <a:cubicBezTo>
                    <a:pt x="67" y="611"/>
                    <a:pt x="67" y="609"/>
                    <a:pt x="69" y="609"/>
                  </a:cubicBezTo>
                  <a:cubicBezTo>
                    <a:pt x="69" y="611"/>
                    <a:pt x="69" y="611"/>
                    <a:pt x="69" y="611"/>
                  </a:cubicBezTo>
                  <a:cubicBezTo>
                    <a:pt x="74" y="609"/>
                    <a:pt x="78" y="618"/>
                    <a:pt x="81" y="618"/>
                  </a:cubicBezTo>
                  <a:cubicBezTo>
                    <a:pt x="78" y="612"/>
                    <a:pt x="74" y="609"/>
                    <a:pt x="74" y="605"/>
                  </a:cubicBezTo>
                  <a:cubicBezTo>
                    <a:pt x="79" y="605"/>
                    <a:pt x="78" y="595"/>
                    <a:pt x="83" y="600"/>
                  </a:cubicBezTo>
                  <a:cubicBezTo>
                    <a:pt x="83" y="602"/>
                    <a:pt x="83" y="602"/>
                    <a:pt x="83" y="602"/>
                  </a:cubicBezTo>
                  <a:cubicBezTo>
                    <a:pt x="81" y="602"/>
                    <a:pt x="81" y="602"/>
                    <a:pt x="81" y="604"/>
                  </a:cubicBezTo>
                  <a:cubicBezTo>
                    <a:pt x="81" y="604"/>
                    <a:pt x="79" y="605"/>
                    <a:pt x="78" y="607"/>
                  </a:cubicBezTo>
                  <a:cubicBezTo>
                    <a:pt x="83" y="612"/>
                    <a:pt x="95" y="618"/>
                    <a:pt x="97" y="609"/>
                  </a:cubicBezTo>
                  <a:cubicBezTo>
                    <a:pt x="95" y="611"/>
                    <a:pt x="92" y="612"/>
                    <a:pt x="88" y="607"/>
                  </a:cubicBezTo>
                  <a:cubicBezTo>
                    <a:pt x="96" y="604"/>
                    <a:pt x="104" y="598"/>
                    <a:pt x="111" y="594"/>
                  </a:cubicBezTo>
                  <a:cubicBezTo>
                    <a:pt x="110" y="594"/>
                    <a:pt x="110" y="593"/>
                    <a:pt x="109" y="593"/>
                  </a:cubicBezTo>
                  <a:cubicBezTo>
                    <a:pt x="110" y="592"/>
                    <a:pt x="112" y="592"/>
                    <a:pt x="113" y="593"/>
                  </a:cubicBezTo>
                  <a:cubicBezTo>
                    <a:pt x="116" y="591"/>
                    <a:pt x="119" y="590"/>
                    <a:pt x="122" y="590"/>
                  </a:cubicBezTo>
                  <a:cubicBezTo>
                    <a:pt x="123" y="589"/>
                    <a:pt x="123" y="588"/>
                    <a:pt x="125" y="587"/>
                  </a:cubicBezTo>
                  <a:cubicBezTo>
                    <a:pt x="127" y="590"/>
                    <a:pt x="129" y="590"/>
                    <a:pt x="131" y="589"/>
                  </a:cubicBezTo>
                  <a:cubicBezTo>
                    <a:pt x="131" y="590"/>
                    <a:pt x="130" y="591"/>
                    <a:pt x="129" y="592"/>
                  </a:cubicBezTo>
                  <a:cubicBezTo>
                    <a:pt x="132" y="593"/>
                    <a:pt x="135" y="596"/>
                    <a:pt x="138" y="600"/>
                  </a:cubicBezTo>
                  <a:cubicBezTo>
                    <a:pt x="134" y="591"/>
                    <a:pt x="149" y="609"/>
                    <a:pt x="147" y="597"/>
                  </a:cubicBezTo>
                  <a:cubicBezTo>
                    <a:pt x="145" y="597"/>
                    <a:pt x="142" y="600"/>
                    <a:pt x="140" y="593"/>
                  </a:cubicBezTo>
                  <a:cubicBezTo>
                    <a:pt x="145" y="589"/>
                    <a:pt x="138" y="595"/>
                    <a:pt x="136" y="588"/>
                  </a:cubicBezTo>
                  <a:cubicBezTo>
                    <a:pt x="143" y="583"/>
                    <a:pt x="145" y="583"/>
                    <a:pt x="145" y="582"/>
                  </a:cubicBezTo>
                  <a:cubicBezTo>
                    <a:pt x="144" y="582"/>
                    <a:pt x="144" y="581"/>
                    <a:pt x="144" y="580"/>
                  </a:cubicBezTo>
                  <a:cubicBezTo>
                    <a:pt x="139" y="575"/>
                    <a:pt x="134" y="580"/>
                    <a:pt x="129" y="573"/>
                  </a:cubicBezTo>
                  <a:cubicBezTo>
                    <a:pt x="143" y="573"/>
                    <a:pt x="172" y="589"/>
                    <a:pt x="161" y="566"/>
                  </a:cubicBezTo>
                  <a:cubicBezTo>
                    <a:pt x="163" y="565"/>
                    <a:pt x="164" y="565"/>
                    <a:pt x="164" y="565"/>
                  </a:cubicBezTo>
                  <a:cubicBezTo>
                    <a:pt x="163" y="563"/>
                    <a:pt x="162" y="562"/>
                    <a:pt x="161" y="559"/>
                  </a:cubicBezTo>
                  <a:cubicBezTo>
                    <a:pt x="163" y="558"/>
                    <a:pt x="161" y="556"/>
                    <a:pt x="165" y="554"/>
                  </a:cubicBezTo>
                  <a:cubicBezTo>
                    <a:pt x="172" y="559"/>
                    <a:pt x="177" y="558"/>
                    <a:pt x="179" y="550"/>
                  </a:cubicBezTo>
                  <a:cubicBezTo>
                    <a:pt x="182" y="563"/>
                    <a:pt x="172" y="559"/>
                    <a:pt x="168" y="568"/>
                  </a:cubicBezTo>
                  <a:cubicBezTo>
                    <a:pt x="168" y="567"/>
                    <a:pt x="167" y="567"/>
                    <a:pt x="166" y="566"/>
                  </a:cubicBezTo>
                  <a:cubicBezTo>
                    <a:pt x="168" y="570"/>
                    <a:pt x="165" y="575"/>
                    <a:pt x="170" y="575"/>
                  </a:cubicBezTo>
                  <a:cubicBezTo>
                    <a:pt x="168" y="572"/>
                    <a:pt x="168" y="568"/>
                    <a:pt x="172" y="566"/>
                  </a:cubicBezTo>
                  <a:cubicBezTo>
                    <a:pt x="177" y="575"/>
                    <a:pt x="177" y="561"/>
                    <a:pt x="182" y="565"/>
                  </a:cubicBezTo>
                  <a:cubicBezTo>
                    <a:pt x="182" y="577"/>
                    <a:pt x="172" y="582"/>
                    <a:pt x="161" y="586"/>
                  </a:cubicBezTo>
                  <a:cubicBezTo>
                    <a:pt x="163" y="588"/>
                    <a:pt x="163" y="589"/>
                    <a:pt x="161" y="591"/>
                  </a:cubicBezTo>
                  <a:cubicBezTo>
                    <a:pt x="163" y="600"/>
                    <a:pt x="172" y="598"/>
                    <a:pt x="170" y="604"/>
                  </a:cubicBezTo>
                  <a:cubicBezTo>
                    <a:pt x="166" y="602"/>
                    <a:pt x="166" y="602"/>
                    <a:pt x="166" y="607"/>
                  </a:cubicBezTo>
                  <a:cubicBezTo>
                    <a:pt x="163" y="602"/>
                    <a:pt x="158" y="602"/>
                    <a:pt x="152" y="605"/>
                  </a:cubicBezTo>
                  <a:cubicBezTo>
                    <a:pt x="158" y="616"/>
                    <a:pt x="156" y="602"/>
                    <a:pt x="161" y="607"/>
                  </a:cubicBezTo>
                  <a:cubicBezTo>
                    <a:pt x="154" y="625"/>
                    <a:pt x="142" y="614"/>
                    <a:pt x="131" y="627"/>
                  </a:cubicBezTo>
                  <a:cubicBezTo>
                    <a:pt x="134" y="637"/>
                    <a:pt x="126" y="636"/>
                    <a:pt x="133" y="644"/>
                  </a:cubicBezTo>
                  <a:cubicBezTo>
                    <a:pt x="127" y="637"/>
                    <a:pt x="120" y="636"/>
                    <a:pt x="124" y="628"/>
                  </a:cubicBezTo>
                  <a:cubicBezTo>
                    <a:pt x="118" y="630"/>
                    <a:pt x="117" y="639"/>
                    <a:pt x="122" y="641"/>
                  </a:cubicBezTo>
                  <a:cubicBezTo>
                    <a:pt x="122" y="637"/>
                    <a:pt x="122" y="648"/>
                    <a:pt x="129" y="644"/>
                  </a:cubicBezTo>
                  <a:cubicBezTo>
                    <a:pt x="129" y="648"/>
                    <a:pt x="127" y="651"/>
                    <a:pt x="124" y="655"/>
                  </a:cubicBezTo>
                  <a:cubicBezTo>
                    <a:pt x="120" y="653"/>
                    <a:pt x="124" y="651"/>
                    <a:pt x="118" y="644"/>
                  </a:cubicBezTo>
                  <a:cubicBezTo>
                    <a:pt x="113" y="648"/>
                    <a:pt x="115" y="646"/>
                    <a:pt x="110" y="651"/>
                  </a:cubicBezTo>
                  <a:cubicBezTo>
                    <a:pt x="108" y="655"/>
                    <a:pt x="117" y="657"/>
                    <a:pt x="115" y="662"/>
                  </a:cubicBezTo>
                  <a:cubicBezTo>
                    <a:pt x="110" y="659"/>
                    <a:pt x="104" y="657"/>
                    <a:pt x="99" y="657"/>
                  </a:cubicBezTo>
                  <a:cubicBezTo>
                    <a:pt x="99" y="660"/>
                    <a:pt x="99" y="662"/>
                    <a:pt x="99" y="664"/>
                  </a:cubicBezTo>
                  <a:cubicBezTo>
                    <a:pt x="97" y="664"/>
                    <a:pt x="97" y="664"/>
                    <a:pt x="97" y="664"/>
                  </a:cubicBezTo>
                  <a:cubicBezTo>
                    <a:pt x="92" y="667"/>
                    <a:pt x="87" y="671"/>
                    <a:pt x="83" y="675"/>
                  </a:cubicBezTo>
                  <a:cubicBezTo>
                    <a:pt x="79" y="675"/>
                    <a:pt x="78" y="676"/>
                    <a:pt x="76" y="678"/>
                  </a:cubicBezTo>
                  <a:cubicBezTo>
                    <a:pt x="76" y="679"/>
                    <a:pt x="77" y="679"/>
                    <a:pt x="78" y="680"/>
                  </a:cubicBezTo>
                  <a:cubicBezTo>
                    <a:pt x="76" y="680"/>
                    <a:pt x="76" y="680"/>
                    <a:pt x="76" y="682"/>
                  </a:cubicBezTo>
                  <a:cubicBezTo>
                    <a:pt x="74" y="682"/>
                    <a:pt x="74" y="680"/>
                    <a:pt x="72" y="680"/>
                  </a:cubicBezTo>
                  <a:cubicBezTo>
                    <a:pt x="72" y="678"/>
                    <a:pt x="74" y="676"/>
                    <a:pt x="74" y="676"/>
                  </a:cubicBezTo>
                  <a:cubicBezTo>
                    <a:pt x="74" y="676"/>
                    <a:pt x="75" y="677"/>
                    <a:pt x="76" y="678"/>
                  </a:cubicBezTo>
                  <a:cubicBezTo>
                    <a:pt x="74" y="673"/>
                    <a:pt x="65" y="666"/>
                    <a:pt x="67" y="673"/>
                  </a:cubicBezTo>
                  <a:cubicBezTo>
                    <a:pt x="69" y="673"/>
                    <a:pt x="71" y="673"/>
                    <a:pt x="71" y="675"/>
                  </a:cubicBezTo>
                  <a:cubicBezTo>
                    <a:pt x="69" y="678"/>
                    <a:pt x="65" y="680"/>
                    <a:pt x="63" y="682"/>
                  </a:cubicBezTo>
                  <a:cubicBezTo>
                    <a:pt x="62" y="682"/>
                    <a:pt x="60" y="683"/>
                    <a:pt x="60" y="683"/>
                  </a:cubicBezTo>
                  <a:cubicBezTo>
                    <a:pt x="58" y="685"/>
                    <a:pt x="58" y="685"/>
                    <a:pt x="56" y="685"/>
                  </a:cubicBezTo>
                  <a:cubicBezTo>
                    <a:pt x="56" y="685"/>
                    <a:pt x="55" y="685"/>
                    <a:pt x="53" y="683"/>
                  </a:cubicBezTo>
                  <a:cubicBezTo>
                    <a:pt x="53" y="685"/>
                    <a:pt x="55" y="685"/>
                    <a:pt x="55" y="687"/>
                  </a:cubicBezTo>
                  <a:cubicBezTo>
                    <a:pt x="53" y="687"/>
                    <a:pt x="53" y="687"/>
                    <a:pt x="51" y="687"/>
                  </a:cubicBezTo>
                  <a:cubicBezTo>
                    <a:pt x="51" y="685"/>
                    <a:pt x="51" y="682"/>
                    <a:pt x="49" y="678"/>
                  </a:cubicBezTo>
                  <a:cubicBezTo>
                    <a:pt x="42" y="678"/>
                    <a:pt x="53" y="687"/>
                    <a:pt x="47" y="687"/>
                  </a:cubicBezTo>
                  <a:cubicBezTo>
                    <a:pt x="47" y="689"/>
                    <a:pt x="47" y="689"/>
                    <a:pt x="47" y="689"/>
                  </a:cubicBezTo>
                  <a:cubicBezTo>
                    <a:pt x="33" y="692"/>
                    <a:pt x="17" y="694"/>
                    <a:pt x="10" y="696"/>
                  </a:cubicBezTo>
                  <a:cubicBezTo>
                    <a:pt x="17" y="696"/>
                    <a:pt x="8" y="706"/>
                    <a:pt x="3" y="703"/>
                  </a:cubicBezTo>
                  <a:cubicBezTo>
                    <a:pt x="5" y="708"/>
                    <a:pt x="15" y="705"/>
                    <a:pt x="10" y="710"/>
                  </a:cubicBezTo>
                  <a:cubicBezTo>
                    <a:pt x="7" y="707"/>
                    <a:pt x="3" y="708"/>
                    <a:pt x="0" y="709"/>
                  </a:cubicBezTo>
                  <a:cubicBezTo>
                    <a:pt x="0" y="1719"/>
                    <a:pt x="0" y="1719"/>
                    <a:pt x="0" y="1719"/>
                  </a:cubicBezTo>
                  <a:cubicBezTo>
                    <a:pt x="14" y="1714"/>
                    <a:pt x="26" y="1708"/>
                    <a:pt x="42" y="1701"/>
                  </a:cubicBezTo>
                  <a:cubicBezTo>
                    <a:pt x="39" y="1710"/>
                    <a:pt x="33" y="1710"/>
                    <a:pt x="26" y="1717"/>
                  </a:cubicBezTo>
                  <a:cubicBezTo>
                    <a:pt x="31" y="1719"/>
                    <a:pt x="39" y="1717"/>
                    <a:pt x="44" y="1721"/>
                  </a:cubicBezTo>
                  <a:cubicBezTo>
                    <a:pt x="40" y="1726"/>
                    <a:pt x="39" y="1730"/>
                    <a:pt x="39" y="1735"/>
                  </a:cubicBezTo>
                  <a:cubicBezTo>
                    <a:pt x="25" y="1744"/>
                    <a:pt x="12" y="1756"/>
                    <a:pt x="0" y="1767"/>
                  </a:cubicBezTo>
                  <a:cubicBezTo>
                    <a:pt x="0" y="1797"/>
                    <a:pt x="0" y="1797"/>
                    <a:pt x="0" y="1797"/>
                  </a:cubicBezTo>
                  <a:cubicBezTo>
                    <a:pt x="9" y="1791"/>
                    <a:pt x="18" y="1785"/>
                    <a:pt x="27" y="1778"/>
                  </a:cubicBezTo>
                  <a:cubicBezTo>
                    <a:pt x="29" y="1776"/>
                    <a:pt x="31" y="1774"/>
                    <a:pt x="34" y="1771"/>
                  </a:cubicBezTo>
                  <a:cubicBezTo>
                    <a:pt x="34" y="1771"/>
                    <a:pt x="34" y="1771"/>
                    <a:pt x="35" y="1773"/>
                  </a:cubicBezTo>
                  <a:cubicBezTo>
                    <a:pt x="37" y="1771"/>
                    <a:pt x="38" y="1770"/>
                    <a:pt x="40" y="1769"/>
                  </a:cubicBezTo>
                  <a:cubicBezTo>
                    <a:pt x="44" y="1774"/>
                    <a:pt x="47" y="1779"/>
                    <a:pt x="53" y="1784"/>
                  </a:cubicBezTo>
                  <a:cubicBezTo>
                    <a:pt x="42" y="1795"/>
                    <a:pt x="31" y="1804"/>
                    <a:pt x="23" y="1813"/>
                  </a:cubicBezTo>
                  <a:cubicBezTo>
                    <a:pt x="15" y="1815"/>
                    <a:pt x="7" y="1817"/>
                    <a:pt x="0" y="1819"/>
                  </a:cubicBezTo>
                  <a:cubicBezTo>
                    <a:pt x="0" y="1843"/>
                    <a:pt x="0" y="1843"/>
                    <a:pt x="0" y="1843"/>
                  </a:cubicBezTo>
                  <a:cubicBezTo>
                    <a:pt x="12" y="1835"/>
                    <a:pt x="23" y="1826"/>
                    <a:pt x="35" y="1816"/>
                  </a:cubicBezTo>
                  <a:cubicBezTo>
                    <a:pt x="37" y="1816"/>
                    <a:pt x="39" y="1815"/>
                    <a:pt x="40" y="1815"/>
                  </a:cubicBezTo>
                  <a:cubicBezTo>
                    <a:pt x="42" y="1811"/>
                    <a:pt x="44" y="1809"/>
                    <a:pt x="46" y="1808"/>
                  </a:cubicBezTo>
                  <a:cubicBezTo>
                    <a:pt x="49" y="1804"/>
                    <a:pt x="53" y="1800"/>
                    <a:pt x="56" y="1797"/>
                  </a:cubicBezTo>
                  <a:cubicBezTo>
                    <a:pt x="67" y="1792"/>
                    <a:pt x="78" y="1788"/>
                    <a:pt x="85" y="1800"/>
                  </a:cubicBezTo>
                  <a:cubicBezTo>
                    <a:pt x="113" y="1795"/>
                    <a:pt x="136" y="1781"/>
                    <a:pt x="163" y="1767"/>
                  </a:cubicBezTo>
                  <a:cubicBezTo>
                    <a:pt x="161" y="1769"/>
                    <a:pt x="159" y="1770"/>
                    <a:pt x="159" y="1772"/>
                  </a:cubicBezTo>
                  <a:cubicBezTo>
                    <a:pt x="118" y="1793"/>
                    <a:pt x="78" y="1816"/>
                    <a:pt x="37" y="1841"/>
                  </a:cubicBezTo>
                  <a:cubicBezTo>
                    <a:pt x="25" y="1849"/>
                    <a:pt x="12" y="1856"/>
                    <a:pt x="0" y="1863"/>
                  </a:cubicBezTo>
                  <a:cubicBezTo>
                    <a:pt x="0" y="1909"/>
                    <a:pt x="0" y="1909"/>
                    <a:pt x="0" y="1909"/>
                  </a:cubicBezTo>
                  <a:cubicBezTo>
                    <a:pt x="3" y="1909"/>
                    <a:pt x="6" y="1908"/>
                    <a:pt x="8" y="1907"/>
                  </a:cubicBezTo>
                  <a:cubicBezTo>
                    <a:pt x="4" y="1910"/>
                    <a:pt x="2" y="1911"/>
                    <a:pt x="0" y="1914"/>
                  </a:cubicBezTo>
                  <a:cubicBezTo>
                    <a:pt x="0" y="1986"/>
                    <a:pt x="0" y="1986"/>
                    <a:pt x="0" y="1986"/>
                  </a:cubicBezTo>
                  <a:cubicBezTo>
                    <a:pt x="3" y="1983"/>
                    <a:pt x="3" y="1983"/>
                    <a:pt x="3" y="1983"/>
                  </a:cubicBezTo>
                  <a:cubicBezTo>
                    <a:pt x="5" y="1983"/>
                    <a:pt x="7" y="1985"/>
                    <a:pt x="8" y="1985"/>
                  </a:cubicBezTo>
                  <a:cubicBezTo>
                    <a:pt x="8" y="1983"/>
                    <a:pt x="10" y="1981"/>
                    <a:pt x="10" y="1981"/>
                  </a:cubicBezTo>
                  <a:cubicBezTo>
                    <a:pt x="15" y="1980"/>
                    <a:pt x="21" y="1978"/>
                    <a:pt x="24" y="1976"/>
                  </a:cubicBezTo>
                  <a:cubicBezTo>
                    <a:pt x="24" y="1978"/>
                    <a:pt x="23" y="1980"/>
                    <a:pt x="23" y="1980"/>
                  </a:cubicBezTo>
                  <a:cubicBezTo>
                    <a:pt x="24" y="1978"/>
                    <a:pt x="24" y="1978"/>
                    <a:pt x="26" y="1976"/>
                  </a:cubicBezTo>
                  <a:cubicBezTo>
                    <a:pt x="44" y="1969"/>
                    <a:pt x="63" y="1962"/>
                    <a:pt x="81" y="1955"/>
                  </a:cubicBezTo>
                  <a:cubicBezTo>
                    <a:pt x="79" y="1956"/>
                    <a:pt x="78" y="1958"/>
                    <a:pt x="78" y="1962"/>
                  </a:cubicBezTo>
                  <a:cubicBezTo>
                    <a:pt x="83" y="1958"/>
                    <a:pt x="88" y="1953"/>
                    <a:pt x="92" y="1958"/>
                  </a:cubicBezTo>
                  <a:cubicBezTo>
                    <a:pt x="87" y="1960"/>
                    <a:pt x="65" y="1981"/>
                    <a:pt x="62" y="1964"/>
                  </a:cubicBezTo>
                  <a:cubicBezTo>
                    <a:pt x="58" y="1967"/>
                    <a:pt x="56" y="1971"/>
                    <a:pt x="49" y="1972"/>
                  </a:cubicBezTo>
                  <a:cubicBezTo>
                    <a:pt x="51" y="1983"/>
                    <a:pt x="58" y="1969"/>
                    <a:pt x="62" y="1974"/>
                  </a:cubicBezTo>
                  <a:cubicBezTo>
                    <a:pt x="55" y="1980"/>
                    <a:pt x="39" y="1994"/>
                    <a:pt x="26" y="1985"/>
                  </a:cubicBezTo>
                  <a:cubicBezTo>
                    <a:pt x="17" y="1991"/>
                    <a:pt x="8" y="1997"/>
                    <a:pt x="0" y="2002"/>
                  </a:cubicBezTo>
                  <a:cubicBezTo>
                    <a:pt x="0" y="2027"/>
                    <a:pt x="0" y="2027"/>
                    <a:pt x="0" y="2027"/>
                  </a:cubicBezTo>
                  <a:cubicBezTo>
                    <a:pt x="2" y="2026"/>
                    <a:pt x="4" y="2025"/>
                    <a:pt x="7" y="2024"/>
                  </a:cubicBezTo>
                  <a:cubicBezTo>
                    <a:pt x="8" y="2024"/>
                    <a:pt x="10" y="2026"/>
                    <a:pt x="12" y="2031"/>
                  </a:cubicBezTo>
                  <a:cubicBezTo>
                    <a:pt x="19" y="2029"/>
                    <a:pt x="8" y="2026"/>
                    <a:pt x="10" y="2022"/>
                  </a:cubicBezTo>
                  <a:cubicBezTo>
                    <a:pt x="12" y="2022"/>
                    <a:pt x="12" y="2020"/>
                    <a:pt x="14" y="2020"/>
                  </a:cubicBezTo>
                  <a:cubicBezTo>
                    <a:pt x="14" y="2020"/>
                    <a:pt x="15" y="2020"/>
                    <a:pt x="17" y="2020"/>
                  </a:cubicBezTo>
                  <a:cubicBezTo>
                    <a:pt x="24" y="2027"/>
                    <a:pt x="19" y="2031"/>
                    <a:pt x="21" y="2036"/>
                  </a:cubicBezTo>
                  <a:cubicBezTo>
                    <a:pt x="31" y="2038"/>
                    <a:pt x="26" y="2029"/>
                    <a:pt x="24" y="2026"/>
                  </a:cubicBezTo>
                  <a:cubicBezTo>
                    <a:pt x="33" y="2027"/>
                    <a:pt x="24" y="2036"/>
                    <a:pt x="31" y="2038"/>
                  </a:cubicBezTo>
                  <a:cubicBezTo>
                    <a:pt x="42" y="2036"/>
                    <a:pt x="49" y="2033"/>
                    <a:pt x="53" y="2031"/>
                  </a:cubicBezTo>
                  <a:cubicBezTo>
                    <a:pt x="51" y="2031"/>
                    <a:pt x="49" y="2031"/>
                    <a:pt x="47" y="2029"/>
                  </a:cubicBezTo>
                  <a:cubicBezTo>
                    <a:pt x="49" y="2029"/>
                    <a:pt x="51" y="2026"/>
                    <a:pt x="53" y="2024"/>
                  </a:cubicBezTo>
                  <a:cubicBezTo>
                    <a:pt x="55" y="2024"/>
                    <a:pt x="55" y="2024"/>
                    <a:pt x="55" y="2024"/>
                  </a:cubicBezTo>
                  <a:cubicBezTo>
                    <a:pt x="56" y="2024"/>
                    <a:pt x="56" y="2024"/>
                    <a:pt x="56" y="2024"/>
                  </a:cubicBezTo>
                  <a:cubicBezTo>
                    <a:pt x="55" y="2026"/>
                    <a:pt x="51" y="2027"/>
                    <a:pt x="53" y="2029"/>
                  </a:cubicBezTo>
                  <a:cubicBezTo>
                    <a:pt x="62" y="2029"/>
                    <a:pt x="71" y="2022"/>
                    <a:pt x="79" y="2020"/>
                  </a:cubicBezTo>
                  <a:cubicBezTo>
                    <a:pt x="78" y="2027"/>
                    <a:pt x="78" y="2036"/>
                    <a:pt x="81" y="2043"/>
                  </a:cubicBezTo>
                  <a:cubicBezTo>
                    <a:pt x="85" y="2052"/>
                    <a:pt x="92" y="2059"/>
                    <a:pt x="101" y="2065"/>
                  </a:cubicBezTo>
                  <a:cubicBezTo>
                    <a:pt x="69" y="2088"/>
                    <a:pt x="37" y="2113"/>
                    <a:pt x="7" y="2141"/>
                  </a:cubicBezTo>
                  <a:cubicBezTo>
                    <a:pt x="5" y="2143"/>
                    <a:pt x="5" y="2144"/>
                    <a:pt x="7" y="2146"/>
                  </a:cubicBezTo>
                  <a:cubicBezTo>
                    <a:pt x="8" y="2148"/>
                    <a:pt x="10" y="2148"/>
                    <a:pt x="12" y="2148"/>
                  </a:cubicBezTo>
                  <a:cubicBezTo>
                    <a:pt x="35" y="2136"/>
                    <a:pt x="56" y="2121"/>
                    <a:pt x="79" y="2109"/>
                  </a:cubicBezTo>
                  <a:cubicBezTo>
                    <a:pt x="88" y="2104"/>
                    <a:pt x="95" y="2100"/>
                    <a:pt x="104" y="2095"/>
                  </a:cubicBezTo>
                  <a:cubicBezTo>
                    <a:pt x="106" y="2102"/>
                    <a:pt x="102" y="2109"/>
                    <a:pt x="97" y="2114"/>
                  </a:cubicBezTo>
                  <a:cubicBezTo>
                    <a:pt x="94" y="2105"/>
                    <a:pt x="87" y="2111"/>
                    <a:pt x="79" y="2109"/>
                  </a:cubicBezTo>
                  <a:cubicBezTo>
                    <a:pt x="81" y="2116"/>
                    <a:pt x="76" y="2116"/>
                    <a:pt x="78" y="2120"/>
                  </a:cubicBezTo>
                  <a:cubicBezTo>
                    <a:pt x="76" y="2118"/>
                    <a:pt x="72" y="2116"/>
                    <a:pt x="71" y="2118"/>
                  </a:cubicBezTo>
                  <a:cubicBezTo>
                    <a:pt x="76" y="2127"/>
                    <a:pt x="63" y="2128"/>
                    <a:pt x="58" y="2134"/>
                  </a:cubicBezTo>
                  <a:cubicBezTo>
                    <a:pt x="62" y="2143"/>
                    <a:pt x="63" y="2139"/>
                    <a:pt x="65" y="2146"/>
                  </a:cubicBezTo>
                  <a:cubicBezTo>
                    <a:pt x="76" y="2148"/>
                    <a:pt x="94" y="2139"/>
                    <a:pt x="101" y="2139"/>
                  </a:cubicBezTo>
                  <a:cubicBezTo>
                    <a:pt x="110" y="2120"/>
                    <a:pt x="149" y="2136"/>
                    <a:pt x="166" y="2120"/>
                  </a:cubicBezTo>
                  <a:cubicBezTo>
                    <a:pt x="179" y="2109"/>
                    <a:pt x="175" y="2086"/>
                    <a:pt x="156" y="2065"/>
                  </a:cubicBezTo>
                  <a:cubicBezTo>
                    <a:pt x="154" y="2065"/>
                    <a:pt x="154" y="2065"/>
                    <a:pt x="154" y="2065"/>
                  </a:cubicBezTo>
                  <a:cubicBezTo>
                    <a:pt x="156" y="2065"/>
                    <a:pt x="156" y="2063"/>
                    <a:pt x="158" y="2063"/>
                  </a:cubicBezTo>
                  <a:cubicBezTo>
                    <a:pt x="202" y="2058"/>
                    <a:pt x="248" y="2054"/>
                    <a:pt x="293" y="2040"/>
                  </a:cubicBezTo>
                  <a:cubicBezTo>
                    <a:pt x="360" y="2019"/>
                    <a:pt x="413" y="1980"/>
                    <a:pt x="467" y="1941"/>
                  </a:cubicBezTo>
                  <a:cubicBezTo>
                    <a:pt x="488" y="1935"/>
                    <a:pt x="511" y="1928"/>
                    <a:pt x="532" y="1919"/>
                  </a:cubicBezTo>
                  <a:cubicBezTo>
                    <a:pt x="532" y="1925"/>
                    <a:pt x="532" y="1932"/>
                    <a:pt x="536" y="1937"/>
                  </a:cubicBezTo>
                  <a:cubicBezTo>
                    <a:pt x="536" y="1939"/>
                    <a:pt x="538" y="1941"/>
                    <a:pt x="538" y="1941"/>
                  </a:cubicBezTo>
                  <a:cubicBezTo>
                    <a:pt x="520" y="1949"/>
                    <a:pt x="500" y="1956"/>
                    <a:pt x="481" y="1964"/>
                  </a:cubicBezTo>
                  <a:cubicBezTo>
                    <a:pt x="436" y="1983"/>
                    <a:pt x="394" y="2003"/>
                    <a:pt x="353" y="2026"/>
                  </a:cubicBezTo>
                  <a:cubicBezTo>
                    <a:pt x="312" y="2049"/>
                    <a:pt x="271" y="2072"/>
                    <a:pt x="232" y="2097"/>
                  </a:cubicBezTo>
                  <a:cubicBezTo>
                    <a:pt x="154" y="2146"/>
                    <a:pt x="78" y="2199"/>
                    <a:pt x="0" y="2251"/>
                  </a:cubicBezTo>
                  <a:cubicBezTo>
                    <a:pt x="0" y="2288"/>
                    <a:pt x="0" y="2288"/>
                    <a:pt x="0" y="2288"/>
                  </a:cubicBezTo>
                  <a:cubicBezTo>
                    <a:pt x="6" y="2291"/>
                    <a:pt x="14" y="2291"/>
                    <a:pt x="21" y="2288"/>
                  </a:cubicBezTo>
                  <a:cubicBezTo>
                    <a:pt x="102" y="2254"/>
                    <a:pt x="170" y="2205"/>
                    <a:pt x="245" y="2152"/>
                  </a:cubicBezTo>
                  <a:cubicBezTo>
                    <a:pt x="298" y="2113"/>
                    <a:pt x="344" y="2082"/>
                    <a:pt x="399" y="2047"/>
                  </a:cubicBezTo>
                  <a:cubicBezTo>
                    <a:pt x="463" y="2006"/>
                    <a:pt x="527" y="1981"/>
                    <a:pt x="594" y="1949"/>
                  </a:cubicBezTo>
                  <a:cubicBezTo>
                    <a:pt x="601" y="1948"/>
                    <a:pt x="609" y="1946"/>
                    <a:pt x="616" y="1942"/>
                  </a:cubicBezTo>
                  <a:cubicBezTo>
                    <a:pt x="621" y="1939"/>
                    <a:pt x="628" y="1935"/>
                    <a:pt x="633" y="1930"/>
                  </a:cubicBezTo>
                  <a:cubicBezTo>
                    <a:pt x="687" y="1907"/>
                    <a:pt x="742" y="1891"/>
                    <a:pt x="795" y="1873"/>
                  </a:cubicBezTo>
                  <a:cubicBezTo>
                    <a:pt x="738" y="1909"/>
                    <a:pt x="681" y="1944"/>
                    <a:pt x="628" y="1987"/>
                  </a:cubicBezTo>
                  <a:cubicBezTo>
                    <a:pt x="625" y="1990"/>
                    <a:pt x="623" y="1995"/>
                    <a:pt x="626" y="1999"/>
                  </a:cubicBezTo>
                  <a:cubicBezTo>
                    <a:pt x="628" y="2003"/>
                    <a:pt x="635" y="2004"/>
                    <a:pt x="639" y="2001"/>
                  </a:cubicBezTo>
                  <a:cubicBezTo>
                    <a:pt x="678" y="1978"/>
                    <a:pt x="719" y="1955"/>
                    <a:pt x="760" y="1932"/>
                  </a:cubicBezTo>
                  <a:cubicBezTo>
                    <a:pt x="800" y="1909"/>
                    <a:pt x="841" y="1886"/>
                    <a:pt x="880" y="1863"/>
                  </a:cubicBezTo>
                  <a:cubicBezTo>
                    <a:pt x="923" y="1887"/>
                    <a:pt x="983" y="1884"/>
                    <a:pt x="1028" y="1863"/>
                  </a:cubicBezTo>
                  <a:cubicBezTo>
                    <a:pt x="1044" y="1855"/>
                    <a:pt x="1056" y="1843"/>
                    <a:pt x="1067" y="1831"/>
                  </a:cubicBezTo>
                  <a:cubicBezTo>
                    <a:pt x="1060" y="1832"/>
                    <a:pt x="1053" y="1834"/>
                    <a:pt x="1044" y="1836"/>
                  </a:cubicBezTo>
                  <a:cubicBezTo>
                    <a:pt x="1063" y="1825"/>
                    <a:pt x="1076" y="1806"/>
                    <a:pt x="1088" y="1788"/>
                  </a:cubicBezTo>
                  <a:cubicBezTo>
                    <a:pt x="1090" y="1788"/>
                    <a:pt x="1092" y="1786"/>
                    <a:pt x="1093" y="1786"/>
                  </a:cubicBezTo>
                  <a:cubicBezTo>
                    <a:pt x="1143" y="1784"/>
                    <a:pt x="1189" y="1758"/>
                    <a:pt x="1235" y="1740"/>
                  </a:cubicBezTo>
                  <a:cubicBezTo>
                    <a:pt x="1225" y="1730"/>
                    <a:pt x="1225" y="1730"/>
                    <a:pt x="1225" y="1730"/>
                  </a:cubicBezTo>
                  <a:cubicBezTo>
                    <a:pt x="1235" y="1728"/>
                    <a:pt x="1244" y="1733"/>
                    <a:pt x="1255" y="1731"/>
                  </a:cubicBezTo>
                  <a:cubicBezTo>
                    <a:pt x="1250" y="1730"/>
                    <a:pt x="1246" y="1728"/>
                    <a:pt x="1241" y="1726"/>
                  </a:cubicBezTo>
                  <a:cubicBezTo>
                    <a:pt x="1243" y="1724"/>
                    <a:pt x="1243" y="1724"/>
                    <a:pt x="1243" y="1724"/>
                  </a:cubicBezTo>
                  <a:cubicBezTo>
                    <a:pt x="1255" y="1728"/>
                    <a:pt x="1269" y="1724"/>
                    <a:pt x="1280" y="1717"/>
                  </a:cubicBezTo>
                  <a:cubicBezTo>
                    <a:pt x="1319" y="1724"/>
                    <a:pt x="1358" y="1717"/>
                    <a:pt x="1395" y="1703"/>
                  </a:cubicBezTo>
                  <a:cubicBezTo>
                    <a:pt x="1404" y="1706"/>
                    <a:pt x="1413" y="1706"/>
                    <a:pt x="1420" y="1703"/>
                  </a:cubicBezTo>
                  <a:cubicBezTo>
                    <a:pt x="1425" y="1703"/>
                    <a:pt x="1429" y="1701"/>
                    <a:pt x="1433" y="1703"/>
                  </a:cubicBezTo>
                  <a:cubicBezTo>
                    <a:pt x="1468" y="1710"/>
                    <a:pt x="1502" y="1710"/>
                    <a:pt x="1537" y="1703"/>
                  </a:cubicBezTo>
                  <a:cubicBezTo>
                    <a:pt x="1530" y="1703"/>
                    <a:pt x="1521" y="1703"/>
                    <a:pt x="1512" y="1701"/>
                  </a:cubicBezTo>
                  <a:cubicBezTo>
                    <a:pt x="1523" y="1699"/>
                    <a:pt x="1534" y="1699"/>
                    <a:pt x="1543" y="1694"/>
                  </a:cubicBezTo>
                  <a:cubicBezTo>
                    <a:pt x="1541" y="1692"/>
                    <a:pt x="1537" y="1691"/>
                    <a:pt x="1536" y="1687"/>
                  </a:cubicBezTo>
                  <a:cubicBezTo>
                    <a:pt x="1575" y="1689"/>
                    <a:pt x="1608" y="1659"/>
                    <a:pt x="1610" y="1621"/>
                  </a:cubicBezTo>
                  <a:cubicBezTo>
                    <a:pt x="1612" y="1584"/>
                    <a:pt x="1582" y="1552"/>
                    <a:pt x="1543" y="1550"/>
                  </a:cubicBezTo>
                  <a:cubicBezTo>
                    <a:pt x="1536" y="1550"/>
                    <a:pt x="1536" y="1550"/>
                    <a:pt x="1536" y="1550"/>
                  </a:cubicBezTo>
                  <a:cubicBezTo>
                    <a:pt x="1548" y="1538"/>
                    <a:pt x="1555" y="1522"/>
                    <a:pt x="1552" y="1503"/>
                  </a:cubicBezTo>
                  <a:cubicBezTo>
                    <a:pt x="1550" y="1494"/>
                    <a:pt x="1539" y="1485"/>
                    <a:pt x="1532" y="1476"/>
                  </a:cubicBezTo>
                  <a:cubicBezTo>
                    <a:pt x="1523" y="1462"/>
                    <a:pt x="1504" y="1455"/>
                    <a:pt x="1489" y="1464"/>
                  </a:cubicBezTo>
                  <a:cubicBezTo>
                    <a:pt x="1486" y="1465"/>
                    <a:pt x="1482" y="1469"/>
                    <a:pt x="1479" y="1472"/>
                  </a:cubicBezTo>
                  <a:cubicBezTo>
                    <a:pt x="1459" y="1476"/>
                    <a:pt x="1440" y="1483"/>
                    <a:pt x="1418" y="1487"/>
                  </a:cubicBezTo>
                  <a:cubicBezTo>
                    <a:pt x="1415" y="1487"/>
                    <a:pt x="1411" y="1490"/>
                    <a:pt x="1413" y="1495"/>
                  </a:cubicBezTo>
                  <a:cubicBezTo>
                    <a:pt x="1413" y="1499"/>
                    <a:pt x="1417" y="1503"/>
                    <a:pt x="1420" y="1501"/>
                  </a:cubicBezTo>
                  <a:cubicBezTo>
                    <a:pt x="1436" y="1501"/>
                    <a:pt x="1452" y="1501"/>
                    <a:pt x="1468" y="1501"/>
                  </a:cubicBezTo>
                  <a:cubicBezTo>
                    <a:pt x="1470" y="1499"/>
                    <a:pt x="1470" y="1499"/>
                    <a:pt x="1470" y="1497"/>
                  </a:cubicBezTo>
                  <a:cubicBezTo>
                    <a:pt x="1470" y="1499"/>
                    <a:pt x="1470" y="1499"/>
                    <a:pt x="1470" y="1501"/>
                  </a:cubicBezTo>
                  <a:cubicBezTo>
                    <a:pt x="1472" y="1501"/>
                    <a:pt x="1473" y="1501"/>
                    <a:pt x="1475" y="1501"/>
                  </a:cubicBezTo>
                  <a:cubicBezTo>
                    <a:pt x="1475" y="1503"/>
                    <a:pt x="1475" y="1503"/>
                    <a:pt x="1473" y="1504"/>
                  </a:cubicBezTo>
                  <a:cubicBezTo>
                    <a:pt x="1473" y="1504"/>
                    <a:pt x="1472" y="1504"/>
                    <a:pt x="1470" y="1504"/>
                  </a:cubicBezTo>
                  <a:cubicBezTo>
                    <a:pt x="1470" y="1508"/>
                    <a:pt x="1470" y="1510"/>
                    <a:pt x="1468" y="1513"/>
                  </a:cubicBezTo>
                  <a:cubicBezTo>
                    <a:pt x="1445" y="1520"/>
                    <a:pt x="1422" y="1527"/>
                    <a:pt x="1397" y="1529"/>
                  </a:cubicBezTo>
                  <a:cubicBezTo>
                    <a:pt x="1395" y="1529"/>
                    <a:pt x="1394" y="1522"/>
                    <a:pt x="1390" y="1520"/>
                  </a:cubicBezTo>
                  <a:cubicBezTo>
                    <a:pt x="1388" y="1520"/>
                    <a:pt x="1386" y="1520"/>
                    <a:pt x="1385" y="1520"/>
                  </a:cubicBezTo>
                  <a:cubicBezTo>
                    <a:pt x="1388" y="1519"/>
                    <a:pt x="1394" y="1519"/>
                    <a:pt x="1397" y="1517"/>
                  </a:cubicBezTo>
                  <a:cubicBezTo>
                    <a:pt x="1406" y="1499"/>
                    <a:pt x="1409" y="1492"/>
                    <a:pt x="1411" y="1488"/>
                  </a:cubicBezTo>
                  <a:cubicBezTo>
                    <a:pt x="1411" y="1488"/>
                    <a:pt x="1411" y="1488"/>
                    <a:pt x="1413" y="1487"/>
                  </a:cubicBezTo>
                  <a:cubicBezTo>
                    <a:pt x="1413" y="1485"/>
                    <a:pt x="1415" y="1481"/>
                    <a:pt x="1415" y="1480"/>
                  </a:cubicBezTo>
                  <a:cubicBezTo>
                    <a:pt x="1417" y="1478"/>
                    <a:pt x="1417" y="1478"/>
                    <a:pt x="1417" y="1478"/>
                  </a:cubicBezTo>
                  <a:cubicBezTo>
                    <a:pt x="1424" y="1474"/>
                    <a:pt x="1424" y="1474"/>
                    <a:pt x="1424" y="1474"/>
                  </a:cubicBezTo>
                  <a:cubicBezTo>
                    <a:pt x="1425" y="1474"/>
                    <a:pt x="1427" y="1471"/>
                    <a:pt x="1427" y="1469"/>
                  </a:cubicBezTo>
                  <a:cubicBezTo>
                    <a:pt x="1429" y="1469"/>
                    <a:pt x="1431" y="1471"/>
                    <a:pt x="1434" y="1471"/>
                  </a:cubicBezTo>
                  <a:cubicBezTo>
                    <a:pt x="1449" y="1467"/>
                    <a:pt x="1449" y="1467"/>
                    <a:pt x="1463" y="1462"/>
                  </a:cubicBezTo>
                  <a:cubicBezTo>
                    <a:pt x="1463" y="1462"/>
                    <a:pt x="1461" y="1460"/>
                    <a:pt x="1459" y="1458"/>
                  </a:cubicBezTo>
                  <a:cubicBezTo>
                    <a:pt x="1459" y="1458"/>
                    <a:pt x="1463" y="1453"/>
                    <a:pt x="1468" y="1451"/>
                  </a:cubicBezTo>
                  <a:cubicBezTo>
                    <a:pt x="1473" y="1448"/>
                    <a:pt x="1473" y="1448"/>
                    <a:pt x="1488" y="1444"/>
                  </a:cubicBezTo>
                  <a:cubicBezTo>
                    <a:pt x="1488" y="1444"/>
                    <a:pt x="1488" y="1444"/>
                    <a:pt x="1477" y="1441"/>
                  </a:cubicBezTo>
                  <a:cubicBezTo>
                    <a:pt x="1477" y="1441"/>
                    <a:pt x="1477" y="1441"/>
                    <a:pt x="1484" y="1442"/>
                  </a:cubicBezTo>
                  <a:cubicBezTo>
                    <a:pt x="1484" y="1442"/>
                    <a:pt x="1484" y="1442"/>
                    <a:pt x="1479" y="1435"/>
                  </a:cubicBezTo>
                  <a:cubicBezTo>
                    <a:pt x="1479" y="1435"/>
                    <a:pt x="1479" y="1435"/>
                    <a:pt x="1486" y="1442"/>
                  </a:cubicBezTo>
                  <a:cubicBezTo>
                    <a:pt x="1486" y="1442"/>
                    <a:pt x="1486" y="1442"/>
                    <a:pt x="1484" y="1435"/>
                  </a:cubicBezTo>
                  <a:cubicBezTo>
                    <a:pt x="1484" y="1435"/>
                    <a:pt x="1484" y="1435"/>
                    <a:pt x="1490" y="1438"/>
                  </a:cubicBezTo>
                  <a:cubicBezTo>
                    <a:pt x="1491" y="1437"/>
                    <a:pt x="1493" y="1437"/>
                    <a:pt x="1495" y="1438"/>
                  </a:cubicBezTo>
                  <a:cubicBezTo>
                    <a:pt x="1499" y="1438"/>
                    <a:pt x="1502" y="1438"/>
                    <a:pt x="1506" y="1440"/>
                  </a:cubicBezTo>
                  <a:cubicBezTo>
                    <a:pt x="1506" y="1439"/>
                    <a:pt x="1506" y="1439"/>
                    <a:pt x="1506" y="1439"/>
                  </a:cubicBezTo>
                  <a:cubicBezTo>
                    <a:pt x="1507" y="1439"/>
                    <a:pt x="1508" y="1440"/>
                    <a:pt x="1509" y="1441"/>
                  </a:cubicBezTo>
                  <a:cubicBezTo>
                    <a:pt x="1509" y="1440"/>
                    <a:pt x="1510" y="1440"/>
                    <a:pt x="1511" y="1439"/>
                  </a:cubicBezTo>
                  <a:cubicBezTo>
                    <a:pt x="1511" y="1439"/>
                    <a:pt x="1511" y="1435"/>
                    <a:pt x="1511" y="1433"/>
                  </a:cubicBezTo>
                  <a:cubicBezTo>
                    <a:pt x="1509" y="1432"/>
                    <a:pt x="1509" y="1432"/>
                    <a:pt x="1509" y="1421"/>
                  </a:cubicBezTo>
                  <a:cubicBezTo>
                    <a:pt x="1509" y="1421"/>
                    <a:pt x="1507" y="1419"/>
                    <a:pt x="1505" y="1417"/>
                  </a:cubicBezTo>
                  <a:cubicBezTo>
                    <a:pt x="1502" y="1416"/>
                    <a:pt x="1502" y="1416"/>
                    <a:pt x="1498" y="1410"/>
                  </a:cubicBezTo>
                  <a:cubicBezTo>
                    <a:pt x="1511" y="1403"/>
                    <a:pt x="1523" y="1396"/>
                    <a:pt x="1537" y="1391"/>
                  </a:cubicBezTo>
                  <a:cubicBezTo>
                    <a:pt x="1578" y="1371"/>
                    <a:pt x="1619" y="1352"/>
                    <a:pt x="1655" y="1338"/>
                  </a:cubicBezTo>
                  <a:cubicBezTo>
                    <a:pt x="1660" y="1327"/>
                    <a:pt x="1690" y="1325"/>
                    <a:pt x="1690" y="1308"/>
                  </a:cubicBezTo>
                  <a:cubicBezTo>
                    <a:pt x="1704" y="1306"/>
                    <a:pt x="1708" y="1308"/>
                    <a:pt x="1717" y="1297"/>
                  </a:cubicBezTo>
                  <a:cubicBezTo>
                    <a:pt x="1718" y="1311"/>
                    <a:pt x="1729" y="1293"/>
                    <a:pt x="1731" y="1304"/>
                  </a:cubicBezTo>
                  <a:cubicBezTo>
                    <a:pt x="1738" y="1295"/>
                    <a:pt x="1752" y="1300"/>
                    <a:pt x="1752" y="1292"/>
                  </a:cubicBezTo>
                  <a:cubicBezTo>
                    <a:pt x="1740" y="1295"/>
                    <a:pt x="1734" y="1304"/>
                    <a:pt x="1727" y="1295"/>
                  </a:cubicBezTo>
                  <a:cubicBezTo>
                    <a:pt x="1740" y="1293"/>
                    <a:pt x="1749" y="1281"/>
                    <a:pt x="1761" y="1288"/>
                  </a:cubicBezTo>
                  <a:cubicBezTo>
                    <a:pt x="1768" y="1281"/>
                    <a:pt x="1781" y="1267"/>
                    <a:pt x="1791" y="1270"/>
                  </a:cubicBezTo>
                  <a:cubicBezTo>
                    <a:pt x="1788" y="1261"/>
                    <a:pt x="1804" y="1269"/>
                    <a:pt x="1805" y="1260"/>
                  </a:cubicBezTo>
                  <a:cubicBezTo>
                    <a:pt x="1804" y="1256"/>
                    <a:pt x="1800" y="1256"/>
                    <a:pt x="1802" y="1254"/>
                  </a:cubicBezTo>
                  <a:cubicBezTo>
                    <a:pt x="1807" y="1245"/>
                    <a:pt x="1821" y="1251"/>
                    <a:pt x="1825" y="1244"/>
                  </a:cubicBezTo>
                  <a:cubicBezTo>
                    <a:pt x="1823" y="1244"/>
                    <a:pt x="1820" y="1245"/>
                    <a:pt x="1820" y="1242"/>
                  </a:cubicBezTo>
                  <a:cubicBezTo>
                    <a:pt x="1823" y="1237"/>
                    <a:pt x="1827" y="1242"/>
                    <a:pt x="1832" y="1238"/>
                  </a:cubicBezTo>
                  <a:cubicBezTo>
                    <a:pt x="1829" y="1231"/>
                    <a:pt x="1821" y="1238"/>
                    <a:pt x="1816" y="1237"/>
                  </a:cubicBezTo>
                  <a:cubicBezTo>
                    <a:pt x="1816" y="1245"/>
                    <a:pt x="1795" y="1256"/>
                    <a:pt x="1790" y="1253"/>
                  </a:cubicBezTo>
                  <a:cubicBezTo>
                    <a:pt x="1795" y="1245"/>
                    <a:pt x="1795" y="1240"/>
                    <a:pt x="1804" y="1244"/>
                  </a:cubicBezTo>
                  <a:cubicBezTo>
                    <a:pt x="1802" y="1237"/>
                    <a:pt x="1798" y="1240"/>
                    <a:pt x="1797" y="1237"/>
                  </a:cubicBezTo>
                  <a:cubicBezTo>
                    <a:pt x="1790" y="1240"/>
                    <a:pt x="1793" y="1245"/>
                    <a:pt x="1786" y="1249"/>
                  </a:cubicBezTo>
                  <a:cubicBezTo>
                    <a:pt x="1784" y="1242"/>
                    <a:pt x="1788" y="1238"/>
                    <a:pt x="1788" y="1233"/>
                  </a:cubicBezTo>
                  <a:cubicBezTo>
                    <a:pt x="1781" y="1235"/>
                    <a:pt x="1786" y="1244"/>
                    <a:pt x="1781" y="1245"/>
                  </a:cubicBezTo>
                  <a:cubicBezTo>
                    <a:pt x="1775" y="1244"/>
                    <a:pt x="1782" y="1237"/>
                    <a:pt x="1775" y="1238"/>
                  </a:cubicBezTo>
                  <a:cubicBezTo>
                    <a:pt x="1775" y="1245"/>
                    <a:pt x="1765" y="1240"/>
                    <a:pt x="1761" y="1240"/>
                  </a:cubicBezTo>
                  <a:cubicBezTo>
                    <a:pt x="1768" y="1251"/>
                    <a:pt x="1750" y="1244"/>
                    <a:pt x="1750" y="1253"/>
                  </a:cubicBezTo>
                  <a:cubicBezTo>
                    <a:pt x="1754" y="1247"/>
                    <a:pt x="1765" y="1253"/>
                    <a:pt x="1759" y="1258"/>
                  </a:cubicBezTo>
                  <a:cubicBezTo>
                    <a:pt x="1752" y="1253"/>
                    <a:pt x="1750" y="1260"/>
                    <a:pt x="1742" y="1258"/>
                  </a:cubicBezTo>
                  <a:cubicBezTo>
                    <a:pt x="1740" y="1256"/>
                    <a:pt x="1738" y="1256"/>
                    <a:pt x="1738" y="1256"/>
                  </a:cubicBezTo>
                  <a:cubicBezTo>
                    <a:pt x="1747" y="1251"/>
                    <a:pt x="1740" y="1240"/>
                    <a:pt x="1738" y="1253"/>
                  </a:cubicBezTo>
                  <a:cubicBezTo>
                    <a:pt x="1726" y="1256"/>
                    <a:pt x="1711" y="1260"/>
                    <a:pt x="1702" y="1261"/>
                  </a:cubicBezTo>
                  <a:cubicBezTo>
                    <a:pt x="1706" y="1261"/>
                    <a:pt x="1708" y="1261"/>
                    <a:pt x="1711" y="1263"/>
                  </a:cubicBezTo>
                  <a:cubicBezTo>
                    <a:pt x="1699" y="1269"/>
                    <a:pt x="1697" y="1260"/>
                    <a:pt x="1701" y="1270"/>
                  </a:cubicBezTo>
                  <a:cubicBezTo>
                    <a:pt x="1694" y="1274"/>
                    <a:pt x="1690" y="1263"/>
                    <a:pt x="1683" y="1263"/>
                  </a:cubicBezTo>
                  <a:cubicBezTo>
                    <a:pt x="1688" y="1269"/>
                    <a:pt x="1676" y="1269"/>
                    <a:pt x="1679" y="1274"/>
                  </a:cubicBezTo>
                  <a:cubicBezTo>
                    <a:pt x="1683" y="1274"/>
                    <a:pt x="1690" y="1267"/>
                    <a:pt x="1692" y="1274"/>
                  </a:cubicBezTo>
                  <a:cubicBezTo>
                    <a:pt x="1678" y="1277"/>
                    <a:pt x="1676" y="1279"/>
                    <a:pt x="1667" y="1288"/>
                  </a:cubicBezTo>
                  <a:cubicBezTo>
                    <a:pt x="1665" y="1283"/>
                    <a:pt x="1663" y="1283"/>
                    <a:pt x="1662" y="1279"/>
                  </a:cubicBezTo>
                  <a:cubicBezTo>
                    <a:pt x="1669" y="1281"/>
                    <a:pt x="1676" y="1277"/>
                    <a:pt x="1674" y="1269"/>
                  </a:cubicBezTo>
                  <a:cubicBezTo>
                    <a:pt x="1663" y="1270"/>
                    <a:pt x="1660" y="1277"/>
                    <a:pt x="1656" y="1288"/>
                  </a:cubicBezTo>
                  <a:cubicBezTo>
                    <a:pt x="1647" y="1283"/>
                    <a:pt x="1644" y="1292"/>
                    <a:pt x="1646" y="1295"/>
                  </a:cubicBezTo>
                  <a:cubicBezTo>
                    <a:pt x="1639" y="1293"/>
                    <a:pt x="1639" y="1288"/>
                    <a:pt x="1639" y="1283"/>
                  </a:cubicBezTo>
                  <a:cubicBezTo>
                    <a:pt x="1630" y="1290"/>
                    <a:pt x="1626" y="1292"/>
                    <a:pt x="1614" y="1288"/>
                  </a:cubicBezTo>
                  <a:cubicBezTo>
                    <a:pt x="1617" y="1286"/>
                    <a:pt x="1614" y="1283"/>
                    <a:pt x="1615" y="1281"/>
                  </a:cubicBezTo>
                  <a:cubicBezTo>
                    <a:pt x="1610" y="1290"/>
                    <a:pt x="1608" y="1286"/>
                    <a:pt x="1599" y="1284"/>
                  </a:cubicBezTo>
                  <a:cubicBezTo>
                    <a:pt x="1596" y="1295"/>
                    <a:pt x="1575" y="1313"/>
                    <a:pt x="1557" y="1309"/>
                  </a:cubicBezTo>
                  <a:cubicBezTo>
                    <a:pt x="1553" y="1322"/>
                    <a:pt x="1546" y="1322"/>
                    <a:pt x="1528" y="1332"/>
                  </a:cubicBezTo>
                  <a:cubicBezTo>
                    <a:pt x="1530" y="1343"/>
                    <a:pt x="1541" y="1327"/>
                    <a:pt x="1543" y="1332"/>
                  </a:cubicBezTo>
                  <a:cubicBezTo>
                    <a:pt x="1544" y="1341"/>
                    <a:pt x="1534" y="1354"/>
                    <a:pt x="1525" y="1347"/>
                  </a:cubicBezTo>
                  <a:cubicBezTo>
                    <a:pt x="1521" y="1343"/>
                    <a:pt x="1534" y="1345"/>
                    <a:pt x="1527" y="1338"/>
                  </a:cubicBezTo>
                  <a:cubicBezTo>
                    <a:pt x="1509" y="1354"/>
                    <a:pt x="1541" y="1357"/>
                    <a:pt x="1552" y="1355"/>
                  </a:cubicBezTo>
                  <a:cubicBezTo>
                    <a:pt x="1548" y="1357"/>
                    <a:pt x="1552" y="1361"/>
                    <a:pt x="1546" y="1362"/>
                  </a:cubicBezTo>
                  <a:cubicBezTo>
                    <a:pt x="1536" y="1362"/>
                    <a:pt x="1525" y="1366"/>
                    <a:pt x="1523" y="1378"/>
                  </a:cubicBezTo>
                  <a:cubicBezTo>
                    <a:pt x="1520" y="1378"/>
                    <a:pt x="1518" y="1377"/>
                    <a:pt x="1518" y="1371"/>
                  </a:cubicBezTo>
                  <a:cubicBezTo>
                    <a:pt x="1504" y="1386"/>
                    <a:pt x="1489" y="1389"/>
                    <a:pt x="1477" y="1400"/>
                  </a:cubicBezTo>
                  <a:cubicBezTo>
                    <a:pt x="1473" y="1394"/>
                    <a:pt x="1472" y="1393"/>
                    <a:pt x="1468" y="1387"/>
                  </a:cubicBezTo>
                  <a:cubicBezTo>
                    <a:pt x="1472" y="1386"/>
                    <a:pt x="1475" y="1382"/>
                    <a:pt x="1477" y="1378"/>
                  </a:cubicBezTo>
                  <a:cubicBezTo>
                    <a:pt x="1479" y="1382"/>
                    <a:pt x="1481" y="1386"/>
                    <a:pt x="1484" y="1382"/>
                  </a:cubicBezTo>
                  <a:cubicBezTo>
                    <a:pt x="1482" y="1377"/>
                    <a:pt x="1479" y="1371"/>
                    <a:pt x="1486" y="1370"/>
                  </a:cubicBezTo>
                  <a:cubicBezTo>
                    <a:pt x="1488" y="1373"/>
                    <a:pt x="1482" y="1378"/>
                    <a:pt x="1489" y="1375"/>
                  </a:cubicBezTo>
                  <a:cubicBezTo>
                    <a:pt x="1489" y="1371"/>
                    <a:pt x="1493" y="1366"/>
                    <a:pt x="1498" y="1370"/>
                  </a:cubicBezTo>
                  <a:cubicBezTo>
                    <a:pt x="1502" y="1364"/>
                    <a:pt x="1493" y="1364"/>
                    <a:pt x="1496" y="1362"/>
                  </a:cubicBezTo>
                  <a:cubicBezTo>
                    <a:pt x="1500" y="1361"/>
                    <a:pt x="1504" y="1361"/>
                    <a:pt x="1507" y="1362"/>
                  </a:cubicBezTo>
                  <a:cubicBezTo>
                    <a:pt x="1509" y="1366"/>
                    <a:pt x="1504" y="1366"/>
                    <a:pt x="1505" y="1370"/>
                  </a:cubicBezTo>
                  <a:cubicBezTo>
                    <a:pt x="1511" y="1362"/>
                    <a:pt x="1512" y="1364"/>
                    <a:pt x="1520" y="1357"/>
                  </a:cubicBezTo>
                  <a:cubicBezTo>
                    <a:pt x="1516" y="1348"/>
                    <a:pt x="1514" y="1359"/>
                    <a:pt x="1509" y="1352"/>
                  </a:cubicBezTo>
                  <a:cubicBezTo>
                    <a:pt x="1537" y="1308"/>
                    <a:pt x="1589" y="1292"/>
                    <a:pt x="1630" y="1269"/>
                  </a:cubicBezTo>
                  <a:cubicBezTo>
                    <a:pt x="1635" y="1272"/>
                    <a:pt x="1621" y="1277"/>
                    <a:pt x="1628" y="1277"/>
                  </a:cubicBezTo>
                  <a:cubicBezTo>
                    <a:pt x="1644" y="1263"/>
                    <a:pt x="1644" y="1256"/>
                    <a:pt x="1663" y="1260"/>
                  </a:cubicBezTo>
                  <a:cubicBezTo>
                    <a:pt x="1671" y="1256"/>
                    <a:pt x="1667" y="1249"/>
                    <a:pt x="1669" y="1244"/>
                  </a:cubicBezTo>
                  <a:cubicBezTo>
                    <a:pt x="1679" y="1245"/>
                    <a:pt x="1692" y="1222"/>
                    <a:pt x="1706" y="1231"/>
                  </a:cubicBezTo>
                  <a:cubicBezTo>
                    <a:pt x="1702" y="1224"/>
                    <a:pt x="1715" y="1228"/>
                    <a:pt x="1717" y="1221"/>
                  </a:cubicBezTo>
                  <a:cubicBezTo>
                    <a:pt x="1720" y="1228"/>
                    <a:pt x="1722" y="1224"/>
                    <a:pt x="1722" y="1219"/>
                  </a:cubicBezTo>
                  <a:cubicBezTo>
                    <a:pt x="1729" y="1231"/>
                    <a:pt x="1734" y="1217"/>
                    <a:pt x="1742" y="1224"/>
                  </a:cubicBezTo>
                  <a:cubicBezTo>
                    <a:pt x="1740" y="1215"/>
                    <a:pt x="1747" y="1214"/>
                    <a:pt x="1756" y="1215"/>
                  </a:cubicBezTo>
                  <a:cubicBezTo>
                    <a:pt x="1758" y="1210"/>
                    <a:pt x="1750" y="1210"/>
                    <a:pt x="1754" y="1208"/>
                  </a:cubicBezTo>
                  <a:cubicBezTo>
                    <a:pt x="1766" y="1208"/>
                    <a:pt x="1775" y="1191"/>
                    <a:pt x="1786" y="1203"/>
                  </a:cubicBezTo>
                  <a:cubicBezTo>
                    <a:pt x="1788" y="1191"/>
                    <a:pt x="1814" y="1183"/>
                    <a:pt x="1823" y="1189"/>
                  </a:cubicBezTo>
                  <a:cubicBezTo>
                    <a:pt x="1820" y="1179"/>
                    <a:pt x="1835" y="1172"/>
                    <a:pt x="1841" y="1173"/>
                  </a:cubicBezTo>
                  <a:cubicBezTo>
                    <a:pt x="1842" y="1172"/>
                    <a:pt x="1842" y="1172"/>
                    <a:pt x="1843" y="1172"/>
                  </a:cubicBezTo>
                  <a:cubicBezTo>
                    <a:pt x="1844" y="1172"/>
                    <a:pt x="1845" y="1172"/>
                    <a:pt x="1845" y="1173"/>
                  </a:cubicBezTo>
                  <a:cubicBezTo>
                    <a:pt x="1850" y="1165"/>
                    <a:pt x="1855" y="1156"/>
                    <a:pt x="1861" y="1150"/>
                  </a:cubicBezTo>
                  <a:cubicBezTo>
                    <a:pt x="1861" y="1153"/>
                    <a:pt x="1861" y="1155"/>
                    <a:pt x="1861" y="1159"/>
                  </a:cubicBezTo>
                  <a:cubicBezTo>
                    <a:pt x="1898" y="1144"/>
                    <a:pt x="1919" y="1121"/>
                    <a:pt x="1969" y="1111"/>
                  </a:cubicBezTo>
                  <a:cubicBezTo>
                    <a:pt x="1967" y="1107"/>
                    <a:pt x="1967" y="1104"/>
                    <a:pt x="1969" y="1102"/>
                  </a:cubicBezTo>
                  <a:cubicBezTo>
                    <a:pt x="1990" y="1112"/>
                    <a:pt x="2006" y="1070"/>
                    <a:pt x="2019" y="1095"/>
                  </a:cubicBezTo>
                  <a:cubicBezTo>
                    <a:pt x="2029" y="1089"/>
                    <a:pt x="2017" y="1088"/>
                    <a:pt x="2022" y="1081"/>
                  </a:cubicBezTo>
                  <a:cubicBezTo>
                    <a:pt x="2045" y="1073"/>
                    <a:pt x="2058" y="1059"/>
                    <a:pt x="2074" y="1063"/>
                  </a:cubicBezTo>
                  <a:cubicBezTo>
                    <a:pt x="2083" y="1050"/>
                    <a:pt x="2090" y="1050"/>
                    <a:pt x="2102" y="1040"/>
                  </a:cubicBezTo>
                  <a:cubicBezTo>
                    <a:pt x="2106" y="1043"/>
                    <a:pt x="2098" y="1043"/>
                    <a:pt x="2100" y="1049"/>
                  </a:cubicBezTo>
                  <a:cubicBezTo>
                    <a:pt x="2118" y="1038"/>
                    <a:pt x="2125" y="1029"/>
                    <a:pt x="2145" y="1033"/>
                  </a:cubicBezTo>
                  <a:cubicBezTo>
                    <a:pt x="2138" y="1024"/>
                    <a:pt x="2150" y="1020"/>
                    <a:pt x="2148" y="1013"/>
                  </a:cubicBezTo>
                  <a:cubicBezTo>
                    <a:pt x="2138" y="1017"/>
                    <a:pt x="2123" y="1022"/>
                    <a:pt x="2113" y="1013"/>
                  </a:cubicBezTo>
                  <a:cubicBezTo>
                    <a:pt x="2120" y="1006"/>
                    <a:pt x="2129" y="1015"/>
                    <a:pt x="2130" y="1008"/>
                  </a:cubicBezTo>
                  <a:cubicBezTo>
                    <a:pt x="2104" y="1004"/>
                    <a:pt x="2100" y="1024"/>
                    <a:pt x="2077" y="1033"/>
                  </a:cubicBezTo>
                  <a:cubicBezTo>
                    <a:pt x="2077" y="1029"/>
                    <a:pt x="2077" y="1027"/>
                    <a:pt x="2077" y="1026"/>
                  </a:cubicBezTo>
                  <a:cubicBezTo>
                    <a:pt x="2068" y="1026"/>
                    <a:pt x="2061" y="1034"/>
                    <a:pt x="2056" y="1040"/>
                  </a:cubicBezTo>
                  <a:cubicBezTo>
                    <a:pt x="2013" y="1043"/>
                    <a:pt x="1981" y="1088"/>
                    <a:pt x="1939" y="1086"/>
                  </a:cubicBezTo>
                  <a:cubicBezTo>
                    <a:pt x="1932" y="1100"/>
                    <a:pt x="1910" y="1109"/>
                    <a:pt x="1893" y="1120"/>
                  </a:cubicBezTo>
                  <a:cubicBezTo>
                    <a:pt x="1891" y="1107"/>
                    <a:pt x="1914" y="1107"/>
                    <a:pt x="1912" y="1095"/>
                  </a:cubicBezTo>
                  <a:cubicBezTo>
                    <a:pt x="1903" y="1098"/>
                    <a:pt x="1877" y="1118"/>
                    <a:pt x="1868" y="1111"/>
                  </a:cubicBezTo>
                  <a:cubicBezTo>
                    <a:pt x="1869" y="1114"/>
                    <a:pt x="1871" y="1120"/>
                    <a:pt x="1868" y="1121"/>
                  </a:cubicBezTo>
                  <a:cubicBezTo>
                    <a:pt x="1864" y="1125"/>
                    <a:pt x="1862" y="1118"/>
                    <a:pt x="1859" y="1120"/>
                  </a:cubicBezTo>
                  <a:cubicBezTo>
                    <a:pt x="1861" y="1134"/>
                    <a:pt x="1825" y="1141"/>
                    <a:pt x="1814" y="1144"/>
                  </a:cubicBezTo>
                  <a:cubicBezTo>
                    <a:pt x="1816" y="1144"/>
                    <a:pt x="1818" y="1146"/>
                    <a:pt x="1818" y="1148"/>
                  </a:cubicBezTo>
                  <a:cubicBezTo>
                    <a:pt x="1813" y="1146"/>
                    <a:pt x="1805" y="1164"/>
                    <a:pt x="1795" y="1159"/>
                  </a:cubicBezTo>
                  <a:cubicBezTo>
                    <a:pt x="1800" y="1157"/>
                    <a:pt x="1802" y="1155"/>
                    <a:pt x="1800" y="1152"/>
                  </a:cubicBezTo>
                  <a:cubicBezTo>
                    <a:pt x="1790" y="1148"/>
                    <a:pt x="1798" y="1162"/>
                    <a:pt x="1790" y="1164"/>
                  </a:cubicBezTo>
                  <a:cubicBezTo>
                    <a:pt x="1786" y="1160"/>
                    <a:pt x="1793" y="1159"/>
                    <a:pt x="1791" y="1155"/>
                  </a:cubicBezTo>
                  <a:cubicBezTo>
                    <a:pt x="1777" y="1166"/>
                    <a:pt x="1745" y="1175"/>
                    <a:pt x="1733" y="1183"/>
                  </a:cubicBezTo>
                  <a:cubicBezTo>
                    <a:pt x="1734" y="1192"/>
                    <a:pt x="1740" y="1183"/>
                    <a:pt x="1742" y="1191"/>
                  </a:cubicBezTo>
                  <a:cubicBezTo>
                    <a:pt x="1738" y="1191"/>
                    <a:pt x="1733" y="1198"/>
                    <a:pt x="1731" y="1192"/>
                  </a:cubicBezTo>
                  <a:cubicBezTo>
                    <a:pt x="1729" y="1191"/>
                    <a:pt x="1733" y="1189"/>
                    <a:pt x="1731" y="1185"/>
                  </a:cubicBezTo>
                  <a:cubicBezTo>
                    <a:pt x="1702" y="1198"/>
                    <a:pt x="1676" y="1214"/>
                    <a:pt x="1639" y="1228"/>
                  </a:cubicBezTo>
                  <a:cubicBezTo>
                    <a:pt x="1630" y="1221"/>
                    <a:pt x="1612" y="1242"/>
                    <a:pt x="1599" y="1244"/>
                  </a:cubicBezTo>
                  <a:cubicBezTo>
                    <a:pt x="1585" y="1247"/>
                    <a:pt x="1566" y="1263"/>
                    <a:pt x="1546" y="1274"/>
                  </a:cubicBezTo>
                  <a:cubicBezTo>
                    <a:pt x="1518" y="1290"/>
                    <a:pt x="1484" y="1297"/>
                    <a:pt x="1463" y="1320"/>
                  </a:cubicBezTo>
                  <a:cubicBezTo>
                    <a:pt x="1461" y="1316"/>
                    <a:pt x="1459" y="1313"/>
                    <a:pt x="1456" y="1315"/>
                  </a:cubicBezTo>
                  <a:cubicBezTo>
                    <a:pt x="1457" y="1318"/>
                    <a:pt x="1461" y="1322"/>
                    <a:pt x="1457" y="1323"/>
                  </a:cubicBezTo>
                  <a:cubicBezTo>
                    <a:pt x="1449" y="1327"/>
                    <a:pt x="1440" y="1325"/>
                    <a:pt x="1433" y="1320"/>
                  </a:cubicBezTo>
                  <a:cubicBezTo>
                    <a:pt x="1434" y="1325"/>
                    <a:pt x="1433" y="1329"/>
                    <a:pt x="1431" y="1334"/>
                  </a:cubicBezTo>
                  <a:cubicBezTo>
                    <a:pt x="1434" y="1332"/>
                    <a:pt x="1438" y="1323"/>
                    <a:pt x="1441" y="1329"/>
                  </a:cubicBezTo>
                  <a:cubicBezTo>
                    <a:pt x="1440" y="1331"/>
                    <a:pt x="1441" y="1336"/>
                    <a:pt x="1434" y="1338"/>
                  </a:cubicBezTo>
                  <a:cubicBezTo>
                    <a:pt x="1420" y="1327"/>
                    <a:pt x="1429" y="1334"/>
                    <a:pt x="1415" y="1336"/>
                  </a:cubicBezTo>
                  <a:cubicBezTo>
                    <a:pt x="1418" y="1334"/>
                    <a:pt x="1420" y="1332"/>
                    <a:pt x="1420" y="1329"/>
                  </a:cubicBezTo>
                  <a:cubicBezTo>
                    <a:pt x="1413" y="1339"/>
                    <a:pt x="1395" y="1334"/>
                    <a:pt x="1390" y="1345"/>
                  </a:cubicBezTo>
                  <a:cubicBezTo>
                    <a:pt x="1402" y="1345"/>
                    <a:pt x="1404" y="1341"/>
                    <a:pt x="1413" y="1341"/>
                  </a:cubicBezTo>
                  <a:cubicBezTo>
                    <a:pt x="1404" y="1348"/>
                    <a:pt x="1402" y="1347"/>
                    <a:pt x="1395" y="1355"/>
                  </a:cubicBezTo>
                  <a:cubicBezTo>
                    <a:pt x="1392" y="1352"/>
                    <a:pt x="1397" y="1347"/>
                    <a:pt x="1392" y="1347"/>
                  </a:cubicBezTo>
                  <a:cubicBezTo>
                    <a:pt x="1390" y="1352"/>
                    <a:pt x="1386" y="1352"/>
                    <a:pt x="1381" y="1352"/>
                  </a:cubicBezTo>
                  <a:cubicBezTo>
                    <a:pt x="1381" y="1347"/>
                    <a:pt x="1378" y="1343"/>
                    <a:pt x="1372" y="1341"/>
                  </a:cubicBezTo>
                  <a:cubicBezTo>
                    <a:pt x="1370" y="1334"/>
                    <a:pt x="1367" y="1327"/>
                    <a:pt x="1363" y="1322"/>
                  </a:cubicBezTo>
                  <a:cubicBezTo>
                    <a:pt x="1363" y="1322"/>
                    <a:pt x="1363" y="1322"/>
                    <a:pt x="1365" y="1322"/>
                  </a:cubicBezTo>
                  <a:cubicBezTo>
                    <a:pt x="1369" y="1331"/>
                    <a:pt x="1383" y="1308"/>
                    <a:pt x="1392" y="1322"/>
                  </a:cubicBezTo>
                  <a:cubicBezTo>
                    <a:pt x="1406" y="1306"/>
                    <a:pt x="1418" y="1313"/>
                    <a:pt x="1429" y="1297"/>
                  </a:cubicBezTo>
                  <a:cubicBezTo>
                    <a:pt x="1431" y="1300"/>
                    <a:pt x="1443" y="1299"/>
                    <a:pt x="1443" y="1293"/>
                  </a:cubicBezTo>
                  <a:cubicBezTo>
                    <a:pt x="1441" y="1297"/>
                    <a:pt x="1433" y="1293"/>
                    <a:pt x="1438" y="1290"/>
                  </a:cubicBezTo>
                  <a:cubicBezTo>
                    <a:pt x="1470" y="1288"/>
                    <a:pt x="1504" y="1265"/>
                    <a:pt x="1536" y="1256"/>
                  </a:cubicBezTo>
                  <a:cubicBezTo>
                    <a:pt x="1534" y="1256"/>
                    <a:pt x="1532" y="1254"/>
                    <a:pt x="1530" y="1254"/>
                  </a:cubicBezTo>
                  <a:cubicBezTo>
                    <a:pt x="1537" y="1251"/>
                    <a:pt x="1537" y="1251"/>
                    <a:pt x="1537" y="1251"/>
                  </a:cubicBezTo>
                  <a:cubicBezTo>
                    <a:pt x="1539" y="1253"/>
                    <a:pt x="1539" y="1254"/>
                    <a:pt x="1539" y="1258"/>
                  </a:cubicBezTo>
                  <a:cubicBezTo>
                    <a:pt x="1543" y="1249"/>
                    <a:pt x="1559" y="1258"/>
                    <a:pt x="1562" y="1253"/>
                  </a:cubicBezTo>
                  <a:cubicBezTo>
                    <a:pt x="1555" y="1253"/>
                    <a:pt x="1564" y="1247"/>
                    <a:pt x="1566" y="1251"/>
                  </a:cubicBezTo>
                  <a:cubicBezTo>
                    <a:pt x="1564" y="1244"/>
                    <a:pt x="1564" y="1245"/>
                    <a:pt x="1568" y="1238"/>
                  </a:cubicBezTo>
                  <a:cubicBezTo>
                    <a:pt x="1564" y="1240"/>
                    <a:pt x="1560" y="1244"/>
                    <a:pt x="1559" y="1240"/>
                  </a:cubicBezTo>
                  <a:cubicBezTo>
                    <a:pt x="1571" y="1224"/>
                    <a:pt x="1599" y="1224"/>
                    <a:pt x="1617" y="1217"/>
                  </a:cubicBezTo>
                  <a:cubicBezTo>
                    <a:pt x="1621" y="1210"/>
                    <a:pt x="1607" y="1214"/>
                    <a:pt x="1612" y="1206"/>
                  </a:cubicBezTo>
                  <a:cubicBezTo>
                    <a:pt x="1621" y="1212"/>
                    <a:pt x="1623" y="1191"/>
                    <a:pt x="1630" y="1199"/>
                  </a:cubicBezTo>
                  <a:cubicBezTo>
                    <a:pt x="1630" y="1205"/>
                    <a:pt x="1612" y="1212"/>
                    <a:pt x="1624" y="1217"/>
                  </a:cubicBezTo>
                  <a:cubicBezTo>
                    <a:pt x="1630" y="1206"/>
                    <a:pt x="1630" y="1191"/>
                    <a:pt x="1646" y="1194"/>
                  </a:cubicBezTo>
                  <a:cubicBezTo>
                    <a:pt x="1641" y="1186"/>
                    <a:pt x="1643" y="1181"/>
                    <a:pt x="1647" y="1177"/>
                  </a:cubicBezTo>
                  <a:cubicBezTo>
                    <a:pt x="1647" y="1176"/>
                    <a:pt x="1646" y="1175"/>
                    <a:pt x="1646" y="1174"/>
                  </a:cubicBezTo>
                  <a:cubicBezTo>
                    <a:pt x="1648" y="1174"/>
                    <a:pt x="1648" y="1175"/>
                    <a:pt x="1649" y="1175"/>
                  </a:cubicBezTo>
                  <a:cubicBezTo>
                    <a:pt x="1656" y="1170"/>
                    <a:pt x="1665" y="1166"/>
                    <a:pt x="1667" y="1159"/>
                  </a:cubicBezTo>
                  <a:cubicBezTo>
                    <a:pt x="1674" y="1160"/>
                    <a:pt x="1690" y="1160"/>
                    <a:pt x="1694" y="1152"/>
                  </a:cubicBezTo>
                  <a:cubicBezTo>
                    <a:pt x="1679" y="1155"/>
                    <a:pt x="1665" y="1157"/>
                    <a:pt x="1655" y="1146"/>
                  </a:cubicBezTo>
                  <a:cubicBezTo>
                    <a:pt x="1656" y="1146"/>
                    <a:pt x="1660" y="1144"/>
                    <a:pt x="1660" y="1143"/>
                  </a:cubicBezTo>
                  <a:cubicBezTo>
                    <a:pt x="1647" y="1144"/>
                    <a:pt x="1658" y="1155"/>
                    <a:pt x="1646" y="1157"/>
                  </a:cubicBezTo>
                  <a:cubicBezTo>
                    <a:pt x="1649" y="1164"/>
                    <a:pt x="1658" y="1153"/>
                    <a:pt x="1662" y="1160"/>
                  </a:cubicBezTo>
                  <a:cubicBezTo>
                    <a:pt x="1647" y="1169"/>
                    <a:pt x="1633" y="1176"/>
                    <a:pt x="1621" y="1176"/>
                  </a:cubicBezTo>
                  <a:cubicBezTo>
                    <a:pt x="1628" y="1176"/>
                    <a:pt x="1621" y="1169"/>
                    <a:pt x="1626" y="1167"/>
                  </a:cubicBezTo>
                  <a:cubicBezTo>
                    <a:pt x="1628" y="1169"/>
                    <a:pt x="1639" y="1169"/>
                    <a:pt x="1639" y="1164"/>
                  </a:cubicBezTo>
                  <a:cubicBezTo>
                    <a:pt x="1635" y="1153"/>
                    <a:pt x="1653" y="1136"/>
                    <a:pt x="1671" y="1139"/>
                  </a:cubicBezTo>
                  <a:cubicBezTo>
                    <a:pt x="1671" y="1125"/>
                    <a:pt x="1687" y="1132"/>
                    <a:pt x="1688" y="1132"/>
                  </a:cubicBezTo>
                  <a:cubicBezTo>
                    <a:pt x="1683" y="1132"/>
                    <a:pt x="1687" y="1123"/>
                    <a:pt x="1688" y="1121"/>
                  </a:cubicBezTo>
                  <a:cubicBezTo>
                    <a:pt x="1694" y="1130"/>
                    <a:pt x="1711" y="1120"/>
                    <a:pt x="1697" y="1114"/>
                  </a:cubicBezTo>
                  <a:cubicBezTo>
                    <a:pt x="1706" y="1111"/>
                    <a:pt x="1710" y="1116"/>
                    <a:pt x="1711" y="1120"/>
                  </a:cubicBezTo>
                  <a:cubicBezTo>
                    <a:pt x="1715" y="1112"/>
                    <a:pt x="1720" y="1105"/>
                    <a:pt x="1720" y="1097"/>
                  </a:cubicBezTo>
                  <a:cubicBezTo>
                    <a:pt x="1724" y="1101"/>
                    <a:pt x="1721" y="1105"/>
                    <a:pt x="1726" y="1104"/>
                  </a:cubicBezTo>
                  <a:cubicBezTo>
                    <a:pt x="1725" y="1104"/>
                    <a:pt x="1725" y="1103"/>
                    <a:pt x="1724" y="1103"/>
                  </a:cubicBezTo>
                  <a:cubicBezTo>
                    <a:pt x="1725" y="1102"/>
                    <a:pt x="1727" y="1101"/>
                    <a:pt x="1729" y="1101"/>
                  </a:cubicBezTo>
                  <a:cubicBezTo>
                    <a:pt x="1729" y="1099"/>
                    <a:pt x="1726" y="1099"/>
                    <a:pt x="1727" y="1097"/>
                  </a:cubicBezTo>
                  <a:cubicBezTo>
                    <a:pt x="1729" y="1097"/>
                    <a:pt x="1731" y="1097"/>
                    <a:pt x="1731" y="1100"/>
                  </a:cubicBezTo>
                  <a:cubicBezTo>
                    <a:pt x="1731" y="1081"/>
                    <a:pt x="1758" y="1097"/>
                    <a:pt x="1758" y="1088"/>
                  </a:cubicBezTo>
                  <a:cubicBezTo>
                    <a:pt x="1756" y="1088"/>
                    <a:pt x="1754" y="1089"/>
                    <a:pt x="1752" y="1084"/>
                  </a:cubicBezTo>
                  <a:cubicBezTo>
                    <a:pt x="1761" y="1082"/>
                    <a:pt x="1772" y="1077"/>
                    <a:pt x="1777" y="1084"/>
                  </a:cubicBezTo>
                  <a:cubicBezTo>
                    <a:pt x="1775" y="1073"/>
                    <a:pt x="1786" y="1084"/>
                    <a:pt x="1791" y="1079"/>
                  </a:cubicBezTo>
                  <a:cubicBezTo>
                    <a:pt x="1789" y="1068"/>
                    <a:pt x="1806" y="1056"/>
                    <a:pt x="1816" y="1057"/>
                  </a:cubicBezTo>
                  <a:cubicBezTo>
                    <a:pt x="1816" y="1057"/>
                    <a:pt x="1816" y="1057"/>
                    <a:pt x="1816" y="1057"/>
                  </a:cubicBezTo>
                  <a:cubicBezTo>
                    <a:pt x="1816" y="1057"/>
                    <a:pt x="1816" y="1057"/>
                    <a:pt x="1816" y="1057"/>
                  </a:cubicBezTo>
                  <a:cubicBezTo>
                    <a:pt x="1819" y="1057"/>
                    <a:pt x="1820" y="1057"/>
                    <a:pt x="1822" y="1059"/>
                  </a:cubicBezTo>
                  <a:cubicBezTo>
                    <a:pt x="1822" y="1059"/>
                    <a:pt x="1823" y="1059"/>
                    <a:pt x="1824" y="1059"/>
                  </a:cubicBezTo>
                  <a:cubicBezTo>
                    <a:pt x="1827" y="1051"/>
                    <a:pt x="1828" y="1045"/>
                    <a:pt x="1839" y="1049"/>
                  </a:cubicBezTo>
                  <a:cubicBezTo>
                    <a:pt x="1837" y="1036"/>
                    <a:pt x="1825" y="1050"/>
                    <a:pt x="1820" y="1047"/>
                  </a:cubicBezTo>
                  <a:cubicBezTo>
                    <a:pt x="1823" y="1040"/>
                    <a:pt x="1841" y="1038"/>
                    <a:pt x="1845" y="1031"/>
                  </a:cubicBezTo>
                  <a:cubicBezTo>
                    <a:pt x="1853" y="1034"/>
                    <a:pt x="1859" y="1036"/>
                    <a:pt x="1861" y="1043"/>
                  </a:cubicBezTo>
                  <a:cubicBezTo>
                    <a:pt x="1866" y="1040"/>
                    <a:pt x="1862" y="1033"/>
                    <a:pt x="1866" y="1029"/>
                  </a:cubicBezTo>
                  <a:cubicBezTo>
                    <a:pt x="1862" y="1029"/>
                    <a:pt x="1861" y="1031"/>
                    <a:pt x="1859" y="1029"/>
                  </a:cubicBezTo>
                  <a:cubicBezTo>
                    <a:pt x="1862" y="1019"/>
                    <a:pt x="1878" y="1015"/>
                    <a:pt x="1884" y="1027"/>
                  </a:cubicBezTo>
                  <a:cubicBezTo>
                    <a:pt x="1878" y="1027"/>
                    <a:pt x="1882" y="1040"/>
                    <a:pt x="1884" y="1038"/>
                  </a:cubicBezTo>
                  <a:cubicBezTo>
                    <a:pt x="1882" y="1027"/>
                    <a:pt x="1896" y="1024"/>
                    <a:pt x="1896" y="1015"/>
                  </a:cubicBezTo>
                  <a:cubicBezTo>
                    <a:pt x="1885" y="1015"/>
                    <a:pt x="1893" y="1024"/>
                    <a:pt x="1884" y="1026"/>
                  </a:cubicBezTo>
                  <a:cubicBezTo>
                    <a:pt x="1878" y="1020"/>
                    <a:pt x="1882" y="1015"/>
                    <a:pt x="1875" y="1015"/>
                  </a:cubicBezTo>
                  <a:cubicBezTo>
                    <a:pt x="1887" y="1010"/>
                    <a:pt x="1893" y="1008"/>
                    <a:pt x="1898" y="1001"/>
                  </a:cubicBezTo>
                  <a:cubicBezTo>
                    <a:pt x="1900" y="1004"/>
                    <a:pt x="1894" y="1006"/>
                    <a:pt x="1898" y="1011"/>
                  </a:cubicBezTo>
                  <a:cubicBezTo>
                    <a:pt x="1907" y="1010"/>
                    <a:pt x="1900" y="1003"/>
                    <a:pt x="1903" y="999"/>
                  </a:cubicBezTo>
                  <a:cubicBezTo>
                    <a:pt x="1907" y="999"/>
                    <a:pt x="1912" y="997"/>
                    <a:pt x="1916" y="1003"/>
                  </a:cubicBezTo>
                  <a:cubicBezTo>
                    <a:pt x="1926" y="985"/>
                    <a:pt x="1940" y="985"/>
                    <a:pt x="1962" y="974"/>
                  </a:cubicBezTo>
                  <a:cubicBezTo>
                    <a:pt x="1962" y="964"/>
                    <a:pt x="1951" y="980"/>
                    <a:pt x="1948" y="972"/>
                  </a:cubicBezTo>
                  <a:cubicBezTo>
                    <a:pt x="1964" y="953"/>
                    <a:pt x="1987" y="944"/>
                    <a:pt x="2004" y="925"/>
                  </a:cubicBezTo>
                  <a:cubicBezTo>
                    <a:pt x="2004" y="928"/>
                    <a:pt x="2003" y="930"/>
                    <a:pt x="2003" y="933"/>
                  </a:cubicBezTo>
                  <a:cubicBezTo>
                    <a:pt x="2010" y="917"/>
                    <a:pt x="2024" y="925"/>
                    <a:pt x="2022" y="914"/>
                  </a:cubicBezTo>
                  <a:cubicBezTo>
                    <a:pt x="2054" y="912"/>
                    <a:pt x="2113" y="875"/>
                    <a:pt x="2145" y="875"/>
                  </a:cubicBezTo>
                  <a:cubicBezTo>
                    <a:pt x="2159" y="868"/>
                    <a:pt x="2171" y="847"/>
                    <a:pt x="2189" y="857"/>
                  </a:cubicBezTo>
                  <a:cubicBezTo>
                    <a:pt x="2193" y="845"/>
                    <a:pt x="2216" y="845"/>
                    <a:pt x="2219" y="836"/>
                  </a:cubicBezTo>
                  <a:cubicBezTo>
                    <a:pt x="2216" y="836"/>
                    <a:pt x="2217" y="832"/>
                    <a:pt x="2219" y="831"/>
                  </a:cubicBezTo>
                  <a:cubicBezTo>
                    <a:pt x="2253" y="825"/>
                    <a:pt x="2258" y="799"/>
                    <a:pt x="2297" y="790"/>
                  </a:cubicBezTo>
                  <a:cubicBezTo>
                    <a:pt x="2290" y="779"/>
                    <a:pt x="2274" y="804"/>
                    <a:pt x="2269" y="786"/>
                  </a:cubicBezTo>
                  <a:cubicBezTo>
                    <a:pt x="2249" y="793"/>
                    <a:pt x="2241" y="790"/>
                    <a:pt x="2223" y="799"/>
                  </a:cubicBezTo>
                  <a:cubicBezTo>
                    <a:pt x="2226" y="797"/>
                    <a:pt x="2230" y="795"/>
                    <a:pt x="2228" y="793"/>
                  </a:cubicBezTo>
                  <a:cubicBezTo>
                    <a:pt x="2226" y="793"/>
                    <a:pt x="2225" y="795"/>
                    <a:pt x="2223" y="793"/>
                  </a:cubicBezTo>
                  <a:cubicBezTo>
                    <a:pt x="2233" y="790"/>
                    <a:pt x="2237" y="786"/>
                    <a:pt x="2237" y="779"/>
                  </a:cubicBezTo>
                  <a:cubicBezTo>
                    <a:pt x="2225" y="786"/>
                    <a:pt x="2207" y="797"/>
                    <a:pt x="2191" y="795"/>
                  </a:cubicBezTo>
                  <a:cubicBezTo>
                    <a:pt x="2191" y="784"/>
                    <a:pt x="2221" y="783"/>
                    <a:pt x="2219" y="777"/>
                  </a:cubicBezTo>
                  <a:cubicBezTo>
                    <a:pt x="2207" y="779"/>
                    <a:pt x="2193" y="779"/>
                    <a:pt x="2178" y="783"/>
                  </a:cubicBezTo>
                  <a:cubicBezTo>
                    <a:pt x="2182" y="774"/>
                    <a:pt x="2173" y="784"/>
                    <a:pt x="2171" y="777"/>
                  </a:cubicBezTo>
                  <a:cubicBezTo>
                    <a:pt x="2176" y="769"/>
                    <a:pt x="2183" y="770"/>
                    <a:pt x="2189" y="767"/>
                  </a:cubicBezTo>
                  <a:cubicBezTo>
                    <a:pt x="2186" y="768"/>
                    <a:pt x="2179" y="763"/>
                    <a:pt x="2184" y="761"/>
                  </a:cubicBezTo>
                  <a:cubicBezTo>
                    <a:pt x="2191" y="761"/>
                    <a:pt x="2191" y="758"/>
                    <a:pt x="2198" y="754"/>
                  </a:cubicBezTo>
                  <a:cubicBezTo>
                    <a:pt x="2198" y="758"/>
                    <a:pt x="2193" y="765"/>
                    <a:pt x="2200" y="763"/>
                  </a:cubicBezTo>
                  <a:cubicBezTo>
                    <a:pt x="2205" y="754"/>
                    <a:pt x="2214" y="740"/>
                    <a:pt x="2225" y="747"/>
                  </a:cubicBezTo>
                  <a:cubicBezTo>
                    <a:pt x="2223" y="744"/>
                    <a:pt x="2219" y="744"/>
                    <a:pt x="2217" y="740"/>
                  </a:cubicBezTo>
                  <a:cubicBezTo>
                    <a:pt x="2223" y="738"/>
                    <a:pt x="2228" y="737"/>
                    <a:pt x="2228" y="733"/>
                  </a:cubicBezTo>
                  <a:cubicBezTo>
                    <a:pt x="2232" y="738"/>
                    <a:pt x="2232" y="738"/>
                    <a:pt x="2232" y="738"/>
                  </a:cubicBezTo>
                  <a:cubicBezTo>
                    <a:pt x="2241" y="730"/>
                    <a:pt x="2244" y="722"/>
                    <a:pt x="2248" y="714"/>
                  </a:cubicBezTo>
                  <a:cubicBezTo>
                    <a:pt x="2255" y="712"/>
                    <a:pt x="2280" y="706"/>
                    <a:pt x="2278" y="696"/>
                  </a:cubicBezTo>
                  <a:cubicBezTo>
                    <a:pt x="2267" y="698"/>
                    <a:pt x="2258" y="715"/>
                    <a:pt x="2246" y="705"/>
                  </a:cubicBezTo>
                  <a:cubicBezTo>
                    <a:pt x="2219" y="717"/>
                    <a:pt x="2187" y="728"/>
                    <a:pt x="2173" y="738"/>
                  </a:cubicBezTo>
                  <a:cubicBezTo>
                    <a:pt x="2162" y="745"/>
                    <a:pt x="2145" y="747"/>
                    <a:pt x="2138" y="753"/>
                  </a:cubicBezTo>
                  <a:cubicBezTo>
                    <a:pt x="2129" y="758"/>
                    <a:pt x="2118" y="770"/>
                    <a:pt x="2106" y="761"/>
                  </a:cubicBezTo>
                  <a:cubicBezTo>
                    <a:pt x="2114" y="763"/>
                    <a:pt x="2118" y="753"/>
                    <a:pt x="2127" y="754"/>
                  </a:cubicBezTo>
                  <a:cubicBezTo>
                    <a:pt x="2129" y="749"/>
                    <a:pt x="2122" y="751"/>
                    <a:pt x="2125" y="747"/>
                  </a:cubicBezTo>
                  <a:cubicBezTo>
                    <a:pt x="2226" y="717"/>
                    <a:pt x="2308" y="627"/>
                    <a:pt x="2416" y="584"/>
                  </a:cubicBezTo>
                  <a:cubicBezTo>
                    <a:pt x="2406" y="566"/>
                    <a:pt x="2439" y="559"/>
                    <a:pt x="2450" y="561"/>
                  </a:cubicBezTo>
                  <a:cubicBezTo>
                    <a:pt x="2450" y="547"/>
                    <a:pt x="2468" y="554"/>
                    <a:pt x="2466" y="543"/>
                  </a:cubicBezTo>
                  <a:cubicBezTo>
                    <a:pt x="2459" y="542"/>
                    <a:pt x="2448" y="552"/>
                    <a:pt x="2443" y="543"/>
                  </a:cubicBezTo>
                  <a:cubicBezTo>
                    <a:pt x="2441" y="540"/>
                    <a:pt x="2434" y="533"/>
                    <a:pt x="2438" y="531"/>
                  </a:cubicBezTo>
                  <a:cubicBezTo>
                    <a:pt x="2459" y="517"/>
                    <a:pt x="2482" y="527"/>
                    <a:pt x="2487" y="511"/>
                  </a:cubicBezTo>
                  <a:cubicBezTo>
                    <a:pt x="2475" y="519"/>
                    <a:pt x="2459" y="508"/>
                    <a:pt x="2441" y="517"/>
                  </a:cubicBezTo>
                  <a:cubicBezTo>
                    <a:pt x="2443" y="515"/>
                    <a:pt x="2434" y="499"/>
                    <a:pt x="2436" y="506"/>
                  </a:cubicBezTo>
                  <a:cubicBezTo>
                    <a:pt x="2445" y="520"/>
                    <a:pt x="2427" y="513"/>
                    <a:pt x="2427" y="524"/>
                  </a:cubicBezTo>
                  <a:cubicBezTo>
                    <a:pt x="2420" y="526"/>
                    <a:pt x="2416" y="522"/>
                    <a:pt x="2411" y="517"/>
                  </a:cubicBezTo>
                  <a:cubicBezTo>
                    <a:pt x="2413" y="504"/>
                    <a:pt x="2429" y="499"/>
                    <a:pt x="2432" y="488"/>
                  </a:cubicBezTo>
                  <a:cubicBezTo>
                    <a:pt x="2427" y="480"/>
                    <a:pt x="2420" y="480"/>
                    <a:pt x="2415" y="487"/>
                  </a:cubicBezTo>
                  <a:cubicBezTo>
                    <a:pt x="2377" y="485"/>
                    <a:pt x="2338" y="527"/>
                    <a:pt x="2304" y="536"/>
                  </a:cubicBezTo>
                  <a:cubicBezTo>
                    <a:pt x="2301" y="538"/>
                    <a:pt x="2299" y="533"/>
                    <a:pt x="2294" y="536"/>
                  </a:cubicBezTo>
                  <a:cubicBezTo>
                    <a:pt x="2280" y="547"/>
                    <a:pt x="2257" y="572"/>
                    <a:pt x="2233" y="563"/>
                  </a:cubicBezTo>
                  <a:cubicBezTo>
                    <a:pt x="2223" y="572"/>
                    <a:pt x="2212" y="573"/>
                    <a:pt x="2198" y="579"/>
                  </a:cubicBezTo>
                  <a:cubicBezTo>
                    <a:pt x="2201" y="584"/>
                    <a:pt x="2198" y="589"/>
                    <a:pt x="2191" y="591"/>
                  </a:cubicBezTo>
                  <a:cubicBezTo>
                    <a:pt x="2191" y="586"/>
                    <a:pt x="2189" y="588"/>
                    <a:pt x="2186" y="582"/>
                  </a:cubicBezTo>
                  <a:cubicBezTo>
                    <a:pt x="2191" y="579"/>
                    <a:pt x="2196" y="577"/>
                    <a:pt x="2198" y="572"/>
                  </a:cubicBezTo>
                  <a:cubicBezTo>
                    <a:pt x="2194" y="570"/>
                    <a:pt x="2187" y="577"/>
                    <a:pt x="2186" y="568"/>
                  </a:cubicBezTo>
                  <a:cubicBezTo>
                    <a:pt x="2198" y="561"/>
                    <a:pt x="2198" y="550"/>
                    <a:pt x="2209" y="543"/>
                  </a:cubicBezTo>
                  <a:cubicBezTo>
                    <a:pt x="2205" y="545"/>
                    <a:pt x="2203" y="540"/>
                    <a:pt x="2198" y="545"/>
                  </a:cubicBezTo>
                  <a:cubicBezTo>
                    <a:pt x="2194" y="559"/>
                    <a:pt x="2175" y="568"/>
                    <a:pt x="2178" y="586"/>
                  </a:cubicBezTo>
                  <a:cubicBezTo>
                    <a:pt x="2173" y="586"/>
                    <a:pt x="2166" y="579"/>
                    <a:pt x="2168" y="573"/>
                  </a:cubicBezTo>
                  <a:cubicBezTo>
                    <a:pt x="2148" y="570"/>
                    <a:pt x="2130" y="589"/>
                    <a:pt x="2113" y="589"/>
                  </a:cubicBezTo>
                  <a:cubicBezTo>
                    <a:pt x="2109" y="582"/>
                    <a:pt x="2116" y="579"/>
                    <a:pt x="2116" y="572"/>
                  </a:cubicBezTo>
                  <a:cubicBezTo>
                    <a:pt x="2102" y="577"/>
                    <a:pt x="2114" y="566"/>
                    <a:pt x="2113" y="561"/>
                  </a:cubicBezTo>
                  <a:cubicBezTo>
                    <a:pt x="2106" y="573"/>
                    <a:pt x="2088" y="579"/>
                    <a:pt x="2075" y="589"/>
                  </a:cubicBezTo>
                  <a:cubicBezTo>
                    <a:pt x="1967" y="609"/>
                    <a:pt x="1869" y="685"/>
                    <a:pt x="1772" y="714"/>
                  </a:cubicBezTo>
                  <a:cubicBezTo>
                    <a:pt x="1747" y="731"/>
                    <a:pt x="1718" y="744"/>
                    <a:pt x="1702" y="754"/>
                  </a:cubicBezTo>
                  <a:cubicBezTo>
                    <a:pt x="1701" y="758"/>
                    <a:pt x="1697" y="761"/>
                    <a:pt x="1695" y="765"/>
                  </a:cubicBezTo>
                  <a:cubicBezTo>
                    <a:pt x="1695" y="765"/>
                    <a:pt x="1695" y="763"/>
                    <a:pt x="1694" y="761"/>
                  </a:cubicBezTo>
                  <a:cubicBezTo>
                    <a:pt x="1695" y="761"/>
                    <a:pt x="1697" y="760"/>
                    <a:pt x="1697" y="760"/>
                  </a:cubicBezTo>
                  <a:cubicBezTo>
                    <a:pt x="1695" y="760"/>
                    <a:pt x="1694" y="760"/>
                    <a:pt x="1694" y="760"/>
                  </a:cubicBezTo>
                  <a:cubicBezTo>
                    <a:pt x="1692" y="760"/>
                    <a:pt x="1692" y="758"/>
                    <a:pt x="1692" y="758"/>
                  </a:cubicBezTo>
                  <a:cubicBezTo>
                    <a:pt x="1690" y="760"/>
                    <a:pt x="1690" y="760"/>
                    <a:pt x="1688" y="760"/>
                  </a:cubicBezTo>
                  <a:cubicBezTo>
                    <a:pt x="1681" y="763"/>
                    <a:pt x="1676" y="772"/>
                    <a:pt x="1669" y="772"/>
                  </a:cubicBezTo>
                  <a:cubicBezTo>
                    <a:pt x="1665" y="770"/>
                    <a:pt x="1663" y="767"/>
                    <a:pt x="1660" y="765"/>
                  </a:cubicBezTo>
                  <a:cubicBezTo>
                    <a:pt x="1647" y="763"/>
                    <a:pt x="1642" y="774"/>
                    <a:pt x="1631" y="767"/>
                  </a:cubicBezTo>
                  <a:cubicBezTo>
                    <a:pt x="1655" y="749"/>
                    <a:pt x="1655" y="765"/>
                    <a:pt x="1672" y="756"/>
                  </a:cubicBezTo>
                  <a:cubicBezTo>
                    <a:pt x="1671" y="756"/>
                    <a:pt x="1669" y="756"/>
                    <a:pt x="1671" y="754"/>
                  </a:cubicBezTo>
                  <a:cubicBezTo>
                    <a:pt x="1674" y="751"/>
                    <a:pt x="1678" y="751"/>
                    <a:pt x="1681" y="749"/>
                  </a:cubicBezTo>
                  <a:cubicBezTo>
                    <a:pt x="1681" y="751"/>
                    <a:pt x="1681" y="753"/>
                    <a:pt x="1685" y="756"/>
                  </a:cubicBezTo>
                  <a:cubicBezTo>
                    <a:pt x="1692" y="758"/>
                    <a:pt x="1688" y="751"/>
                    <a:pt x="1683" y="747"/>
                  </a:cubicBezTo>
                  <a:cubicBezTo>
                    <a:pt x="1688" y="745"/>
                    <a:pt x="1694" y="744"/>
                    <a:pt x="1699" y="738"/>
                  </a:cubicBezTo>
                  <a:cubicBezTo>
                    <a:pt x="1704" y="740"/>
                    <a:pt x="1724" y="747"/>
                    <a:pt x="1715" y="731"/>
                  </a:cubicBezTo>
                  <a:cubicBezTo>
                    <a:pt x="1710" y="737"/>
                    <a:pt x="1701" y="742"/>
                    <a:pt x="1694" y="733"/>
                  </a:cubicBezTo>
                  <a:cubicBezTo>
                    <a:pt x="1676" y="737"/>
                    <a:pt x="1674" y="758"/>
                    <a:pt x="1660" y="754"/>
                  </a:cubicBezTo>
                  <a:cubicBezTo>
                    <a:pt x="1667" y="749"/>
                    <a:pt x="1672" y="744"/>
                    <a:pt x="1672" y="737"/>
                  </a:cubicBezTo>
                  <a:cubicBezTo>
                    <a:pt x="1663" y="738"/>
                    <a:pt x="1669" y="747"/>
                    <a:pt x="1660" y="749"/>
                  </a:cubicBezTo>
                  <a:cubicBezTo>
                    <a:pt x="1658" y="745"/>
                    <a:pt x="1662" y="744"/>
                    <a:pt x="1660" y="742"/>
                  </a:cubicBezTo>
                  <a:cubicBezTo>
                    <a:pt x="1653" y="749"/>
                    <a:pt x="1639" y="760"/>
                    <a:pt x="1631" y="753"/>
                  </a:cubicBezTo>
                  <a:cubicBezTo>
                    <a:pt x="1646" y="742"/>
                    <a:pt x="1658" y="733"/>
                    <a:pt x="1669" y="724"/>
                  </a:cubicBezTo>
                  <a:cubicBezTo>
                    <a:pt x="1671" y="728"/>
                    <a:pt x="1672" y="733"/>
                    <a:pt x="1672" y="728"/>
                  </a:cubicBezTo>
                  <a:cubicBezTo>
                    <a:pt x="1671" y="724"/>
                    <a:pt x="1671" y="724"/>
                    <a:pt x="1671" y="724"/>
                  </a:cubicBezTo>
                  <a:cubicBezTo>
                    <a:pt x="1649" y="722"/>
                    <a:pt x="1649" y="744"/>
                    <a:pt x="1631" y="735"/>
                  </a:cubicBezTo>
                  <a:cubicBezTo>
                    <a:pt x="1640" y="731"/>
                    <a:pt x="1646" y="721"/>
                    <a:pt x="1655" y="724"/>
                  </a:cubicBezTo>
                  <a:cubicBezTo>
                    <a:pt x="1653" y="712"/>
                    <a:pt x="1671" y="701"/>
                    <a:pt x="1681" y="699"/>
                  </a:cubicBezTo>
                  <a:cubicBezTo>
                    <a:pt x="1647" y="696"/>
                    <a:pt x="1640" y="730"/>
                    <a:pt x="1617" y="744"/>
                  </a:cubicBezTo>
                  <a:cubicBezTo>
                    <a:pt x="1612" y="737"/>
                    <a:pt x="1626" y="730"/>
                    <a:pt x="1615" y="726"/>
                  </a:cubicBezTo>
                  <a:cubicBezTo>
                    <a:pt x="1596" y="751"/>
                    <a:pt x="1552" y="747"/>
                    <a:pt x="1527" y="760"/>
                  </a:cubicBezTo>
                  <a:cubicBezTo>
                    <a:pt x="1546" y="742"/>
                    <a:pt x="1564" y="730"/>
                    <a:pt x="1585" y="724"/>
                  </a:cubicBezTo>
                  <a:cubicBezTo>
                    <a:pt x="1591" y="722"/>
                    <a:pt x="1578" y="721"/>
                    <a:pt x="1584" y="719"/>
                  </a:cubicBezTo>
                  <a:cubicBezTo>
                    <a:pt x="1603" y="719"/>
                    <a:pt x="1631" y="698"/>
                    <a:pt x="1653" y="682"/>
                  </a:cubicBezTo>
                  <a:cubicBezTo>
                    <a:pt x="1653" y="685"/>
                    <a:pt x="1651" y="687"/>
                    <a:pt x="1655" y="689"/>
                  </a:cubicBezTo>
                  <a:cubicBezTo>
                    <a:pt x="1660" y="667"/>
                    <a:pt x="1687" y="669"/>
                    <a:pt x="1697" y="659"/>
                  </a:cubicBezTo>
                  <a:cubicBezTo>
                    <a:pt x="1695" y="659"/>
                    <a:pt x="1694" y="660"/>
                    <a:pt x="1692" y="659"/>
                  </a:cubicBezTo>
                  <a:cubicBezTo>
                    <a:pt x="1722" y="650"/>
                    <a:pt x="1761" y="634"/>
                    <a:pt x="1782" y="611"/>
                  </a:cubicBezTo>
                  <a:cubicBezTo>
                    <a:pt x="1786" y="618"/>
                    <a:pt x="1786" y="618"/>
                    <a:pt x="1786" y="618"/>
                  </a:cubicBezTo>
                  <a:cubicBezTo>
                    <a:pt x="1813" y="597"/>
                    <a:pt x="1852" y="568"/>
                    <a:pt x="1889" y="563"/>
                  </a:cubicBezTo>
                  <a:cubicBezTo>
                    <a:pt x="1887" y="559"/>
                    <a:pt x="1887" y="556"/>
                    <a:pt x="1893" y="554"/>
                  </a:cubicBezTo>
                  <a:cubicBezTo>
                    <a:pt x="1976" y="522"/>
                    <a:pt x="2059" y="458"/>
                    <a:pt x="2139" y="430"/>
                  </a:cubicBezTo>
                  <a:cubicBezTo>
                    <a:pt x="2138" y="430"/>
                    <a:pt x="2134" y="430"/>
                    <a:pt x="2134" y="426"/>
                  </a:cubicBezTo>
                  <a:cubicBezTo>
                    <a:pt x="2175" y="423"/>
                    <a:pt x="2203" y="403"/>
                    <a:pt x="2235" y="387"/>
                  </a:cubicBezTo>
                  <a:cubicBezTo>
                    <a:pt x="2241" y="387"/>
                    <a:pt x="2246" y="393"/>
                    <a:pt x="2251" y="394"/>
                  </a:cubicBezTo>
                  <a:cubicBezTo>
                    <a:pt x="2246" y="386"/>
                    <a:pt x="2246" y="391"/>
                    <a:pt x="2239" y="382"/>
                  </a:cubicBezTo>
                  <a:cubicBezTo>
                    <a:pt x="2258" y="384"/>
                    <a:pt x="2278" y="373"/>
                    <a:pt x="2292" y="362"/>
                  </a:cubicBezTo>
                  <a:cubicBezTo>
                    <a:pt x="2296" y="368"/>
                    <a:pt x="2296" y="368"/>
                    <a:pt x="2296" y="368"/>
                  </a:cubicBezTo>
                  <a:cubicBezTo>
                    <a:pt x="2303" y="354"/>
                    <a:pt x="2317" y="345"/>
                    <a:pt x="2331" y="347"/>
                  </a:cubicBezTo>
                  <a:cubicBezTo>
                    <a:pt x="2328" y="347"/>
                    <a:pt x="2328" y="343"/>
                    <a:pt x="2326" y="341"/>
                  </a:cubicBezTo>
                  <a:cubicBezTo>
                    <a:pt x="2335" y="334"/>
                    <a:pt x="2342" y="329"/>
                    <a:pt x="2347" y="336"/>
                  </a:cubicBezTo>
                  <a:cubicBezTo>
                    <a:pt x="2351" y="331"/>
                    <a:pt x="2358" y="329"/>
                    <a:pt x="2365" y="334"/>
                  </a:cubicBezTo>
                  <a:cubicBezTo>
                    <a:pt x="2372" y="329"/>
                    <a:pt x="2360" y="325"/>
                    <a:pt x="2363" y="320"/>
                  </a:cubicBezTo>
                  <a:cubicBezTo>
                    <a:pt x="2400" y="308"/>
                    <a:pt x="2443" y="290"/>
                    <a:pt x="2487" y="269"/>
                  </a:cubicBezTo>
                  <a:cubicBezTo>
                    <a:pt x="2530" y="247"/>
                    <a:pt x="2573" y="222"/>
                    <a:pt x="2610" y="201"/>
                  </a:cubicBezTo>
                  <a:cubicBezTo>
                    <a:pt x="2544" y="230"/>
                    <a:pt x="2479" y="258"/>
                    <a:pt x="2416" y="297"/>
                  </a:cubicBezTo>
                  <a:cubicBezTo>
                    <a:pt x="2413" y="292"/>
                    <a:pt x="2406" y="306"/>
                    <a:pt x="2404" y="295"/>
                  </a:cubicBezTo>
                  <a:cubicBezTo>
                    <a:pt x="2370" y="320"/>
                    <a:pt x="2315" y="325"/>
                    <a:pt x="2285" y="352"/>
                  </a:cubicBezTo>
                  <a:cubicBezTo>
                    <a:pt x="2283" y="350"/>
                    <a:pt x="2283" y="347"/>
                    <a:pt x="2280" y="347"/>
                  </a:cubicBezTo>
                  <a:cubicBezTo>
                    <a:pt x="2285" y="354"/>
                    <a:pt x="2280" y="357"/>
                    <a:pt x="2278" y="361"/>
                  </a:cubicBezTo>
                  <a:cubicBezTo>
                    <a:pt x="2269" y="354"/>
                    <a:pt x="2260" y="370"/>
                    <a:pt x="2246" y="364"/>
                  </a:cubicBezTo>
                  <a:cubicBezTo>
                    <a:pt x="2248" y="373"/>
                    <a:pt x="2221" y="375"/>
                    <a:pt x="2216" y="377"/>
                  </a:cubicBezTo>
                  <a:cubicBezTo>
                    <a:pt x="2214" y="380"/>
                    <a:pt x="2217" y="384"/>
                    <a:pt x="2214" y="387"/>
                  </a:cubicBezTo>
                  <a:cubicBezTo>
                    <a:pt x="2209" y="380"/>
                    <a:pt x="2205" y="393"/>
                    <a:pt x="2198" y="387"/>
                  </a:cubicBezTo>
                  <a:cubicBezTo>
                    <a:pt x="2196" y="398"/>
                    <a:pt x="2184" y="398"/>
                    <a:pt x="2177" y="405"/>
                  </a:cubicBezTo>
                  <a:cubicBezTo>
                    <a:pt x="2168" y="393"/>
                    <a:pt x="2161" y="405"/>
                    <a:pt x="2150" y="409"/>
                  </a:cubicBezTo>
                  <a:cubicBezTo>
                    <a:pt x="2148" y="414"/>
                    <a:pt x="2155" y="414"/>
                    <a:pt x="2152" y="416"/>
                  </a:cubicBezTo>
                  <a:cubicBezTo>
                    <a:pt x="2100" y="433"/>
                    <a:pt x="2058" y="460"/>
                    <a:pt x="2001" y="476"/>
                  </a:cubicBezTo>
                  <a:cubicBezTo>
                    <a:pt x="2001" y="476"/>
                    <a:pt x="2004" y="474"/>
                    <a:pt x="2003" y="472"/>
                  </a:cubicBezTo>
                  <a:cubicBezTo>
                    <a:pt x="1995" y="474"/>
                    <a:pt x="2003" y="480"/>
                    <a:pt x="1995" y="481"/>
                  </a:cubicBezTo>
                  <a:cubicBezTo>
                    <a:pt x="1994" y="476"/>
                    <a:pt x="1990" y="480"/>
                    <a:pt x="1992" y="472"/>
                  </a:cubicBezTo>
                  <a:cubicBezTo>
                    <a:pt x="1985" y="481"/>
                    <a:pt x="1971" y="483"/>
                    <a:pt x="1960" y="485"/>
                  </a:cubicBezTo>
                  <a:cubicBezTo>
                    <a:pt x="1962" y="492"/>
                    <a:pt x="1965" y="488"/>
                    <a:pt x="1969" y="492"/>
                  </a:cubicBezTo>
                  <a:cubicBezTo>
                    <a:pt x="1964" y="494"/>
                    <a:pt x="1965" y="497"/>
                    <a:pt x="1960" y="497"/>
                  </a:cubicBezTo>
                  <a:cubicBezTo>
                    <a:pt x="1958" y="494"/>
                    <a:pt x="1964" y="494"/>
                    <a:pt x="1960" y="488"/>
                  </a:cubicBezTo>
                  <a:cubicBezTo>
                    <a:pt x="1949" y="490"/>
                    <a:pt x="1956" y="497"/>
                    <a:pt x="1946" y="499"/>
                  </a:cubicBezTo>
                  <a:cubicBezTo>
                    <a:pt x="1942" y="488"/>
                    <a:pt x="1935" y="501"/>
                    <a:pt x="1926" y="497"/>
                  </a:cubicBezTo>
                  <a:cubicBezTo>
                    <a:pt x="1926" y="508"/>
                    <a:pt x="1926" y="508"/>
                    <a:pt x="1930" y="511"/>
                  </a:cubicBezTo>
                  <a:cubicBezTo>
                    <a:pt x="1923" y="513"/>
                    <a:pt x="1919" y="513"/>
                    <a:pt x="1919" y="520"/>
                  </a:cubicBezTo>
                  <a:cubicBezTo>
                    <a:pt x="1916" y="513"/>
                    <a:pt x="1916" y="513"/>
                    <a:pt x="1916" y="513"/>
                  </a:cubicBezTo>
                  <a:cubicBezTo>
                    <a:pt x="1914" y="517"/>
                    <a:pt x="1901" y="531"/>
                    <a:pt x="1896" y="524"/>
                  </a:cubicBezTo>
                  <a:cubicBezTo>
                    <a:pt x="1905" y="522"/>
                    <a:pt x="1907" y="506"/>
                    <a:pt x="1921" y="511"/>
                  </a:cubicBezTo>
                  <a:cubicBezTo>
                    <a:pt x="1912" y="494"/>
                    <a:pt x="1885" y="531"/>
                    <a:pt x="1873" y="519"/>
                  </a:cubicBezTo>
                  <a:cubicBezTo>
                    <a:pt x="1912" y="497"/>
                    <a:pt x="1946" y="485"/>
                    <a:pt x="1990" y="465"/>
                  </a:cubicBezTo>
                  <a:cubicBezTo>
                    <a:pt x="1988" y="462"/>
                    <a:pt x="1985" y="462"/>
                    <a:pt x="1987" y="460"/>
                  </a:cubicBezTo>
                  <a:cubicBezTo>
                    <a:pt x="1992" y="460"/>
                    <a:pt x="1997" y="453"/>
                    <a:pt x="1999" y="456"/>
                  </a:cubicBezTo>
                  <a:cubicBezTo>
                    <a:pt x="1999" y="464"/>
                    <a:pt x="1988" y="455"/>
                    <a:pt x="1994" y="464"/>
                  </a:cubicBezTo>
                  <a:cubicBezTo>
                    <a:pt x="2004" y="460"/>
                    <a:pt x="2020" y="451"/>
                    <a:pt x="2026" y="448"/>
                  </a:cubicBezTo>
                  <a:cubicBezTo>
                    <a:pt x="2020" y="449"/>
                    <a:pt x="2010" y="448"/>
                    <a:pt x="2015" y="440"/>
                  </a:cubicBezTo>
                  <a:cubicBezTo>
                    <a:pt x="2052" y="433"/>
                    <a:pt x="2090" y="409"/>
                    <a:pt x="2120" y="396"/>
                  </a:cubicBezTo>
                  <a:cubicBezTo>
                    <a:pt x="2164" y="377"/>
                    <a:pt x="2210" y="361"/>
                    <a:pt x="2258" y="343"/>
                  </a:cubicBezTo>
                  <a:cubicBezTo>
                    <a:pt x="2260" y="347"/>
                    <a:pt x="2260" y="347"/>
                    <a:pt x="2260" y="347"/>
                  </a:cubicBezTo>
                  <a:cubicBezTo>
                    <a:pt x="2274" y="329"/>
                    <a:pt x="2296" y="336"/>
                    <a:pt x="2304" y="318"/>
                  </a:cubicBezTo>
                  <a:cubicBezTo>
                    <a:pt x="2312" y="316"/>
                    <a:pt x="2317" y="316"/>
                    <a:pt x="2320" y="322"/>
                  </a:cubicBezTo>
                  <a:cubicBezTo>
                    <a:pt x="2324" y="320"/>
                    <a:pt x="2333" y="320"/>
                    <a:pt x="2331" y="315"/>
                  </a:cubicBezTo>
                  <a:cubicBezTo>
                    <a:pt x="2324" y="320"/>
                    <a:pt x="2317" y="318"/>
                    <a:pt x="2313" y="311"/>
                  </a:cubicBezTo>
                  <a:cubicBezTo>
                    <a:pt x="2322" y="306"/>
                    <a:pt x="2351" y="293"/>
                    <a:pt x="2365" y="292"/>
                  </a:cubicBezTo>
                  <a:cubicBezTo>
                    <a:pt x="2379" y="274"/>
                    <a:pt x="2409" y="269"/>
                    <a:pt x="2422" y="254"/>
                  </a:cubicBezTo>
                  <a:cubicBezTo>
                    <a:pt x="2407" y="253"/>
                    <a:pt x="2390" y="279"/>
                    <a:pt x="2377" y="260"/>
                  </a:cubicBezTo>
                  <a:cubicBezTo>
                    <a:pt x="2392" y="258"/>
                    <a:pt x="2393" y="240"/>
                    <a:pt x="2409" y="242"/>
                  </a:cubicBezTo>
                  <a:cubicBezTo>
                    <a:pt x="2406" y="235"/>
                    <a:pt x="2411" y="233"/>
                    <a:pt x="2420" y="231"/>
                  </a:cubicBezTo>
                  <a:cubicBezTo>
                    <a:pt x="2420" y="212"/>
                    <a:pt x="2457" y="215"/>
                    <a:pt x="2466" y="196"/>
                  </a:cubicBezTo>
                  <a:cubicBezTo>
                    <a:pt x="2473" y="199"/>
                    <a:pt x="2480" y="199"/>
                    <a:pt x="2487" y="198"/>
                  </a:cubicBezTo>
                  <a:cubicBezTo>
                    <a:pt x="2486" y="190"/>
                    <a:pt x="2480" y="199"/>
                    <a:pt x="2482" y="190"/>
                  </a:cubicBezTo>
                  <a:cubicBezTo>
                    <a:pt x="2479" y="190"/>
                    <a:pt x="2473" y="199"/>
                    <a:pt x="2470" y="194"/>
                  </a:cubicBezTo>
                  <a:cubicBezTo>
                    <a:pt x="2509" y="171"/>
                    <a:pt x="2534" y="151"/>
                    <a:pt x="2567" y="132"/>
                  </a:cubicBezTo>
                  <a:cubicBezTo>
                    <a:pt x="2557" y="112"/>
                    <a:pt x="2585" y="118"/>
                    <a:pt x="2589" y="111"/>
                  </a:cubicBezTo>
                  <a:cubicBezTo>
                    <a:pt x="2576" y="105"/>
                    <a:pt x="2605" y="102"/>
                    <a:pt x="2610" y="98"/>
                  </a:cubicBezTo>
                  <a:cubicBezTo>
                    <a:pt x="2628" y="89"/>
                    <a:pt x="2642" y="73"/>
                    <a:pt x="2649" y="65"/>
                  </a:cubicBezTo>
                  <a:cubicBezTo>
                    <a:pt x="2635" y="59"/>
                    <a:pt x="2633" y="79"/>
                    <a:pt x="2619" y="79"/>
                  </a:cubicBezTo>
                  <a:cubicBezTo>
                    <a:pt x="2617" y="73"/>
                    <a:pt x="2615" y="68"/>
                    <a:pt x="2619" y="65"/>
                  </a:cubicBezTo>
                  <a:cubicBezTo>
                    <a:pt x="2622" y="68"/>
                    <a:pt x="2631" y="59"/>
                    <a:pt x="2626" y="54"/>
                  </a:cubicBezTo>
                  <a:cubicBezTo>
                    <a:pt x="2617" y="61"/>
                    <a:pt x="2610" y="61"/>
                    <a:pt x="2601" y="61"/>
                  </a:cubicBezTo>
                  <a:cubicBezTo>
                    <a:pt x="2608" y="50"/>
                    <a:pt x="2615" y="31"/>
                    <a:pt x="2633" y="36"/>
                  </a:cubicBezTo>
                  <a:cubicBezTo>
                    <a:pt x="2637" y="24"/>
                    <a:pt x="2653" y="22"/>
                    <a:pt x="2667" y="10"/>
                  </a:cubicBezTo>
                  <a:cubicBezTo>
                    <a:pt x="2662" y="6"/>
                    <a:pt x="2663" y="3"/>
                    <a:pt x="2667" y="0"/>
                  </a:cubicBezTo>
                  <a:cubicBezTo>
                    <a:pt x="2236" y="0"/>
                    <a:pt x="2236" y="0"/>
                    <a:pt x="2236" y="0"/>
                  </a:cubicBezTo>
                  <a:cubicBezTo>
                    <a:pt x="2232" y="3"/>
                    <a:pt x="2226" y="4"/>
                    <a:pt x="2225" y="0"/>
                  </a:cubicBezTo>
                  <a:close/>
                  <a:moveTo>
                    <a:pt x="21" y="527"/>
                  </a:moveTo>
                  <a:cubicBezTo>
                    <a:pt x="26" y="529"/>
                    <a:pt x="30" y="526"/>
                    <a:pt x="35" y="533"/>
                  </a:cubicBezTo>
                  <a:cubicBezTo>
                    <a:pt x="30" y="536"/>
                    <a:pt x="24" y="534"/>
                    <a:pt x="21" y="527"/>
                  </a:cubicBezTo>
                  <a:close/>
                  <a:moveTo>
                    <a:pt x="39" y="533"/>
                  </a:moveTo>
                  <a:cubicBezTo>
                    <a:pt x="35" y="531"/>
                    <a:pt x="37" y="529"/>
                    <a:pt x="33" y="522"/>
                  </a:cubicBezTo>
                  <a:cubicBezTo>
                    <a:pt x="37" y="522"/>
                    <a:pt x="39" y="527"/>
                    <a:pt x="42" y="522"/>
                  </a:cubicBezTo>
                  <a:cubicBezTo>
                    <a:pt x="42" y="526"/>
                    <a:pt x="42" y="531"/>
                    <a:pt x="39" y="533"/>
                  </a:cubicBezTo>
                  <a:close/>
                  <a:moveTo>
                    <a:pt x="40" y="480"/>
                  </a:moveTo>
                  <a:cubicBezTo>
                    <a:pt x="35" y="471"/>
                    <a:pt x="49" y="478"/>
                    <a:pt x="51" y="487"/>
                  </a:cubicBezTo>
                  <a:cubicBezTo>
                    <a:pt x="47" y="487"/>
                    <a:pt x="44" y="474"/>
                    <a:pt x="40" y="480"/>
                  </a:cubicBezTo>
                  <a:close/>
                  <a:moveTo>
                    <a:pt x="72" y="517"/>
                  </a:moveTo>
                  <a:cubicBezTo>
                    <a:pt x="69" y="515"/>
                    <a:pt x="63" y="517"/>
                    <a:pt x="60" y="511"/>
                  </a:cubicBezTo>
                  <a:cubicBezTo>
                    <a:pt x="67" y="513"/>
                    <a:pt x="67" y="508"/>
                    <a:pt x="72" y="508"/>
                  </a:cubicBezTo>
                  <a:cubicBezTo>
                    <a:pt x="76" y="513"/>
                    <a:pt x="65" y="511"/>
                    <a:pt x="72" y="517"/>
                  </a:cubicBezTo>
                  <a:close/>
                  <a:moveTo>
                    <a:pt x="85" y="531"/>
                  </a:moveTo>
                  <a:cubicBezTo>
                    <a:pt x="85" y="527"/>
                    <a:pt x="85" y="524"/>
                    <a:pt x="81" y="520"/>
                  </a:cubicBezTo>
                  <a:cubicBezTo>
                    <a:pt x="88" y="517"/>
                    <a:pt x="95" y="531"/>
                    <a:pt x="85" y="531"/>
                  </a:cubicBezTo>
                  <a:close/>
                  <a:moveTo>
                    <a:pt x="106" y="545"/>
                  </a:moveTo>
                  <a:cubicBezTo>
                    <a:pt x="108" y="549"/>
                    <a:pt x="101" y="549"/>
                    <a:pt x="99" y="549"/>
                  </a:cubicBezTo>
                  <a:cubicBezTo>
                    <a:pt x="97" y="542"/>
                    <a:pt x="102" y="543"/>
                    <a:pt x="106" y="545"/>
                  </a:cubicBezTo>
                  <a:close/>
                  <a:moveTo>
                    <a:pt x="95" y="565"/>
                  </a:moveTo>
                  <a:cubicBezTo>
                    <a:pt x="101" y="558"/>
                    <a:pt x="104" y="572"/>
                    <a:pt x="108" y="568"/>
                  </a:cubicBezTo>
                  <a:cubicBezTo>
                    <a:pt x="110" y="573"/>
                    <a:pt x="99" y="573"/>
                    <a:pt x="95" y="565"/>
                  </a:cubicBezTo>
                  <a:close/>
                  <a:moveTo>
                    <a:pt x="108" y="529"/>
                  </a:moveTo>
                  <a:cubicBezTo>
                    <a:pt x="102" y="527"/>
                    <a:pt x="106" y="526"/>
                    <a:pt x="102" y="520"/>
                  </a:cubicBezTo>
                  <a:cubicBezTo>
                    <a:pt x="106" y="515"/>
                    <a:pt x="108" y="524"/>
                    <a:pt x="111" y="522"/>
                  </a:cubicBezTo>
                  <a:cubicBezTo>
                    <a:pt x="113" y="526"/>
                    <a:pt x="110" y="527"/>
                    <a:pt x="108" y="529"/>
                  </a:cubicBezTo>
                  <a:close/>
                  <a:moveTo>
                    <a:pt x="117" y="519"/>
                  </a:moveTo>
                  <a:cubicBezTo>
                    <a:pt x="113" y="513"/>
                    <a:pt x="120" y="511"/>
                    <a:pt x="124" y="510"/>
                  </a:cubicBezTo>
                  <a:cubicBezTo>
                    <a:pt x="126" y="519"/>
                    <a:pt x="118" y="519"/>
                    <a:pt x="117" y="519"/>
                  </a:cubicBezTo>
                  <a:close/>
                  <a:moveTo>
                    <a:pt x="156" y="573"/>
                  </a:moveTo>
                  <a:cubicBezTo>
                    <a:pt x="156" y="568"/>
                    <a:pt x="154" y="566"/>
                    <a:pt x="150" y="568"/>
                  </a:cubicBezTo>
                  <a:cubicBezTo>
                    <a:pt x="149" y="563"/>
                    <a:pt x="156" y="563"/>
                    <a:pt x="158" y="563"/>
                  </a:cubicBezTo>
                  <a:cubicBezTo>
                    <a:pt x="158" y="566"/>
                    <a:pt x="161" y="572"/>
                    <a:pt x="156" y="573"/>
                  </a:cubicBezTo>
                  <a:close/>
                  <a:moveTo>
                    <a:pt x="47" y="721"/>
                  </a:moveTo>
                  <a:cubicBezTo>
                    <a:pt x="47" y="722"/>
                    <a:pt x="47" y="722"/>
                    <a:pt x="46" y="722"/>
                  </a:cubicBezTo>
                  <a:cubicBezTo>
                    <a:pt x="46" y="722"/>
                    <a:pt x="46" y="721"/>
                    <a:pt x="47" y="721"/>
                  </a:cubicBezTo>
                  <a:close/>
                  <a:moveTo>
                    <a:pt x="17" y="735"/>
                  </a:moveTo>
                  <a:cubicBezTo>
                    <a:pt x="15" y="735"/>
                    <a:pt x="14" y="735"/>
                    <a:pt x="14" y="733"/>
                  </a:cubicBezTo>
                  <a:cubicBezTo>
                    <a:pt x="19" y="728"/>
                    <a:pt x="24" y="724"/>
                    <a:pt x="30" y="721"/>
                  </a:cubicBezTo>
                  <a:cubicBezTo>
                    <a:pt x="31" y="731"/>
                    <a:pt x="24" y="733"/>
                    <a:pt x="17" y="735"/>
                  </a:cubicBezTo>
                  <a:close/>
                  <a:moveTo>
                    <a:pt x="35" y="742"/>
                  </a:moveTo>
                  <a:cubicBezTo>
                    <a:pt x="33" y="742"/>
                    <a:pt x="33" y="740"/>
                    <a:pt x="33" y="740"/>
                  </a:cubicBezTo>
                  <a:cubicBezTo>
                    <a:pt x="33" y="738"/>
                    <a:pt x="35" y="737"/>
                    <a:pt x="33" y="733"/>
                  </a:cubicBezTo>
                  <a:cubicBezTo>
                    <a:pt x="33" y="733"/>
                    <a:pt x="33" y="731"/>
                    <a:pt x="31" y="730"/>
                  </a:cubicBezTo>
                  <a:cubicBezTo>
                    <a:pt x="35" y="730"/>
                    <a:pt x="40" y="742"/>
                    <a:pt x="35" y="742"/>
                  </a:cubicBezTo>
                  <a:close/>
                  <a:moveTo>
                    <a:pt x="39" y="738"/>
                  </a:moveTo>
                  <a:cubicBezTo>
                    <a:pt x="37" y="731"/>
                    <a:pt x="33" y="726"/>
                    <a:pt x="37" y="724"/>
                  </a:cubicBezTo>
                  <a:cubicBezTo>
                    <a:pt x="40" y="728"/>
                    <a:pt x="40" y="730"/>
                    <a:pt x="37" y="731"/>
                  </a:cubicBezTo>
                  <a:cubicBezTo>
                    <a:pt x="40" y="730"/>
                    <a:pt x="42" y="728"/>
                    <a:pt x="44" y="726"/>
                  </a:cubicBezTo>
                  <a:cubicBezTo>
                    <a:pt x="46" y="728"/>
                    <a:pt x="39" y="737"/>
                    <a:pt x="47" y="731"/>
                  </a:cubicBezTo>
                  <a:cubicBezTo>
                    <a:pt x="47" y="726"/>
                    <a:pt x="49" y="722"/>
                    <a:pt x="51" y="721"/>
                  </a:cubicBezTo>
                  <a:cubicBezTo>
                    <a:pt x="53" y="722"/>
                    <a:pt x="55" y="722"/>
                    <a:pt x="56" y="726"/>
                  </a:cubicBezTo>
                  <a:cubicBezTo>
                    <a:pt x="47" y="726"/>
                    <a:pt x="47" y="738"/>
                    <a:pt x="39" y="738"/>
                  </a:cubicBezTo>
                  <a:close/>
                  <a:moveTo>
                    <a:pt x="149" y="1930"/>
                  </a:moveTo>
                  <a:cubicBezTo>
                    <a:pt x="147" y="1926"/>
                    <a:pt x="143" y="1930"/>
                    <a:pt x="142" y="1928"/>
                  </a:cubicBezTo>
                  <a:cubicBezTo>
                    <a:pt x="147" y="1926"/>
                    <a:pt x="152" y="1923"/>
                    <a:pt x="158" y="1921"/>
                  </a:cubicBezTo>
                  <a:cubicBezTo>
                    <a:pt x="154" y="1923"/>
                    <a:pt x="152" y="1926"/>
                    <a:pt x="149" y="1930"/>
                  </a:cubicBezTo>
                  <a:close/>
                  <a:moveTo>
                    <a:pt x="152" y="620"/>
                  </a:moveTo>
                  <a:cubicBezTo>
                    <a:pt x="154" y="625"/>
                    <a:pt x="152" y="628"/>
                    <a:pt x="149" y="632"/>
                  </a:cubicBezTo>
                  <a:cubicBezTo>
                    <a:pt x="143" y="623"/>
                    <a:pt x="143" y="623"/>
                    <a:pt x="143" y="623"/>
                  </a:cubicBezTo>
                  <a:cubicBezTo>
                    <a:pt x="152" y="620"/>
                    <a:pt x="152" y="620"/>
                    <a:pt x="152" y="620"/>
                  </a:cubicBezTo>
                  <a:close/>
                  <a:moveTo>
                    <a:pt x="152" y="1639"/>
                  </a:moveTo>
                  <a:cubicBezTo>
                    <a:pt x="150" y="1639"/>
                    <a:pt x="150" y="1639"/>
                    <a:pt x="149" y="1639"/>
                  </a:cubicBezTo>
                  <a:cubicBezTo>
                    <a:pt x="150" y="1641"/>
                    <a:pt x="150" y="1641"/>
                    <a:pt x="150" y="1643"/>
                  </a:cubicBezTo>
                  <a:cubicBezTo>
                    <a:pt x="150" y="1644"/>
                    <a:pt x="150" y="1648"/>
                    <a:pt x="152" y="1652"/>
                  </a:cubicBezTo>
                  <a:cubicBezTo>
                    <a:pt x="134" y="1664"/>
                    <a:pt x="117" y="1676"/>
                    <a:pt x="99" y="1689"/>
                  </a:cubicBezTo>
                  <a:cubicBezTo>
                    <a:pt x="97" y="1687"/>
                    <a:pt x="95" y="1685"/>
                    <a:pt x="94" y="1683"/>
                  </a:cubicBezTo>
                  <a:cubicBezTo>
                    <a:pt x="101" y="1685"/>
                    <a:pt x="102" y="1675"/>
                    <a:pt x="110" y="1678"/>
                  </a:cubicBezTo>
                  <a:cubicBezTo>
                    <a:pt x="111" y="1675"/>
                    <a:pt x="111" y="1671"/>
                    <a:pt x="110" y="1667"/>
                  </a:cubicBezTo>
                  <a:cubicBezTo>
                    <a:pt x="126" y="1662"/>
                    <a:pt x="134" y="1659"/>
                    <a:pt x="150" y="1648"/>
                  </a:cubicBezTo>
                  <a:cubicBezTo>
                    <a:pt x="143" y="1648"/>
                    <a:pt x="136" y="1660"/>
                    <a:pt x="129" y="1652"/>
                  </a:cubicBezTo>
                  <a:cubicBezTo>
                    <a:pt x="126" y="1657"/>
                    <a:pt x="126" y="1660"/>
                    <a:pt x="118" y="1662"/>
                  </a:cubicBezTo>
                  <a:cubicBezTo>
                    <a:pt x="115" y="1659"/>
                    <a:pt x="110" y="1659"/>
                    <a:pt x="111" y="1653"/>
                  </a:cubicBezTo>
                  <a:cubicBezTo>
                    <a:pt x="115" y="1652"/>
                    <a:pt x="117" y="1659"/>
                    <a:pt x="118" y="1657"/>
                  </a:cubicBezTo>
                  <a:cubicBezTo>
                    <a:pt x="124" y="1655"/>
                    <a:pt x="120" y="1650"/>
                    <a:pt x="117" y="1652"/>
                  </a:cubicBezTo>
                  <a:cubicBezTo>
                    <a:pt x="131" y="1639"/>
                    <a:pt x="140" y="1634"/>
                    <a:pt x="156" y="1628"/>
                  </a:cubicBezTo>
                  <a:cubicBezTo>
                    <a:pt x="154" y="1632"/>
                    <a:pt x="152" y="1636"/>
                    <a:pt x="152" y="1639"/>
                  </a:cubicBezTo>
                  <a:close/>
                  <a:moveTo>
                    <a:pt x="154" y="620"/>
                  </a:moveTo>
                  <a:cubicBezTo>
                    <a:pt x="159" y="621"/>
                    <a:pt x="166" y="616"/>
                    <a:pt x="172" y="628"/>
                  </a:cubicBezTo>
                  <a:cubicBezTo>
                    <a:pt x="163" y="621"/>
                    <a:pt x="161" y="634"/>
                    <a:pt x="154" y="620"/>
                  </a:cubicBezTo>
                  <a:close/>
                  <a:moveTo>
                    <a:pt x="179" y="618"/>
                  </a:moveTo>
                  <a:cubicBezTo>
                    <a:pt x="175" y="612"/>
                    <a:pt x="174" y="609"/>
                    <a:pt x="179" y="607"/>
                  </a:cubicBezTo>
                  <a:cubicBezTo>
                    <a:pt x="181" y="612"/>
                    <a:pt x="182" y="616"/>
                    <a:pt x="179" y="618"/>
                  </a:cubicBezTo>
                  <a:close/>
                  <a:moveTo>
                    <a:pt x="188" y="575"/>
                  </a:moveTo>
                  <a:cubicBezTo>
                    <a:pt x="184" y="568"/>
                    <a:pt x="188" y="566"/>
                    <a:pt x="186" y="561"/>
                  </a:cubicBezTo>
                  <a:cubicBezTo>
                    <a:pt x="191" y="563"/>
                    <a:pt x="186" y="568"/>
                    <a:pt x="193" y="572"/>
                  </a:cubicBezTo>
                  <a:lnTo>
                    <a:pt x="188" y="575"/>
                  </a:lnTo>
                  <a:close/>
                  <a:moveTo>
                    <a:pt x="218" y="1894"/>
                  </a:moveTo>
                  <a:cubicBezTo>
                    <a:pt x="220" y="1893"/>
                    <a:pt x="221" y="1891"/>
                    <a:pt x="223" y="1889"/>
                  </a:cubicBezTo>
                  <a:cubicBezTo>
                    <a:pt x="237" y="1884"/>
                    <a:pt x="237" y="1884"/>
                    <a:pt x="237" y="1884"/>
                  </a:cubicBezTo>
                  <a:cubicBezTo>
                    <a:pt x="232" y="1887"/>
                    <a:pt x="225" y="1891"/>
                    <a:pt x="218" y="1894"/>
                  </a:cubicBezTo>
                  <a:close/>
                  <a:moveTo>
                    <a:pt x="239" y="540"/>
                  </a:moveTo>
                  <a:cubicBezTo>
                    <a:pt x="234" y="533"/>
                    <a:pt x="246" y="531"/>
                    <a:pt x="248" y="538"/>
                  </a:cubicBezTo>
                  <a:cubicBezTo>
                    <a:pt x="245" y="543"/>
                    <a:pt x="243" y="536"/>
                    <a:pt x="239" y="540"/>
                  </a:cubicBezTo>
                  <a:close/>
                  <a:moveTo>
                    <a:pt x="646" y="417"/>
                  </a:moveTo>
                  <a:cubicBezTo>
                    <a:pt x="651" y="423"/>
                    <a:pt x="648" y="425"/>
                    <a:pt x="651" y="428"/>
                  </a:cubicBezTo>
                  <a:cubicBezTo>
                    <a:pt x="648" y="432"/>
                    <a:pt x="641" y="419"/>
                    <a:pt x="646" y="417"/>
                  </a:cubicBezTo>
                  <a:close/>
                  <a:moveTo>
                    <a:pt x="1163" y="901"/>
                  </a:moveTo>
                  <a:cubicBezTo>
                    <a:pt x="1168" y="898"/>
                    <a:pt x="1172" y="896"/>
                    <a:pt x="1175" y="894"/>
                  </a:cubicBezTo>
                  <a:cubicBezTo>
                    <a:pt x="1173" y="898"/>
                    <a:pt x="1168" y="900"/>
                    <a:pt x="1163" y="901"/>
                  </a:cubicBezTo>
                  <a:close/>
                  <a:moveTo>
                    <a:pt x="1470" y="1497"/>
                  </a:moveTo>
                  <a:cubicBezTo>
                    <a:pt x="1469" y="1498"/>
                    <a:pt x="1469" y="1498"/>
                    <a:pt x="1469" y="1498"/>
                  </a:cubicBezTo>
                  <a:cubicBezTo>
                    <a:pt x="1469" y="1497"/>
                    <a:pt x="1469" y="1496"/>
                    <a:pt x="1469" y="1495"/>
                  </a:cubicBezTo>
                  <a:cubicBezTo>
                    <a:pt x="1470" y="1495"/>
                    <a:pt x="1470" y="1495"/>
                    <a:pt x="1470" y="1495"/>
                  </a:cubicBezTo>
                  <a:cubicBezTo>
                    <a:pt x="1472" y="1496"/>
                    <a:pt x="1470" y="1497"/>
                    <a:pt x="1470" y="1497"/>
                  </a:cubicBezTo>
                  <a:close/>
                  <a:moveTo>
                    <a:pt x="1749" y="1260"/>
                  </a:moveTo>
                  <a:cubicBezTo>
                    <a:pt x="1752" y="1267"/>
                    <a:pt x="1752" y="1267"/>
                    <a:pt x="1752" y="1267"/>
                  </a:cubicBezTo>
                  <a:cubicBezTo>
                    <a:pt x="1747" y="1272"/>
                    <a:pt x="1747" y="1265"/>
                    <a:pt x="1743" y="1265"/>
                  </a:cubicBezTo>
                  <a:cubicBezTo>
                    <a:pt x="1742" y="1263"/>
                    <a:pt x="1747" y="1261"/>
                    <a:pt x="1749" y="1260"/>
                  </a:cubicBezTo>
                  <a:close/>
                  <a:moveTo>
                    <a:pt x="1715" y="1265"/>
                  </a:moveTo>
                  <a:cubicBezTo>
                    <a:pt x="1722" y="1265"/>
                    <a:pt x="1715" y="1270"/>
                    <a:pt x="1717" y="1272"/>
                  </a:cubicBezTo>
                  <a:cubicBezTo>
                    <a:pt x="1724" y="1276"/>
                    <a:pt x="1718" y="1260"/>
                    <a:pt x="1731" y="1258"/>
                  </a:cubicBezTo>
                  <a:cubicBezTo>
                    <a:pt x="1727" y="1269"/>
                    <a:pt x="1724" y="1283"/>
                    <a:pt x="1710" y="1277"/>
                  </a:cubicBezTo>
                  <a:cubicBezTo>
                    <a:pt x="1706" y="1270"/>
                    <a:pt x="1706" y="1270"/>
                    <a:pt x="1706" y="1270"/>
                  </a:cubicBezTo>
                  <a:cubicBezTo>
                    <a:pt x="1708" y="1267"/>
                    <a:pt x="1717" y="1272"/>
                    <a:pt x="1715" y="1265"/>
                  </a:cubicBezTo>
                  <a:close/>
                  <a:moveTo>
                    <a:pt x="1640" y="1302"/>
                  </a:moveTo>
                  <a:cubicBezTo>
                    <a:pt x="1639" y="1309"/>
                    <a:pt x="1623" y="1318"/>
                    <a:pt x="1615" y="1311"/>
                  </a:cubicBezTo>
                  <a:cubicBezTo>
                    <a:pt x="1624" y="1308"/>
                    <a:pt x="1633" y="1300"/>
                    <a:pt x="1640" y="1302"/>
                  </a:cubicBezTo>
                  <a:close/>
                  <a:moveTo>
                    <a:pt x="1621" y="1293"/>
                  </a:moveTo>
                  <a:cubicBezTo>
                    <a:pt x="1623" y="1299"/>
                    <a:pt x="1614" y="1302"/>
                    <a:pt x="1607" y="1304"/>
                  </a:cubicBezTo>
                  <a:cubicBezTo>
                    <a:pt x="1605" y="1295"/>
                    <a:pt x="1614" y="1295"/>
                    <a:pt x="1621" y="1293"/>
                  </a:cubicBezTo>
                  <a:close/>
                  <a:moveTo>
                    <a:pt x="1612" y="1313"/>
                  </a:moveTo>
                  <a:cubicBezTo>
                    <a:pt x="1612" y="1316"/>
                    <a:pt x="1607" y="1318"/>
                    <a:pt x="1603" y="1322"/>
                  </a:cubicBezTo>
                  <a:cubicBezTo>
                    <a:pt x="1598" y="1315"/>
                    <a:pt x="1608" y="1311"/>
                    <a:pt x="1612" y="1313"/>
                  </a:cubicBezTo>
                  <a:close/>
                  <a:moveTo>
                    <a:pt x="1571" y="1343"/>
                  </a:moveTo>
                  <a:cubicBezTo>
                    <a:pt x="1569" y="1334"/>
                    <a:pt x="1580" y="1332"/>
                    <a:pt x="1585" y="1334"/>
                  </a:cubicBezTo>
                  <a:cubicBezTo>
                    <a:pt x="1589" y="1336"/>
                    <a:pt x="1578" y="1339"/>
                    <a:pt x="1571" y="1343"/>
                  </a:cubicBezTo>
                  <a:close/>
                  <a:moveTo>
                    <a:pt x="1596" y="1299"/>
                  </a:moveTo>
                  <a:cubicBezTo>
                    <a:pt x="1599" y="1304"/>
                    <a:pt x="1598" y="1308"/>
                    <a:pt x="1592" y="1309"/>
                  </a:cubicBezTo>
                  <a:cubicBezTo>
                    <a:pt x="1589" y="1304"/>
                    <a:pt x="1591" y="1300"/>
                    <a:pt x="1596" y="1299"/>
                  </a:cubicBezTo>
                  <a:close/>
                  <a:moveTo>
                    <a:pt x="1599" y="1318"/>
                  </a:moveTo>
                  <a:cubicBezTo>
                    <a:pt x="1601" y="1334"/>
                    <a:pt x="1573" y="1327"/>
                    <a:pt x="1575" y="1320"/>
                  </a:cubicBezTo>
                  <a:cubicBezTo>
                    <a:pt x="1584" y="1323"/>
                    <a:pt x="1591" y="1322"/>
                    <a:pt x="1599" y="1318"/>
                  </a:cubicBezTo>
                  <a:close/>
                  <a:moveTo>
                    <a:pt x="1546" y="1334"/>
                  </a:moveTo>
                  <a:cubicBezTo>
                    <a:pt x="1546" y="1325"/>
                    <a:pt x="1555" y="1320"/>
                    <a:pt x="1568" y="1315"/>
                  </a:cubicBezTo>
                  <a:cubicBezTo>
                    <a:pt x="1571" y="1320"/>
                    <a:pt x="1566" y="1327"/>
                    <a:pt x="1573" y="1327"/>
                  </a:cubicBezTo>
                  <a:cubicBezTo>
                    <a:pt x="1564" y="1331"/>
                    <a:pt x="1560" y="1331"/>
                    <a:pt x="1546" y="1334"/>
                  </a:cubicBezTo>
                  <a:close/>
                  <a:moveTo>
                    <a:pt x="2127" y="1020"/>
                  </a:moveTo>
                  <a:cubicBezTo>
                    <a:pt x="2129" y="1029"/>
                    <a:pt x="2120" y="1026"/>
                    <a:pt x="2116" y="1026"/>
                  </a:cubicBezTo>
                  <a:cubicBezTo>
                    <a:pt x="2114" y="1020"/>
                    <a:pt x="2125" y="1020"/>
                    <a:pt x="2127" y="1020"/>
                  </a:cubicBezTo>
                  <a:close/>
                  <a:moveTo>
                    <a:pt x="1816" y="1176"/>
                  </a:moveTo>
                  <a:cubicBezTo>
                    <a:pt x="1821" y="1175"/>
                    <a:pt x="1825" y="1173"/>
                    <a:pt x="1825" y="1167"/>
                  </a:cubicBezTo>
                  <a:cubicBezTo>
                    <a:pt x="1829" y="1167"/>
                    <a:pt x="1829" y="1171"/>
                    <a:pt x="1830" y="1169"/>
                  </a:cubicBezTo>
                  <a:cubicBezTo>
                    <a:pt x="1829" y="1173"/>
                    <a:pt x="1821" y="1178"/>
                    <a:pt x="1816" y="1183"/>
                  </a:cubicBezTo>
                  <a:cubicBezTo>
                    <a:pt x="1818" y="1182"/>
                    <a:pt x="1818" y="1180"/>
                    <a:pt x="1816" y="1176"/>
                  </a:cubicBezTo>
                  <a:close/>
                  <a:moveTo>
                    <a:pt x="1639" y="1235"/>
                  </a:moveTo>
                  <a:cubicBezTo>
                    <a:pt x="1631" y="1231"/>
                    <a:pt x="1630" y="1242"/>
                    <a:pt x="1624" y="1238"/>
                  </a:cubicBezTo>
                  <a:cubicBezTo>
                    <a:pt x="1621" y="1231"/>
                    <a:pt x="1639" y="1226"/>
                    <a:pt x="1639" y="1235"/>
                  </a:cubicBezTo>
                  <a:close/>
                  <a:moveTo>
                    <a:pt x="1434" y="1414"/>
                  </a:moveTo>
                  <a:cubicBezTo>
                    <a:pt x="1433" y="1414"/>
                    <a:pt x="1431" y="1412"/>
                    <a:pt x="1429" y="1410"/>
                  </a:cubicBezTo>
                  <a:cubicBezTo>
                    <a:pt x="1429" y="1410"/>
                    <a:pt x="1429" y="1410"/>
                    <a:pt x="1434" y="1414"/>
                  </a:cubicBezTo>
                  <a:close/>
                  <a:moveTo>
                    <a:pt x="1640" y="1176"/>
                  </a:moveTo>
                  <a:cubicBezTo>
                    <a:pt x="1642" y="1180"/>
                    <a:pt x="1639" y="1182"/>
                    <a:pt x="1639" y="1187"/>
                  </a:cubicBezTo>
                  <a:cubicBezTo>
                    <a:pt x="1637" y="1187"/>
                    <a:pt x="1635" y="1180"/>
                    <a:pt x="1630" y="1185"/>
                  </a:cubicBezTo>
                  <a:cubicBezTo>
                    <a:pt x="1628" y="1180"/>
                    <a:pt x="1635" y="1178"/>
                    <a:pt x="1640" y="1176"/>
                  </a:cubicBezTo>
                  <a:close/>
                  <a:moveTo>
                    <a:pt x="2205" y="838"/>
                  </a:moveTo>
                  <a:cubicBezTo>
                    <a:pt x="2209" y="843"/>
                    <a:pt x="2194" y="848"/>
                    <a:pt x="2191" y="847"/>
                  </a:cubicBezTo>
                  <a:cubicBezTo>
                    <a:pt x="2191" y="838"/>
                    <a:pt x="2201" y="838"/>
                    <a:pt x="2205" y="838"/>
                  </a:cubicBezTo>
                  <a:close/>
                  <a:moveTo>
                    <a:pt x="1607" y="1199"/>
                  </a:moveTo>
                  <a:cubicBezTo>
                    <a:pt x="1607" y="1194"/>
                    <a:pt x="1610" y="1187"/>
                    <a:pt x="1615" y="1191"/>
                  </a:cubicBezTo>
                  <a:cubicBezTo>
                    <a:pt x="1617" y="1196"/>
                    <a:pt x="1612" y="1201"/>
                    <a:pt x="1607" y="1199"/>
                  </a:cubicBezTo>
                  <a:close/>
                  <a:moveTo>
                    <a:pt x="1642" y="783"/>
                  </a:moveTo>
                  <a:cubicBezTo>
                    <a:pt x="1646" y="783"/>
                    <a:pt x="1647" y="783"/>
                    <a:pt x="1651" y="783"/>
                  </a:cubicBezTo>
                  <a:cubicBezTo>
                    <a:pt x="1649" y="784"/>
                    <a:pt x="1647" y="784"/>
                    <a:pt x="1647" y="788"/>
                  </a:cubicBezTo>
                  <a:cubicBezTo>
                    <a:pt x="1662" y="784"/>
                    <a:pt x="1639" y="776"/>
                    <a:pt x="1649" y="769"/>
                  </a:cubicBezTo>
                  <a:cubicBezTo>
                    <a:pt x="1655" y="779"/>
                    <a:pt x="1660" y="761"/>
                    <a:pt x="1665" y="777"/>
                  </a:cubicBezTo>
                  <a:cubicBezTo>
                    <a:pt x="1660" y="781"/>
                    <a:pt x="1656" y="776"/>
                    <a:pt x="1658" y="783"/>
                  </a:cubicBezTo>
                  <a:cubicBezTo>
                    <a:pt x="1671" y="777"/>
                    <a:pt x="1683" y="770"/>
                    <a:pt x="1690" y="765"/>
                  </a:cubicBezTo>
                  <a:cubicBezTo>
                    <a:pt x="1692" y="769"/>
                    <a:pt x="1692" y="769"/>
                    <a:pt x="1692" y="769"/>
                  </a:cubicBezTo>
                  <a:cubicBezTo>
                    <a:pt x="1683" y="777"/>
                    <a:pt x="1671" y="784"/>
                    <a:pt x="1662" y="783"/>
                  </a:cubicBezTo>
                  <a:cubicBezTo>
                    <a:pt x="1658" y="790"/>
                    <a:pt x="1637" y="802"/>
                    <a:pt x="1624" y="808"/>
                  </a:cubicBezTo>
                  <a:cubicBezTo>
                    <a:pt x="1624" y="808"/>
                    <a:pt x="1624" y="809"/>
                    <a:pt x="1621" y="809"/>
                  </a:cubicBezTo>
                  <a:cubicBezTo>
                    <a:pt x="1623" y="809"/>
                    <a:pt x="1624" y="808"/>
                    <a:pt x="1624" y="808"/>
                  </a:cubicBezTo>
                  <a:cubicBezTo>
                    <a:pt x="1628" y="806"/>
                    <a:pt x="1619" y="806"/>
                    <a:pt x="1617" y="804"/>
                  </a:cubicBezTo>
                  <a:cubicBezTo>
                    <a:pt x="1631" y="797"/>
                    <a:pt x="1646" y="795"/>
                    <a:pt x="1642" y="783"/>
                  </a:cubicBezTo>
                  <a:close/>
                  <a:moveTo>
                    <a:pt x="1621" y="1180"/>
                  </a:moveTo>
                  <a:cubicBezTo>
                    <a:pt x="1612" y="1185"/>
                    <a:pt x="1607" y="1192"/>
                    <a:pt x="1596" y="1194"/>
                  </a:cubicBezTo>
                  <a:cubicBezTo>
                    <a:pt x="1596" y="1183"/>
                    <a:pt x="1614" y="1182"/>
                    <a:pt x="1621" y="1180"/>
                  </a:cubicBezTo>
                  <a:close/>
                  <a:moveTo>
                    <a:pt x="1584" y="1201"/>
                  </a:moveTo>
                  <a:cubicBezTo>
                    <a:pt x="1582" y="1208"/>
                    <a:pt x="1578" y="1214"/>
                    <a:pt x="1571" y="1212"/>
                  </a:cubicBezTo>
                  <a:cubicBezTo>
                    <a:pt x="1568" y="1208"/>
                    <a:pt x="1576" y="1208"/>
                    <a:pt x="1580" y="1206"/>
                  </a:cubicBezTo>
                  <a:cubicBezTo>
                    <a:pt x="1578" y="1201"/>
                    <a:pt x="1573" y="1208"/>
                    <a:pt x="1569" y="1208"/>
                  </a:cubicBezTo>
                  <a:cubicBezTo>
                    <a:pt x="1571" y="1199"/>
                    <a:pt x="1576" y="1203"/>
                    <a:pt x="1584" y="1201"/>
                  </a:cubicBezTo>
                  <a:close/>
                  <a:moveTo>
                    <a:pt x="1942" y="501"/>
                  </a:moveTo>
                  <a:cubicBezTo>
                    <a:pt x="1948" y="510"/>
                    <a:pt x="1935" y="506"/>
                    <a:pt x="1932" y="508"/>
                  </a:cubicBezTo>
                  <a:cubicBezTo>
                    <a:pt x="1930" y="503"/>
                    <a:pt x="1939" y="499"/>
                    <a:pt x="1942" y="501"/>
                  </a:cubicBezTo>
                  <a:close/>
                  <a:moveTo>
                    <a:pt x="1592" y="238"/>
                  </a:moveTo>
                  <a:cubicBezTo>
                    <a:pt x="1594" y="238"/>
                    <a:pt x="1594" y="238"/>
                    <a:pt x="1596" y="238"/>
                  </a:cubicBezTo>
                  <a:cubicBezTo>
                    <a:pt x="1596" y="242"/>
                    <a:pt x="1594" y="244"/>
                    <a:pt x="1592" y="245"/>
                  </a:cubicBezTo>
                  <a:cubicBezTo>
                    <a:pt x="1592" y="244"/>
                    <a:pt x="1592" y="242"/>
                    <a:pt x="1592" y="238"/>
                  </a:cubicBezTo>
                  <a:close/>
                  <a:moveTo>
                    <a:pt x="1532" y="167"/>
                  </a:moveTo>
                  <a:cubicBezTo>
                    <a:pt x="1534" y="171"/>
                    <a:pt x="1537" y="171"/>
                    <a:pt x="1539" y="173"/>
                  </a:cubicBezTo>
                  <a:cubicBezTo>
                    <a:pt x="1539" y="173"/>
                    <a:pt x="1539" y="173"/>
                    <a:pt x="1539" y="175"/>
                  </a:cubicBezTo>
                  <a:cubicBezTo>
                    <a:pt x="1541" y="175"/>
                    <a:pt x="1544" y="175"/>
                    <a:pt x="1546" y="175"/>
                  </a:cubicBezTo>
                  <a:cubicBezTo>
                    <a:pt x="1546" y="176"/>
                    <a:pt x="1546" y="176"/>
                    <a:pt x="1546" y="176"/>
                  </a:cubicBezTo>
                  <a:cubicBezTo>
                    <a:pt x="1543" y="178"/>
                    <a:pt x="1539" y="182"/>
                    <a:pt x="1539" y="185"/>
                  </a:cubicBezTo>
                  <a:cubicBezTo>
                    <a:pt x="1536" y="187"/>
                    <a:pt x="1534" y="187"/>
                    <a:pt x="1530" y="189"/>
                  </a:cubicBezTo>
                  <a:cubicBezTo>
                    <a:pt x="1530" y="185"/>
                    <a:pt x="1530" y="183"/>
                    <a:pt x="1530" y="180"/>
                  </a:cubicBezTo>
                  <a:cubicBezTo>
                    <a:pt x="1532" y="180"/>
                    <a:pt x="1532" y="180"/>
                    <a:pt x="1532" y="180"/>
                  </a:cubicBezTo>
                  <a:cubicBezTo>
                    <a:pt x="1532" y="178"/>
                    <a:pt x="1532" y="176"/>
                    <a:pt x="1532" y="175"/>
                  </a:cubicBezTo>
                  <a:cubicBezTo>
                    <a:pt x="1527" y="167"/>
                    <a:pt x="1528" y="178"/>
                    <a:pt x="1527" y="176"/>
                  </a:cubicBezTo>
                  <a:cubicBezTo>
                    <a:pt x="1527" y="175"/>
                    <a:pt x="1528" y="171"/>
                    <a:pt x="1528" y="171"/>
                  </a:cubicBezTo>
                  <a:cubicBezTo>
                    <a:pt x="1527" y="171"/>
                    <a:pt x="1527" y="171"/>
                    <a:pt x="1525" y="171"/>
                  </a:cubicBezTo>
                  <a:cubicBezTo>
                    <a:pt x="1527" y="169"/>
                    <a:pt x="1530" y="169"/>
                    <a:pt x="1532" y="167"/>
                  </a:cubicBezTo>
                  <a:close/>
                  <a:moveTo>
                    <a:pt x="1541" y="189"/>
                  </a:moveTo>
                  <a:cubicBezTo>
                    <a:pt x="1537" y="192"/>
                    <a:pt x="1534" y="190"/>
                    <a:pt x="1532" y="192"/>
                  </a:cubicBezTo>
                  <a:cubicBezTo>
                    <a:pt x="1532" y="190"/>
                    <a:pt x="1532" y="190"/>
                    <a:pt x="1532" y="190"/>
                  </a:cubicBezTo>
                  <a:cubicBezTo>
                    <a:pt x="1534" y="189"/>
                    <a:pt x="1537" y="189"/>
                    <a:pt x="1539" y="187"/>
                  </a:cubicBezTo>
                  <a:cubicBezTo>
                    <a:pt x="1539" y="187"/>
                    <a:pt x="1539" y="189"/>
                    <a:pt x="1541" y="189"/>
                  </a:cubicBezTo>
                  <a:close/>
                  <a:moveTo>
                    <a:pt x="1528" y="673"/>
                  </a:moveTo>
                  <a:cubicBezTo>
                    <a:pt x="1523" y="675"/>
                    <a:pt x="1520" y="662"/>
                    <a:pt x="1520" y="659"/>
                  </a:cubicBezTo>
                  <a:cubicBezTo>
                    <a:pt x="1528" y="657"/>
                    <a:pt x="1527" y="666"/>
                    <a:pt x="1528" y="673"/>
                  </a:cubicBezTo>
                  <a:close/>
                  <a:moveTo>
                    <a:pt x="1523" y="673"/>
                  </a:moveTo>
                  <a:cubicBezTo>
                    <a:pt x="1523" y="675"/>
                    <a:pt x="1520" y="676"/>
                    <a:pt x="1518" y="678"/>
                  </a:cubicBezTo>
                  <a:cubicBezTo>
                    <a:pt x="1516" y="671"/>
                    <a:pt x="1512" y="673"/>
                    <a:pt x="1511" y="667"/>
                  </a:cubicBezTo>
                  <a:cubicBezTo>
                    <a:pt x="1516" y="666"/>
                    <a:pt x="1518" y="671"/>
                    <a:pt x="1523" y="673"/>
                  </a:cubicBezTo>
                  <a:close/>
                  <a:moveTo>
                    <a:pt x="1516" y="215"/>
                  </a:moveTo>
                  <a:cubicBezTo>
                    <a:pt x="1516" y="219"/>
                    <a:pt x="1514" y="222"/>
                    <a:pt x="1512" y="226"/>
                  </a:cubicBezTo>
                  <a:cubicBezTo>
                    <a:pt x="1511" y="224"/>
                    <a:pt x="1507" y="221"/>
                    <a:pt x="1505" y="217"/>
                  </a:cubicBezTo>
                  <a:cubicBezTo>
                    <a:pt x="1509" y="210"/>
                    <a:pt x="1512" y="217"/>
                    <a:pt x="1516" y="215"/>
                  </a:cubicBezTo>
                  <a:close/>
                  <a:moveTo>
                    <a:pt x="1482" y="24"/>
                  </a:moveTo>
                  <a:cubicBezTo>
                    <a:pt x="1496" y="33"/>
                    <a:pt x="1496" y="43"/>
                    <a:pt x="1511" y="52"/>
                  </a:cubicBezTo>
                  <a:cubicBezTo>
                    <a:pt x="1504" y="54"/>
                    <a:pt x="1512" y="63"/>
                    <a:pt x="1505" y="65"/>
                  </a:cubicBezTo>
                  <a:cubicBezTo>
                    <a:pt x="1504" y="58"/>
                    <a:pt x="1502" y="52"/>
                    <a:pt x="1496" y="49"/>
                  </a:cubicBezTo>
                  <a:cubicBezTo>
                    <a:pt x="1493" y="54"/>
                    <a:pt x="1493" y="58"/>
                    <a:pt x="1488" y="54"/>
                  </a:cubicBezTo>
                  <a:cubicBezTo>
                    <a:pt x="1482" y="45"/>
                    <a:pt x="1491" y="49"/>
                    <a:pt x="1493" y="43"/>
                  </a:cubicBezTo>
                  <a:cubicBezTo>
                    <a:pt x="1489" y="38"/>
                    <a:pt x="1486" y="42"/>
                    <a:pt x="1482" y="40"/>
                  </a:cubicBezTo>
                  <a:cubicBezTo>
                    <a:pt x="1479" y="34"/>
                    <a:pt x="1481" y="27"/>
                    <a:pt x="1482" y="24"/>
                  </a:cubicBezTo>
                  <a:close/>
                  <a:moveTo>
                    <a:pt x="1456" y="13"/>
                  </a:moveTo>
                  <a:cubicBezTo>
                    <a:pt x="1459" y="20"/>
                    <a:pt x="1463" y="27"/>
                    <a:pt x="1468" y="22"/>
                  </a:cubicBezTo>
                  <a:cubicBezTo>
                    <a:pt x="1470" y="31"/>
                    <a:pt x="1473" y="33"/>
                    <a:pt x="1479" y="40"/>
                  </a:cubicBezTo>
                  <a:cubicBezTo>
                    <a:pt x="1473" y="42"/>
                    <a:pt x="1470" y="36"/>
                    <a:pt x="1465" y="34"/>
                  </a:cubicBezTo>
                  <a:cubicBezTo>
                    <a:pt x="1465" y="47"/>
                    <a:pt x="1454" y="43"/>
                    <a:pt x="1454" y="50"/>
                  </a:cubicBezTo>
                  <a:cubicBezTo>
                    <a:pt x="1450" y="50"/>
                    <a:pt x="1445" y="45"/>
                    <a:pt x="1441" y="40"/>
                  </a:cubicBezTo>
                  <a:cubicBezTo>
                    <a:pt x="1440" y="47"/>
                    <a:pt x="1436" y="47"/>
                    <a:pt x="1429" y="40"/>
                  </a:cubicBezTo>
                  <a:cubicBezTo>
                    <a:pt x="1429" y="36"/>
                    <a:pt x="1433" y="34"/>
                    <a:pt x="1434" y="38"/>
                  </a:cubicBezTo>
                  <a:cubicBezTo>
                    <a:pt x="1436" y="31"/>
                    <a:pt x="1425" y="36"/>
                    <a:pt x="1422" y="27"/>
                  </a:cubicBezTo>
                  <a:cubicBezTo>
                    <a:pt x="1436" y="27"/>
                    <a:pt x="1440" y="10"/>
                    <a:pt x="1456" y="13"/>
                  </a:cubicBezTo>
                  <a:close/>
                  <a:moveTo>
                    <a:pt x="1394" y="65"/>
                  </a:moveTo>
                  <a:cubicBezTo>
                    <a:pt x="1392" y="40"/>
                    <a:pt x="1409" y="56"/>
                    <a:pt x="1420" y="36"/>
                  </a:cubicBezTo>
                  <a:cubicBezTo>
                    <a:pt x="1424" y="40"/>
                    <a:pt x="1427" y="45"/>
                    <a:pt x="1433" y="50"/>
                  </a:cubicBezTo>
                  <a:cubicBezTo>
                    <a:pt x="1433" y="49"/>
                    <a:pt x="1431" y="45"/>
                    <a:pt x="1433" y="45"/>
                  </a:cubicBezTo>
                  <a:cubicBezTo>
                    <a:pt x="1434" y="58"/>
                    <a:pt x="1443" y="52"/>
                    <a:pt x="1449" y="61"/>
                  </a:cubicBezTo>
                  <a:cubicBezTo>
                    <a:pt x="1431" y="65"/>
                    <a:pt x="1413" y="91"/>
                    <a:pt x="1395" y="75"/>
                  </a:cubicBezTo>
                  <a:cubicBezTo>
                    <a:pt x="1392" y="81"/>
                    <a:pt x="1390" y="81"/>
                    <a:pt x="1385" y="79"/>
                  </a:cubicBezTo>
                  <a:cubicBezTo>
                    <a:pt x="1381" y="82"/>
                    <a:pt x="1388" y="82"/>
                    <a:pt x="1388" y="86"/>
                  </a:cubicBezTo>
                  <a:cubicBezTo>
                    <a:pt x="1383" y="86"/>
                    <a:pt x="1376" y="86"/>
                    <a:pt x="1370" y="79"/>
                  </a:cubicBezTo>
                  <a:cubicBezTo>
                    <a:pt x="1385" y="72"/>
                    <a:pt x="1388" y="66"/>
                    <a:pt x="1399" y="65"/>
                  </a:cubicBezTo>
                  <a:cubicBezTo>
                    <a:pt x="1397" y="61"/>
                    <a:pt x="1395" y="63"/>
                    <a:pt x="1394" y="65"/>
                  </a:cubicBezTo>
                  <a:close/>
                  <a:moveTo>
                    <a:pt x="1259" y="836"/>
                  </a:moveTo>
                  <a:cubicBezTo>
                    <a:pt x="1257" y="832"/>
                    <a:pt x="1257" y="831"/>
                    <a:pt x="1257" y="829"/>
                  </a:cubicBezTo>
                  <a:cubicBezTo>
                    <a:pt x="1259" y="829"/>
                    <a:pt x="1259" y="829"/>
                    <a:pt x="1259" y="829"/>
                  </a:cubicBezTo>
                  <a:cubicBezTo>
                    <a:pt x="1262" y="832"/>
                    <a:pt x="1262" y="836"/>
                    <a:pt x="1259" y="836"/>
                  </a:cubicBezTo>
                  <a:close/>
                  <a:moveTo>
                    <a:pt x="1257" y="850"/>
                  </a:moveTo>
                  <a:cubicBezTo>
                    <a:pt x="1255" y="845"/>
                    <a:pt x="1257" y="841"/>
                    <a:pt x="1259" y="838"/>
                  </a:cubicBezTo>
                  <a:cubicBezTo>
                    <a:pt x="1262" y="845"/>
                    <a:pt x="1260" y="847"/>
                    <a:pt x="1257" y="850"/>
                  </a:cubicBezTo>
                  <a:close/>
                  <a:moveTo>
                    <a:pt x="1255" y="822"/>
                  </a:moveTo>
                  <a:cubicBezTo>
                    <a:pt x="1255" y="823"/>
                    <a:pt x="1257" y="825"/>
                    <a:pt x="1259" y="827"/>
                  </a:cubicBezTo>
                  <a:cubicBezTo>
                    <a:pt x="1257" y="827"/>
                    <a:pt x="1257" y="827"/>
                    <a:pt x="1255" y="829"/>
                  </a:cubicBezTo>
                  <a:cubicBezTo>
                    <a:pt x="1255" y="827"/>
                    <a:pt x="1253" y="829"/>
                    <a:pt x="1248" y="829"/>
                  </a:cubicBezTo>
                  <a:cubicBezTo>
                    <a:pt x="1246" y="825"/>
                    <a:pt x="1246" y="823"/>
                    <a:pt x="1246" y="820"/>
                  </a:cubicBezTo>
                  <a:cubicBezTo>
                    <a:pt x="1251" y="818"/>
                    <a:pt x="1259" y="816"/>
                    <a:pt x="1264" y="815"/>
                  </a:cubicBezTo>
                  <a:cubicBezTo>
                    <a:pt x="1264" y="822"/>
                    <a:pt x="1260" y="823"/>
                    <a:pt x="1255" y="822"/>
                  </a:cubicBezTo>
                  <a:close/>
                  <a:moveTo>
                    <a:pt x="1235" y="1552"/>
                  </a:moveTo>
                  <a:cubicBezTo>
                    <a:pt x="1241" y="1549"/>
                    <a:pt x="1241" y="1549"/>
                    <a:pt x="1241" y="1549"/>
                  </a:cubicBezTo>
                  <a:cubicBezTo>
                    <a:pt x="1243" y="1547"/>
                    <a:pt x="1246" y="1545"/>
                    <a:pt x="1241" y="1540"/>
                  </a:cubicBezTo>
                  <a:cubicBezTo>
                    <a:pt x="1259" y="1534"/>
                    <a:pt x="1278" y="1526"/>
                    <a:pt x="1296" y="1517"/>
                  </a:cubicBezTo>
                  <a:cubicBezTo>
                    <a:pt x="1303" y="1515"/>
                    <a:pt x="1308" y="1510"/>
                    <a:pt x="1314" y="1504"/>
                  </a:cubicBezTo>
                  <a:cubicBezTo>
                    <a:pt x="1326" y="1511"/>
                    <a:pt x="1340" y="1517"/>
                    <a:pt x="1354" y="1519"/>
                  </a:cubicBezTo>
                  <a:cubicBezTo>
                    <a:pt x="1335" y="1522"/>
                    <a:pt x="1315" y="1531"/>
                    <a:pt x="1298" y="1536"/>
                  </a:cubicBezTo>
                  <a:cubicBezTo>
                    <a:pt x="1276" y="1542"/>
                    <a:pt x="1255" y="1547"/>
                    <a:pt x="1235" y="1552"/>
                  </a:cubicBezTo>
                  <a:close/>
                  <a:moveTo>
                    <a:pt x="1267" y="827"/>
                  </a:moveTo>
                  <a:cubicBezTo>
                    <a:pt x="1269" y="825"/>
                    <a:pt x="1271" y="825"/>
                    <a:pt x="1273" y="825"/>
                  </a:cubicBezTo>
                  <a:cubicBezTo>
                    <a:pt x="1275" y="829"/>
                    <a:pt x="1276" y="829"/>
                    <a:pt x="1280" y="834"/>
                  </a:cubicBezTo>
                  <a:cubicBezTo>
                    <a:pt x="1275" y="836"/>
                    <a:pt x="1275" y="836"/>
                    <a:pt x="1275" y="836"/>
                  </a:cubicBezTo>
                  <a:cubicBezTo>
                    <a:pt x="1271" y="829"/>
                    <a:pt x="1269" y="836"/>
                    <a:pt x="1266" y="834"/>
                  </a:cubicBezTo>
                  <a:cubicBezTo>
                    <a:pt x="1269" y="832"/>
                    <a:pt x="1267" y="829"/>
                    <a:pt x="1267" y="827"/>
                  </a:cubicBezTo>
                  <a:close/>
                  <a:moveTo>
                    <a:pt x="1285" y="861"/>
                  </a:moveTo>
                  <a:cubicBezTo>
                    <a:pt x="1299" y="855"/>
                    <a:pt x="1305" y="848"/>
                    <a:pt x="1317" y="841"/>
                  </a:cubicBezTo>
                  <a:cubicBezTo>
                    <a:pt x="1305" y="857"/>
                    <a:pt x="1298" y="861"/>
                    <a:pt x="1283" y="871"/>
                  </a:cubicBezTo>
                  <a:cubicBezTo>
                    <a:pt x="1282" y="868"/>
                    <a:pt x="1292" y="868"/>
                    <a:pt x="1285" y="861"/>
                  </a:cubicBezTo>
                  <a:close/>
                  <a:moveTo>
                    <a:pt x="1379" y="1627"/>
                  </a:moveTo>
                  <a:cubicBezTo>
                    <a:pt x="1390" y="1623"/>
                    <a:pt x="1399" y="1620"/>
                    <a:pt x="1408" y="1616"/>
                  </a:cubicBezTo>
                  <a:cubicBezTo>
                    <a:pt x="1404" y="1623"/>
                    <a:pt x="1399" y="1634"/>
                    <a:pt x="1397" y="1643"/>
                  </a:cubicBezTo>
                  <a:cubicBezTo>
                    <a:pt x="1356" y="1650"/>
                    <a:pt x="1315" y="1653"/>
                    <a:pt x="1278" y="1667"/>
                  </a:cubicBezTo>
                  <a:cubicBezTo>
                    <a:pt x="1269" y="1669"/>
                    <a:pt x="1269" y="1669"/>
                    <a:pt x="1269" y="1669"/>
                  </a:cubicBezTo>
                  <a:cubicBezTo>
                    <a:pt x="1253" y="1662"/>
                    <a:pt x="1253" y="1662"/>
                    <a:pt x="1253" y="1662"/>
                  </a:cubicBezTo>
                  <a:cubicBezTo>
                    <a:pt x="1255" y="1662"/>
                    <a:pt x="1255" y="1662"/>
                    <a:pt x="1255" y="1662"/>
                  </a:cubicBezTo>
                  <a:cubicBezTo>
                    <a:pt x="1260" y="1660"/>
                    <a:pt x="1266" y="1660"/>
                    <a:pt x="1271" y="1659"/>
                  </a:cubicBezTo>
                  <a:cubicBezTo>
                    <a:pt x="1266" y="1657"/>
                    <a:pt x="1266" y="1657"/>
                    <a:pt x="1266" y="1657"/>
                  </a:cubicBezTo>
                  <a:cubicBezTo>
                    <a:pt x="1283" y="1652"/>
                    <a:pt x="1303" y="1644"/>
                    <a:pt x="1321" y="1639"/>
                  </a:cubicBezTo>
                  <a:cubicBezTo>
                    <a:pt x="1340" y="1636"/>
                    <a:pt x="1360" y="1632"/>
                    <a:pt x="1379" y="1627"/>
                  </a:cubicBezTo>
                  <a:close/>
                  <a:moveTo>
                    <a:pt x="1381" y="1304"/>
                  </a:moveTo>
                  <a:cubicBezTo>
                    <a:pt x="1386" y="1311"/>
                    <a:pt x="1390" y="1297"/>
                    <a:pt x="1397" y="1302"/>
                  </a:cubicBezTo>
                  <a:cubicBezTo>
                    <a:pt x="1399" y="1309"/>
                    <a:pt x="1388" y="1309"/>
                    <a:pt x="1381" y="1313"/>
                  </a:cubicBezTo>
                  <a:cubicBezTo>
                    <a:pt x="1374" y="1308"/>
                    <a:pt x="1379" y="1302"/>
                    <a:pt x="1372" y="1295"/>
                  </a:cubicBezTo>
                  <a:cubicBezTo>
                    <a:pt x="1397" y="1286"/>
                    <a:pt x="1409" y="1272"/>
                    <a:pt x="1434" y="1272"/>
                  </a:cubicBezTo>
                  <a:cubicBezTo>
                    <a:pt x="1422" y="1283"/>
                    <a:pt x="1402" y="1288"/>
                    <a:pt x="1381" y="1304"/>
                  </a:cubicBezTo>
                  <a:close/>
                  <a:moveTo>
                    <a:pt x="1470" y="1249"/>
                  </a:moveTo>
                  <a:cubicBezTo>
                    <a:pt x="1473" y="1245"/>
                    <a:pt x="1475" y="1247"/>
                    <a:pt x="1479" y="1247"/>
                  </a:cubicBezTo>
                  <a:cubicBezTo>
                    <a:pt x="1477" y="1251"/>
                    <a:pt x="1475" y="1258"/>
                    <a:pt x="1484" y="1253"/>
                  </a:cubicBezTo>
                  <a:cubicBezTo>
                    <a:pt x="1479" y="1258"/>
                    <a:pt x="1465" y="1261"/>
                    <a:pt x="1456" y="1267"/>
                  </a:cubicBezTo>
                  <a:cubicBezTo>
                    <a:pt x="1454" y="1254"/>
                    <a:pt x="1475" y="1261"/>
                    <a:pt x="1470" y="1249"/>
                  </a:cubicBezTo>
                  <a:close/>
                  <a:moveTo>
                    <a:pt x="1479" y="779"/>
                  </a:moveTo>
                  <a:cubicBezTo>
                    <a:pt x="1477" y="770"/>
                    <a:pt x="1486" y="774"/>
                    <a:pt x="1491" y="770"/>
                  </a:cubicBezTo>
                  <a:cubicBezTo>
                    <a:pt x="1493" y="777"/>
                    <a:pt x="1484" y="777"/>
                    <a:pt x="1479" y="779"/>
                  </a:cubicBezTo>
                  <a:close/>
                  <a:moveTo>
                    <a:pt x="1482" y="1251"/>
                  </a:moveTo>
                  <a:cubicBezTo>
                    <a:pt x="1482" y="1245"/>
                    <a:pt x="1482" y="1242"/>
                    <a:pt x="1489" y="1240"/>
                  </a:cubicBezTo>
                  <a:cubicBezTo>
                    <a:pt x="1491" y="1245"/>
                    <a:pt x="1488" y="1253"/>
                    <a:pt x="1482" y="1251"/>
                  </a:cubicBezTo>
                  <a:close/>
                  <a:moveTo>
                    <a:pt x="1482" y="1263"/>
                  </a:moveTo>
                  <a:cubicBezTo>
                    <a:pt x="1491" y="1265"/>
                    <a:pt x="1498" y="1256"/>
                    <a:pt x="1507" y="1253"/>
                  </a:cubicBezTo>
                  <a:cubicBezTo>
                    <a:pt x="1504" y="1256"/>
                    <a:pt x="1491" y="1274"/>
                    <a:pt x="1482" y="1263"/>
                  </a:cubicBezTo>
                  <a:close/>
                  <a:moveTo>
                    <a:pt x="1502" y="1237"/>
                  </a:moveTo>
                  <a:cubicBezTo>
                    <a:pt x="1505" y="1238"/>
                    <a:pt x="1511" y="1237"/>
                    <a:pt x="1516" y="1237"/>
                  </a:cubicBezTo>
                  <a:cubicBezTo>
                    <a:pt x="1516" y="1242"/>
                    <a:pt x="1502" y="1247"/>
                    <a:pt x="1498" y="1245"/>
                  </a:cubicBezTo>
                  <a:cubicBezTo>
                    <a:pt x="1495" y="1240"/>
                    <a:pt x="1507" y="1242"/>
                    <a:pt x="1502" y="1237"/>
                  </a:cubicBezTo>
                  <a:close/>
                  <a:moveTo>
                    <a:pt x="1511" y="1254"/>
                  </a:moveTo>
                  <a:cubicBezTo>
                    <a:pt x="1511" y="1245"/>
                    <a:pt x="1521" y="1249"/>
                    <a:pt x="1527" y="1242"/>
                  </a:cubicBezTo>
                  <a:cubicBezTo>
                    <a:pt x="1530" y="1253"/>
                    <a:pt x="1512" y="1249"/>
                    <a:pt x="1511" y="1254"/>
                  </a:cubicBezTo>
                  <a:close/>
                  <a:moveTo>
                    <a:pt x="1559" y="699"/>
                  </a:moveTo>
                  <a:cubicBezTo>
                    <a:pt x="1555" y="692"/>
                    <a:pt x="1555" y="692"/>
                    <a:pt x="1555" y="692"/>
                  </a:cubicBezTo>
                  <a:cubicBezTo>
                    <a:pt x="1564" y="689"/>
                    <a:pt x="1564" y="689"/>
                    <a:pt x="1564" y="689"/>
                  </a:cubicBezTo>
                  <a:cubicBezTo>
                    <a:pt x="1566" y="694"/>
                    <a:pt x="1564" y="698"/>
                    <a:pt x="1559" y="699"/>
                  </a:cubicBezTo>
                  <a:close/>
                  <a:moveTo>
                    <a:pt x="1752" y="588"/>
                  </a:moveTo>
                  <a:cubicBezTo>
                    <a:pt x="1742" y="595"/>
                    <a:pt x="1736" y="607"/>
                    <a:pt x="1724" y="609"/>
                  </a:cubicBezTo>
                  <a:cubicBezTo>
                    <a:pt x="1718" y="602"/>
                    <a:pt x="1733" y="604"/>
                    <a:pt x="1733" y="598"/>
                  </a:cubicBezTo>
                  <a:cubicBezTo>
                    <a:pt x="1729" y="595"/>
                    <a:pt x="1727" y="600"/>
                    <a:pt x="1722" y="600"/>
                  </a:cubicBezTo>
                  <a:cubicBezTo>
                    <a:pt x="1713" y="630"/>
                    <a:pt x="1669" y="632"/>
                    <a:pt x="1642" y="646"/>
                  </a:cubicBezTo>
                  <a:cubicBezTo>
                    <a:pt x="1619" y="659"/>
                    <a:pt x="1605" y="676"/>
                    <a:pt x="1587" y="682"/>
                  </a:cubicBezTo>
                  <a:cubicBezTo>
                    <a:pt x="1585" y="680"/>
                    <a:pt x="1582" y="682"/>
                    <a:pt x="1580" y="676"/>
                  </a:cubicBezTo>
                  <a:cubicBezTo>
                    <a:pt x="1576" y="685"/>
                    <a:pt x="1566" y="682"/>
                    <a:pt x="1557" y="687"/>
                  </a:cubicBezTo>
                  <a:cubicBezTo>
                    <a:pt x="1552" y="682"/>
                    <a:pt x="1557" y="682"/>
                    <a:pt x="1548" y="687"/>
                  </a:cubicBezTo>
                  <a:cubicBezTo>
                    <a:pt x="1550" y="682"/>
                    <a:pt x="1546" y="682"/>
                    <a:pt x="1543" y="676"/>
                  </a:cubicBezTo>
                  <a:cubicBezTo>
                    <a:pt x="1548" y="673"/>
                    <a:pt x="1548" y="678"/>
                    <a:pt x="1552" y="680"/>
                  </a:cubicBezTo>
                  <a:cubicBezTo>
                    <a:pt x="1553" y="675"/>
                    <a:pt x="1555" y="671"/>
                    <a:pt x="1553" y="666"/>
                  </a:cubicBezTo>
                  <a:cubicBezTo>
                    <a:pt x="1559" y="666"/>
                    <a:pt x="1562" y="671"/>
                    <a:pt x="1566" y="671"/>
                  </a:cubicBezTo>
                  <a:cubicBezTo>
                    <a:pt x="1569" y="669"/>
                    <a:pt x="1568" y="664"/>
                    <a:pt x="1571" y="660"/>
                  </a:cubicBezTo>
                  <a:cubicBezTo>
                    <a:pt x="1564" y="657"/>
                    <a:pt x="1552" y="667"/>
                    <a:pt x="1543" y="662"/>
                  </a:cubicBezTo>
                  <a:cubicBezTo>
                    <a:pt x="1534" y="675"/>
                    <a:pt x="1543" y="692"/>
                    <a:pt x="1527" y="701"/>
                  </a:cubicBezTo>
                  <a:cubicBezTo>
                    <a:pt x="1530" y="705"/>
                    <a:pt x="1536" y="703"/>
                    <a:pt x="1541" y="701"/>
                  </a:cubicBezTo>
                  <a:cubicBezTo>
                    <a:pt x="1532" y="719"/>
                    <a:pt x="1512" y="712"/>
                    <a:pt x="1507" y="728"/>
                  </a:cubicBezTo>
                  <a:cubicBezTo>
                    <a:pt x="1504" y="726"/>
                    <a:pt x="1500" y="730"/>
                    <a:pt x="1496" y="724"/>
                  </a:cubicBezTo>
                  <a:cubicBezTo>
                    <a:pt x="1493" y="728"/>
                    <a:pt x="1484" y="742"/>
                    <a:pt x="1479" y="735"/>
                  </a:cubicBezTo>
                  <a:cubicBezTo>
                    <a:pt x="1475" y="737"/>
                    <a:pt x="1481" y="744"/>
                    <a:pt x="1475" y="744"/>
                  </a:cubicBezTo>
                  <a:cubicBezTo>
                    <a:pt x="1457" y="737"/>
                    <a:pt x="1440" y="767"/>
                    <a:pt x="1422" y="763"/>
                  </a:cubicBezTo>
                  <a:cubicBezTo>
                    <a:pt x="1418" y="777"/>
                    <a:pt x="1394" y="784"/>
                    <a:pt x="1385" y="786"/>
                  </a:cubicBezTo>
                  <a:cubicBezTo>
                    <a:pt x="1383" y="806"/>
                    <a:pt x="1344" y="815"/>
                    <a:pt x="1326" y="813"/>
                  </a:cubicBezTo>
                  <a:cubicBezTo>
                    <a:pt x="1312" y="820"/>
                    <a:pt x="1315" y="825"/>
                    <a:pt x="1303" y="831"/>
                  </a:cubicBezTo>
                  <a:cubicBezTo>
                    <a:pt x="1306" y="829"/>
                    <a:pt x="1317" y="832"/>
                    <a:pt x="1317" y="829"/>
                  </a:cubicBezTo>
                  <a:cubicBezTo>
                    <a:pt x="1321" y="836"/>
                    <a:pt x="1312" y="839"/>
                    <a:pt x="1298" y="845"/>
                  </a:cubicBezTo>
                  <a:cubicBezTo>
                    <a:pt x="1298" y="845"/>
                    <a:pt x="1298" y="843"/>
                    <a:pt x="1299" y="842"/>
                  </a:cubicBezTo>
                  <a:cubicBezTo>
                    <a:pt x="1293" y="844"/>
                    <a:pt x="1286" y="849"/>
                    <a:pt x="1280" y="854"/>
                  </a:cubicBezTo>
                  <a:cubicBezTo>
                    <a:pt x="1275" y="845"/>
                    <a:pt x="1275" y="845"/>
                    <a:pt x="1275" y="845"/>
                  </a:cubicBezTo>
                  <a:cubicBezTo>
                    <a:pt x="1282" y="841"/>
                    <a:pt x="1282" y="836"/>
                    <a:pt x="1278" y="829"/>
                  </a:cubicBezTo>
                  <a:cubicBezTo>
                    <a:pt x="1276" y="827"/>
                    <a:pt x="1275" y="825"/>
                    <a:pt x="1273" y="823"/>
                  </a:cubicBezTo>
                  <a:cubicBezTo>
                    <a:pt x="1276" y="822"/>
                    <a:pt x="1278" y="820"/>
                    <a:pt x="1276" y="816"/>
                  </a:cubicBezTo>
                  <a:cubicBezTo>
                    <a:pt x="1276" y="818"/>
                    <a:pt x="1275" y="820"/>
                    <a:pt x="1273" y="822"/>
                  </a:cubicBezTo>
                  <a:cubicBezTo>
                    <a:pt x="1269" y="818"/>
                    <a:pt x="1267" y="815"/>
                    <a:pt x="1266" y="813"/>
                  </a:cubicBezTo>
                  <a:cubicBezTo>
                    <a:pt x="1267" y="813"/>
                    <a:pt x="1269" y="813"/>
                    <a:pt x="1269" y="813"/>
                  </a:cubicBezTo>
                  <a:cubicBezTo>
                    <a:pt x="1266" y="802"/>
                    <a:pt x="1255" y="811"/>
                    <a:pt x="1250" y="804"/>
                  </a:cubicBezTo>
                  <a:cubicBezTo>
                    <a:pt x="1273" y="799"/>
                    <a:pt x="1280" y="781"/>
                    <a:pt x="1296" y="777"/>
                  </a:cubicBezTo>
                  <a:cubicBezTo>
                    <a:pt x="1298" y="783"/>
                    <a:pt x="1298" y="783"/>
                    <a:pt x="1298" y="783"/>
                  </a:cubicBezTo>
                  <a:cubicBezTo>
                    <a:pt x="1301" y="786"/>
                    <a:pt x="1296" y="788"/>
                    <a:pt x="1294" y="790"/>
                  </a:cubicBezTo>
                  <a:cubicBezTo>
                    <a:pt x="1299" y="793"/>
                    <a:pt x="1303" y="783"/>
                    <a:pt x="1298" y="777"/>
                  </a:cubicBezTo>
                  <a:cubicBezTo>
                    <a:pt x="1303" y="774"/>
                    <a:pt x="1305" y="770"/>
                    <a:pt x="1314" y="767"/>
                  </a:cubicBezTo>
                  <a:cubicBezTo>
                    <a:pt x="1315" y="772"/>
                    <a:pt x="1310" y="774"/>
                    <a:pt x="1306" y="776"/>
                  </a:cubicBezTo>
                  <a:cubicBezTo>
                    <a:pt x="1315" y="783"/>
                    <a:pt x="1324" y="765"/>
                    <a:pt x="1331" y="756"/>
                  </a:cubicBezTo>
                  <a:cubicBezTo>
                    <a:pt x="1337" y="751"/>
                    <a:pt x="1337" y="763"/>
                    <a:pt x="1340" y="760"/>
                  </a:cubicBezTo>
                  <a:cubicBezTo>
                    <a:pt x="1343" y="756"/>
                    <a:pt x="1355" y="749"/>
                    <a:pt x="1367" y="744"/>
                  </a:cubicBezTo>
                  <a:cubicBezTo>
                    <a:pt x="1368" y="742"/>
                    <a:pt x="1370" y="741"/>
                    <a:pt x="1372" y="740"/>
                  </a:cubicBezTo>
                  <a:cubicBezTo>
                    <a:pt x="1372" y="740"/>
                    <a:pt x="1372" y="741"/>
                    <a:pt x="1372" y="742"/>
                  </a:cubicBezTo>
                  <a:cubicBezTo>
                    <a:pt x="1383" y="738"/>
                    <a:pt x="1394" y="735"/>
                    <a:pt x="1399" y="737"/>
                  </a:cubicBezTo>
                  <a:cubicBezTo>
                    <a:pt x="1402" y="731"/>
                    <a:pt x="1402" y="730"/>
                    <a:pt x="1397" y="724"/>
                  </a:cubicBezTo>
                  <a:cubicBezTo>
                    <a:pt x="1402" y="721"/>
                    <a:pt x="1408" y="721"/>
                    <a:pt x="1411" y="726"/>
                  </a:cubicBezTo>
                  <a:cubicBezTo>
                    <a:pt x="1412" y="720"/>
                    <a:pt x="1415" y="717"/>
                    <a:pt x="1419" y="716"/>
                  </a:cubicBezTo>
                  <a:cubicBezTo>
                    <a:pt x="1419" y="716"/>
                    <a:pt x="1419" y="715"/>
                    <a:pt x="1419" y="715"/>
                  </a:cubicBezTo>
                  <a:cubicBezTo>
                    <a:pt x="1422" y="712"/>
                    <a:pt x="1425" y="712"/>
                    <a:pt x="1428" y="712"/>
                  </a:cubicBezTo>
                  <a:cubicBezTo>
                    <a:pt x="1428" y="713"/>
                    <a:pt x="1428" y="714"/>
                    <a:pt x="1428" y="715"/>
                  </a:cubicBezTo>
                  <a:cubicBezTo>
                    <a:pt x="1432" y="715"/>
                    <a:pt x="1437" y="715"/>
                    <a:pt x="1441" y="715"/>
                  </a:cubicBezTo>
                  <a:cubicBezTo>
                    <a:pt x="1447" y="712"/>
                    <a:pt x="1434" y="710"/>
                    <a:pt x="1440" y="708"/>
                  </a:cubicBezTo>
                  <a:cubicBezTo>
                    <a:pt x="1445" y="705"/>
                    <a:pt x="1443" y="708"/>
                    <a:pt x="1443" y="712"/>
                  </a:cubicBezTo>
                  <a:cubicBezTo>
                    <a:pt x="1449" y="708"/>
                    <a:pt x="1447" y="703"/>
                    <a:pt x="1450" y="699"/>
                  </a:cubicBezTo>
                  <a:cubicBezTo>
                    <a:pt x="1452" y="701"/>
                    <a:pt x="1454" y="701"/>
                    <a:pt x="1457" y="701"/>
                  </a:cubicBezTo>
                  <a:cubicBezTo>
                    <a:pt x="1457" y="706"/>
                    <a:pt x="1459" y="712"/>
                    <a:pt x="1463" y="717"/>
                  </a:cubicBezTo>
                  <a:cubicBezTo>
                    <a:pt x="1466" y="715"/>
                    <a:pt x="1459" y="708"/>
                    <a:pt x="1459" y="705"/>
                  </a:cubicBezTo>
                  <a:cubicBezTo>
                    <a:pt x="1466" y="698"/>
                    <a:pt x="1470" y="706"/>
                    <a:pt x="1475" y="705"/>
                  </a:cubicBezTo>
                  <a:cubicBezTo>
                    <a:pt x="1472" y="701"/>
                    <a:pt x="1472" y="694"/>
                    <a:pt x="1473" y="691"/>
                  </a:cubicBezTo>
                  <a:cubicBezTo>
                    <a:pt x="1475" y="685"/>
                    <a:pt x="1481" y="682"/>
                    <a:pt x="1486" y="689"/>
                  </a:cubicBezTo>
                  <a:cubicBezTo>
                    <a:pt x="1481" y="694"/>
                    <a:pt x="1477" y="691"/>
                    <a:pt x="1473" y="691"/>
                  </a:cubicBezTo>
                  <a:cubicBezTo>
                    <a:pt x="1475" y="696"/>
                    <a:pt x="1481" y="696"/>
                    <a:pt x="1479" y="701"/>
                  </a:cubicBezTo>
                  <a:cubicBezTo>
                    <a:pt x="1484" y="691"/>
                    <a:pt x="1488" y="696"/>
                    <a:pt x="1498" y="694"/>
                  </a:cubicBezTo>
                  <a:cubicBezTo>
                    <a:pt x="1496" y="689"/>
                    <a:pt x="1498" y="680"/>
                    <a:pt x="1489" y="675"/>
                  </a:cubicBezTo>
                  <a:cubicBezTo>
                    <a:pt x="1496" y="676"/>
                    <a:pt x="1505" y="675"/>
                    <a:pt x="1512" y="675"/>
                  </a:cubicBezTo>
                  <a:cubicBezTo>
                    <a:pt x="1514" y="680"/>
                    <a:pt x="1507" y="682"/>
                    <a:pt x="1502" y="683"/>
                  </a:cubicBezTo>
                  <a:cubicBezTo>
                    <a:pt x="1500" y="687"/>
                    <a:pt x="1509" y="691"/>
                    <a:pt x="1511" y="692"/>
                  </a:cubicBezTo>
                  <a:cubicBezTo>
                    <a:pt x="1516" y="691"/>
                    <a:pt x="1507" y="691"/>
                    <a:pt x="1511" y="685"/>
                  </a:cubicBezTo>
                  <a:cubicBezTo>
                    <a:pt x="1516" y="685"/>
                    <a:pt x="1520" y="685"/>
                    <a:pt x="1525" y="682"/>
                  </a:cubicBezTo>
                  <a:cubicBezTo>
                    <a:pt x="1530" y="685"/>
                    <a:pt x="1527" y="685"/>
                    <a:pt x="1528" y="691"/>
                  </a:cubicBezTo>
                  <a:cubicBezTo>
                    <a:pt x="1537" y="678"/>
                    <a:pt x="1525" y="667"/>
                    <a:pt x="1539" y="662"/>
                  </a:cubicBezTo>
                  <a:cubicBezTo>
                    <a:pt x="1537" y="660"/>
                    <a:pt x="1534" y="660"/>
                    <a:pt x="1530" y="662"/>
                  </a:cubicBezTo>
                  <a:cubicBezTo>
                    <a:pt x="1538" y="646"/>
                    <a:pt x="1556" y="642"/>
                    <a:pt x="1572" y="639"/>
                  </a:cubicBezTo>
                  <a:cubicBezTo>
                    <a:pt x="1577" y="635"/>
                    <a:pt x="1583" y="633"/>
                    <a:pt x="1589" y="632"/>
                  </a:cubicBezTo>
                  <a:cubicBezTo>
                    <a:pt x="1592" y="630"/>
                    <a:pt x="1594" y="628"/>
                    <a:pt x="1596" y="625"/>
                  </a:cubicBezTo>
                  <a:cubicBezTo>
                    <a:pt x="1605" y="627"/>
                    <a:pt x="1601" y="630"/>
                    <a:pt x="1607" y="621"/>
                  </a:cubicBezTo>
                  <a:cubicBezTo>
                    <a:pt x="1615" y="630"/>
                    <a:pt x="1610" y="637"/>
                    <a:pt x="1605" y="644"/>
                  </a:cubicBezTo>
                  <a:cubicBezTo>
                    <a:pt x="1608" y="644"/>
                    <a:pt x="1610" y="643"/>
                    <a:pt x="1612" y="643"/>
                  </a:cubicBezTo>
                  <a:cubicBezTo>
                    <a:pt x="1614" y="650"/>
                    <a:pt x="1614" y="648"/>
                    <a:pt x="1619" y="651"/>
                  </a:cubicBezTo>
                  <a:cubicBezTo>
                    <a:pt x="1624" y="646"/>
                    <a:pt x="1608" y="643"/>
                    <a:pt x="1614" y="636"/>
                  </a:cubicBezTo>
                  <a:cubicBezTo>
                    <a:pt x="1619" y="641"/>
                    <a:pt x="1628" y="625"/>
                    <a:pt x="1640" y="628"/>
                  </a:cubicBezTo>
                  <a:cubicBezTo>
                    <a:pt x="1642" y="627"/>
                    <a:pt x="1639" y="625"/>
                    <a:pt x="1637" y="627"/>
                  </a:cubicBezTo>
                  <a:cubicBezTo>
                    <a:pt x="1637" y="620"/>
                    <a:pt x="1647" y="628"/>
                    <a:pt x="1653" y="623"/>
                  </a:cubicBezTo>
                  <a:cubicBezTo>
                    <a:pt x="1649" y="623"/>
                    <a:pt x="1647" y="623"/>
                    <a:pt x="1644" y="623"/>
                  </a:cubicBezTo>
                  <a:cubicBezTo>
                    <a:pt x="1642" y="616"/>
                    <a:pt x="1649" y="623"/>
                    <a:pt x="1653" y="620"/>
                  </a:cubicBezTo>
                  <a:cubicBezTo>
                    <a:pt x="1651" y="618"/>
                    <a:pt x="1649" y="618"/>
                    <a:pt x="1647" y="618"/>
                  </a:cubicBezTo>
                  <a:cubicBezTo>
                    <a:pt x="1646" y="612"/>
                    <a:pt x="1656" y="612"/>
                    <a:pt x="1656" y="607"/>
                  </a:cubicBezTo>
                  <a:cubicBezTo>
                    <a:pt x="1660" y="611"/>
                    <a:pt x="1671" y="612"/>
                    <a:pt x="1671" y="604"/>
                  </a:cubicBezTo>
                  <a:cubicBezTo>
                    <a:pt x="1699" y="602"/>
                    <a:pt x="1727" y="589"/>
                    <a:pt x="1752" y="579"/>
                  </a:cubicBezTo>
                  <a:cubicBezTo>
                    <a:pt x="1756" y="584"/>
                    <a:pt x="1756" y="584"/>
                    <a:pt x="1756" y="584"/>
                  </a:cubicBezTo>
                  <a:cubicBezTo>
                    <a:pt x="1770" y="568"/>
                    <a:pt x="1790" y="565"/>
                    <a:pt x="1807" y="556"/>
                  </a:cubicBezTo>
                  <a:cubicBezTo>
                    <a:pt x="1800" y="577"/>
                    <a:pt x="1772" y="577"/>
                    <a:pt x="1752" y="588"/>
                  </a:cubicBezTo>
                  <a:close/>
                  <a:moveTo>
                    <a:pt x="1809" y="563"/>
                  </a:moveTo>
                  <a:cubicBezTo>
                    <a:pt x="1816" y="543"/>
                    <a:pt x="1850" y="538"/>
                    <a:pt x="1864" y="529"/>
                  </a:cubicBezTo>
                  <a:cubicBezTo>
                    <a:pt x="1859" y="550"/>
                    <a:pt x="1827" y="549"/>
                    <a:pt x="1809" y="563"/>
                  </a:cubicBezTo>
                  <a:close/>
                  <a:moveTo>
                    <a:pt x="2612" y="72"/>
                  </a:moveTo>
                  <a:cubicBezTo>
                    <a:pt x="2613" y="77"/>
                    <a:pt x="2599" y="89"/>
                    <a:pt x="2596" y="79"/>
                  </a:cubicBezTo>
                  <a:cubicBezTo>
                    <a:pt x="2605" y="77"/>
                    <a:pt x="2603" y="75"/>
                    <a:pt x="2612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E72664D5-DF44-4911-A3B7-66A42C86A75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1685" y="117459"/>
              <a:ext cx="4763" cy="6350"/>
            </a:xfrm>
            <a:custGeom>
              <a:avLst/>
              <a:gdLst>
                <a:gd name="T0" fmla="*/ 0 w 2"/>
                <a:gd name="T1" fmla="*/ 0 h 2"/>
                <a:gd name="T2" fmla="*/ 0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2" y="2"/>
                    <a:pt x="2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8F52C71D-7FC2-43CC-8BF1-21B0EE5335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34085" y="-3954552"/>
              <a:ext cx="23813" cy="23813"/>
            </a:xfrm>
            <a:custGeom>
              <a:avLst/>
              <a:gdLst>
                <a:gd name="T0" fmla="*/ 8 w 8"/>
                <a:gd name="T1" fmla="*/ 0 h 8"/>
                <a:gd name="T2" fmla="*/ 2 w 8"/>
                <a:gd name="T3" fmla="*/ 8 h 8"/>
                <a:gd name="T4" fmla="*/ 6 w 8"/>
                <a:gd name="T5" fmla="*/ 6 h 8"/>
                <a:gd name="T6" fmla="*/ 8 w 8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8">
                  <a:moveTo>
                    <a:pt x="8" y="0"/>
                  </a:moveTo>
                  <a:cubicBezTo>
                    <a:pt x="6" y="0"/>
                    <a:pt x="0" y="3"/>
                    <a:pt x="2" y="8"/>
                  </a:cubicBezTo>
                  <a:cubicBezTo>
                    <a:pt x="3" y="7"/>
                    <a:pt x="4" y="7"/>
                    <a:pt x="6" y="6"/>
                  </a:cubicBezTo>
                  <a:cubicBezTo>
                    <a:pt x="7" y="5"/>
                    <a:pt x="8" y="2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7C3FCDCA-478B-4918-B050-37719D6CF6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00748" y="-4086317"/>
              <a:ext cx="6350" cy="15875"/>
            </a:xfrm>
            <a:custGeom>
              <a:avLst/>
              <a:gdLst>
                <a:gd name="T0" fmla="*/ 2 w 2"/>
                <a:gd name="T1" fmla="*/ 5 h 5"/>
                <a:gd name="T2" fmla="*/ 1 w 2"/>
                <a:gd name="T3" fmla="*/ 0 h 5"/>
                <a:gd name="T4" fmla="*/ 0 w 2"/>
                <a:gd name="T5" fmla="*/ 2 h 5"/>
                <a:gd name="T6" fmla="*/ 2 w 2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5">
                  <a:moveTo>
                    <a:pt x="2" y="5"/>
                  </a:moveTo>
                  <a:cubicBezTo>
                    <a:pt x="2" y="3"/>
                    <a:pt x="2" y="2"/>
                    <a:pt x="1" y="0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0" y="3"/>
                    <a:pt x="1" y="4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8733C6F8-919F-4453-B59E-96FEB5D139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27735" y="-405932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BF49DC61-64CE-457C-8FDE-8FC3A33D64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4248" y="-4202206"/>
              <a:ext cx="12700" cy="4763"/>
            </a:xfrm>
            <a:custGeom>
              <a:avLst/>
              <a:gdLst>
                <a:gd name="T0" fmla="*/ 4 w 4"/>
                <a:gd name="T1" fmla="*/ 2 h 2"/>
                <a:gd name="T2" fmla="*/ 4 w 4"/>
                <a:gd name="T3" fmla="*/ 0 h 2"/>
                <a:gd name="T4" fmla="*/ 0 w 4"/>
                <a:gd name="T5" fmla="*/ 0 h 2"/>
                <a:gd name="T6" fmla="*/ 4 w 4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2"/>
                  </a:moveTo>
                  <a:cubicBezTo>
                    <a:pt x="4" y="1"/>
                    <a:pt x="4" y="1"/>
                    <a:pt x="4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1" y="1"/>
                    <a:pt x="2" y="2"/>
                    <a:pt x="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FED3932B-151F-4BDD-898A-3C15C84F6C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111873" y="-4232369"/>
              <a:ext cx="12700" cy="17463"/>
            </a:xfrm>
            <a:custGeom>
              <a:avLst/>
              <a:gdLst>
                <a:gd name="T0" fmla="*/ 1 w 4"/>
                <a:gd name="T1" fmla="*/ 3 h 6"/>
                <a:gd name="T2" fmla="*/ 4 w 4"/>
                <a:gd name="T3" fmla="*/ 6 h 6"/>
                <a:gd name="T4" fmla="*/ 1 w 4"/>
                <a:gd name="T5" fmla="*/ 0 h 6"/>
                <a:gd name="T6" fmla="*/ 1 w 4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6">
                  <a:moveTo>
                    <a:pt x="1" y="3"/>
                  </a:moveTo>
                  <a:cubicBezTo>
                    <a:pt x="2" y="3"/>
                    <a:pt x="3" y="4"/>
                    <a:pt x="4" y="6"/>
                  </a:cubicBezTo>
                  <a:cubicBezTo>
                    <a:pt x="4" y="2"/>
                    <a:pt x="3" y="1"/>
                    <a:pt x="1" y="0"/>
                  </a:cubicBezTo>
                  <a:cubicBezTo>
                    <a:pt x="0" y="1"/>
                    <a:pt x="0" y="2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18814C38-6002-4E9E-A288-CCA02DD759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81710" y="-4262532"/>
              <a:ext cx="26988" cy="38101"/>
            </a:xfrm>
            <a:custGeom>
              <a:avLst/>
              <a:gdLst>
                <a:gd name="T0" fmla="*/ 0 w 9"/>
                <a:gd name="T1" fmla="*/ 5 h 13"/>
                <a:gd name="T2" fmla="*/ 1 w 9"/>
                <a:gd name="T3" fmla="*/ 5 h 13"/>
                <a:gd name="T4" fmla="*/ 9 w 9"/>
                <a:gd name="T5" fmla="*/ 11 h 13"/>
                <a:gd name="T6" fmla="*/ 7 w 9"/>
                <a:gd name="T7" fmla="*/ 8 h 13"/>
                <a:gd name="T8" fmla="*/ 2 w 9"/>
                <a:gd name="T9" fmla="*/ 0 h 13"/>
                <a:gd name="T10" fmla="*/ 1 w 9"/>
                <a:gd name="T11" fmla="*/ 1 h 13"/>
                <a:gd name="T12" fmla="*/ 2 w 9"/>
                <a:gd name="T13" fmla="*/ 2 h 13"/>
                <a:gd name="T14" fmla="*/ 0 w 9"/>
                <a:gd name="T15" fmla="*/ 5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13">
                  <a:moveTo>
                    <a:pt x="0" y="5"/>
                  </a:moveTo>
                  <a:cubicBezTo>
                    <a:pt x="0" y="5"/>
                    <a:pt x="0" y="5"/>
                    <a:pt x="1" y="5"/>
                  </a:cubicBezTo>
                  <a:cubicBezTo>
                    <a:pt x="5" y="2"/>
                    <a:pt x="2" y="13"/>
                    <a:pt x="9" y="11"/>
                  </a:cubicBezTo>
                  <a:cubicBezTo>
                    <a:pt x="8" y="10"/>
                    <a:pt x="8" y="9"/>
                    <a:pt x="7" y="8"/>
                  </a:cubicBezTo>
                  <a:cubicBezTo>
                    <a:pt x="5" y="7"/>
                    <a:pt x="3" y="5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2" y="2"/>
                    <a:pt x="2" y="2"/>
                  </a:cubicBezTo>
                  <a:cubicBezTo>
                    <a:pt x="2" y="2"/>
                    <a:pt x="1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79365663-A7FD-44C9-B0F6-4D3EFD3CD7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46810" y="-4076791"/>
              <a:ext cx="26988" cy="14288"/>
            </a:xfrm>
            <a:custGeom>
              <a:avLst/>
              <a:gdLst>
                <a:gd name="T0" fmla="*/ 9 w 9"/>
                <a:gd name="T1" fmla="*/ 2 h 5"/>
                <a:gd name="T2" fmla="*/ 3 w 9"/>
                <a:gd name="T3" fmla="*/ 0 h 5"/>
                <a:gd name="T4" fmla="*/ 0 w 9"/>
                <a:gd name="T5" fmla="*/ 3 h 5"/>
                <a:gd name="T6" fmla="*/ 7 w 9"/>
                <a:gd name="T7" fmla="*/ 5 h 5"/>
                <a:gd name="T8" fmla="*/ 9 w 9"/>
                <a:gd name="T9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5">
                  <a:moveTo>
                    <a:pt x="9" y="2"/>
                  </a:moveTo>
                  <a:cubicBezTo>
                    <a:pt x="7" y="3"/>
                    <a:pt x="5" y="3"/>
                    <a:pt x="3" y="0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3" y="3"/>
                    <a:pt x="5" y="4"/>
                    <a:pt x="7" y="5"/>
                  </a:cubicBezTo>
                  <a:cubicBezTo>
                    <a:pt x="8" y="4"/>
                    <a:pt x="9" y="3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C5CD9D68-725D-458F-8400-EA7AA92F47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13485" y="-4097429"/>
              <a:ext cx="3175" cy="4763"/>
            </a:xfrm>
            <a:custGeom>
              <a:avLst/>
              <a:gdLst>
                <a:gd name="T0" fmla="*/ 0 w 1"/>
                <a:gd name="T1" fmla="*/ 0 h 2"/>
                <a:gd name="T2" fmla="*/ 1 w 1"/>
                <a:gd name="T3" fmla="*/ 2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cubicBezTo>
                    <a:pt x="0" y="1"/>
                    <a:pt x="0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99D7D57E-AA64-46DD-BCD0-7AEA0E4463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6135" y="-4229194"/>
              <a:ext cx="317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1" y="0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任意多边形: 形状 657">
              <a:extLst>
                <a:ext uri="{FF2B5EF4-FFF2-40B4-BE49-F238E27FC236}">
                  <a16:creationId xmlns:a16="http://schemas.microsoft.com/office/drawing/2014/main" id="{757CD973-B4BE-4E29-94F4-1E12BF8115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29310" y="-4251420"/>
              <a:ext cx="3175" cy="6350"/>
            </a:xfrm>
            <a:custGeom>
              <a:avLst/>
              <a:gdLst>
                <a:gd name="T0" fmla="*/ 1 w 1"/>
                <a:gd name="T1" fmla="*/ 1 h 2"/>
                <a:gd name="T2" fmla="*/ 0 w 1"/>
                <a:gd name="T3" fmla="*/ 0 h 2"/>
                <a:gd name="T4" fmla="*/ 0 w 1"/>
                <a:gd name="T5" fmla="*/ 2 h 2"/>
                <a:gd name="T6" fmla="*/ 1 w 1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1"/>
                  </a:moveTo>
                  <a:cubicBezTo>
                    <a:pt x="0" y="1"/>
                    <a:pt x="0" y="1"/>
                    <a:pt x="0" y="0"/>
                  </a:cubicBezTo>
                  <a:cubicBezTo>
                    <a:pt x="0" y="1"/>
                    <a:pt x="0" y="1"/>
                    <a:pt x="0" y="2"/>
                  </a:cubicBezTo>
                  <a:cubicBezTo>
                    <a:pt x="0" y="2"/>
                    <a:pt x="0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任意多边形: 形状 658">
              <a:extLst>
                <a:ext uri="{FF2B5EF4-FFF2-40B4-BE49-F238E27FC236}">
                  <a16:creationId xmlns:a16="http://schemas.microsoft.com/office/drawing/2014/main" id="{B822B250-FD08-4153-B334-85215E36F8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86460" y="-4157755"/>
              <a:ext cx="6350" cy="0"/>
            </a:xfrm>
            <a:custGeom>
              <a:avLst/>
              <a:gdLst>
                <a:gd name="T0" fmla="*/ 2 w 2"/>
                <a:gd name="T1" fmla="*/ 0 w 2"/>
                <a:gd name="T2" fmla="*/ 2 w 2"/>
                <a:gd name="T3" fmla="*/ 2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1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B4BCE513-DF31-4EAC-AF4E-FA4CCC161B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208710" y="-4062504"/>
              <a:ext cx="11113" cy="6350"/>
            </a:xfrm>
            <a:custGeom>
              <a:avLst/>
              <a:gdLst>
                <a:gd name="T0" fmla="*/ 0 w 4"/>
                <a:gd name="T1" fmla="*/ 1 h 2"/>
                <a:gd name="T2" fmla="*/ 2 w 4"/>
                <a:gd name="T3" fmla="*/ 2 h 2"/>
                <a:gd name="T4" fmla="*/ 4 w 4"/>
                <a:gd name="T5" fmla="*/ 1 h 2"/>
                <a:gd name="T6" fmla="*/ 0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0" y="1"/>
                  </a:moveTo>
                  <a:cubicBezTo>
                    <a:pt x="1" y="1"/>
                    <a:pt x="1" y="2"/>
                    <a:pt x="2" y="2"/>
                  </a:cubicBezTo>
                  <a:cubicBezTo>
                    <a:pt x="3" y="1"/>
                    <a:pt x="3" y="1"/>
                    <a:pt x="4" y="1"/>
                  </a:cubicBezTo>
                  <a:cubicBezTo>
                    <a:pt x="3" y="0"/>
                    <a:pt x="1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3C9FEAD1-BCCD-4E7D-A214-DD1662C134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01425" y="-2324160"/>
              <a:ext cx="12700" cy="9525"/>
            </a:xfrm>
            <a:custGeom>
              <a:avLst/>
              <a:gdLst>
                <a:gd name="T0" fmla="*/ 2 w 4"/>
                <a:gd name="T1" fmla="*/ 0 h 3"/>
                <a:gd name="T2" fmla="*/ 0 w 4"/>
                <a:gd name="T3" fmla="*/ 1 h 3"/>
                <a:gd name="T4" fmla="*/ 4 w 4"/>
                <a:gd name="T5" fmla="*/ 3 h 3"/>
                <a:gd name="T6" fmla="*/ 4 w 4"/>
                <a:gd name="T7" fmla="*/ 1 h 3"/>
                <a:gd name="T8" fmla="*/ 2 w 4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3">
                  <a:moveTo>
                    <a:pt x="2" y="0"/>
                  </a:moveTo>
                  <a:cubicBezTo>
                    <a:pt x="1" y="0"/>
                    <a:pt x="1" y="0"/>
                    <a:pt x="0" y="1"/>
                  </a:cubicBezTo>
                  <a:cubicBezTo>
                    <a:pt x="2" y="1"/>
                    <a:pt x="3" y="1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4" y="0"/>
                    <a:pt x="3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F3342EC8-C3FA-4E48-93FE-7C9A6023DC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50587" y="-2536889"/>
              <a:ext cx="15875" cy="9525"/>
            </a:xfrm>
            <a:custGeom>
              <a:avLst/>
              <a:gdLst>
                <a:gd name="T0" fmla="*/ 2 w 5"/>
                <a:gd name="T1" fmla="*/ 3 h 3"/>
                <a:gd name="T2" fmla="*/ 3 w 5"/>
                <a:gd name="T3" fmla="*/ 3 h 3"/>
                <a:gd name="T4" fmla="*/ 5 w 5"/>
                <a:gd name="T5" fmla="*/ 0 h 3"/>
                <a:gd name="T6" fmla="*/ 0 w 5"/>
                <a:gd name="T7" fmla="*/ 2 h 3"/>
                <a:gd name="T8" fmla="*/ 2 w 5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">
                  <a:moveTo>
                    <a:pt x="2" y="3"/>
                  </a:moveTo>
                  <a:cubicBezTo>
                    <a:pt x="2" y="3"/>
                    <a:pt x="3" y="3"/>
                    <a:pt x="3" y="3"/>
                  </a:cubicBezTo>
                  <a:cubicBezTo>
                    <a:pt x="4" y="1"/>
                    <a:pt x="4" y="1"/>
                    <a:pt x="5" y="0"/>
                  </a:cubicBezTo>
                  <a:cubicBezTo>
                    <a:pt x="3" y="0"/>
                    <a:pt x="1" y="1"/>
                    <a:pt x="0" y="2"/>
                  </a:cubicBezTo>
                  <a:cubicBezTo>
                    <a:pt x="1" y="2"/>
                    <a:pt x="1" y="3"/>
                    <a:pt x="2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082A3B30-8A6E-4477-B22F-181F5A0FA5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817225" y="-2317810"/>
              <a:ext cx="9525" cy="7938"/>
            </a:xfrm>
            <a:custGeom>
              <a:avLst/>
              <a:gdLst>
                <a:gd name="T0" fmla="*/ 1 w 3"/>
                <a:gd name="T1" fmla="*/ 3 h 3"/>
                <a:gd name="T2" fmla="*/ 3 w 3"/>
                <a:gd name="T3" fmla="*/ 1 h 3"/>
                <a:gd name="T4" fmla="*/ 0 w 3"/>
                <a:gd name="T5" fmla="*/ 0 h 3"/>
                <a:gd name="T6" fmla="*/ 1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1" y="3"/>
                  </a:moveTo>
                  <a:cubicBezTo>
                    <a:pt x="2" y="3"/>
                    <a:pt x="2" y="2"/>
                    <a:pt x="3" y="1"/>
                  </a:cubicBezTo>
                  <a:cubicBezTo>
                    <a:pt x="2" y="1"/>
                    <a:pt x="2" y="0"/>
                    <a:pt x="0" y="0"/>
                  </a:cubicBezTo>
                  <a:cubicBezTo>
                    <a:pt x="0" y="1"/>
                    <a:pt x="1" y="2"/>
                    <a:pt x="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76CC9D95-4E2A-46FB-851F-AE5572EA106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36187" y="-3702135"/>
              <a:ext cx="26988" cy="11113"/>
            </a:xfrm>
            <a:custGeom>
              <a:avLst/>
              <a:gdLst>
                <a:gd name="T0" fmla="*/ 9 w 9"/>
                <a:gd name="T1" fmla="*/ 0 h 4"/>
                <a:gd name="T2" fmla="*/ 0 w 9"/>
                <a:gd name="T3" fmla="*/ 3 h 4"/>
                <a:gd name="T4" fmla="*/ 0 w 9"/>
                <a:gd name="T5" fmla="*/ 4 h 4"/>
                <a:gd name="T6" fmla="*/ 9 w 9"/>
                <a:gd name="T7" fmla="*/ 3 h 4"/>
                <a:gd name="T8" fmla="*/ 9 w 9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4">
                  <a:moveTo>
                    <a:pt x="9" y="0"/>
                  </a:moveTo>
                  <a:cubicBezTo>
                    <a:pt x="6" y="0"/>
                    <a:pt x="3" y="0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3" y="3"/>
                    <a:pt x="6" y="3"/>
                    <a:pt x="9" y="3"/>
                  </a:cubicBezTo>
                  <a:cubicBezTo>
                    <a:pt x="9" y="2"/>
                    <a:pt x="9" y="1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42C68D80-112A-46A7-8BA6-F6C5BC4EC7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80612" y="-3617996"/>
              <a:ext cx="15875" cy="11113"/>
            </a:xfrm>
            <a:custGeom>
              <a:avLst/>
              <a:gdLst>
                <a:gd name="T0" fmla="*/ 5 w 5"/>
                <a:gd name="T1" fmla="*/ 0 h 4"/>
                <a:gd name="T2" fmla="*/ 0 w 5"/>
                <a:gd name="T3" fmla="*/ 4 h 4"/>
                <a:gd name="T4" fmla="*/ 5 w 5"/>
                <a:gd name="T5" fmla="*/ 2 h 4"/>
                <a:gd name="T6" fmla="*/ 5 w 5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4">
                  <a:moveTo>
                    <a:pt x="5" y="0"/>
                  </a:moveTo>
                  <a:cubicBezTo>
                    <a:pt x="3" y="1"/>
                    <a:pt x="1" y="2"/>
                    <a:pt x="0" y="4"/>
                  </a:cubicBezTo>
                  <a:cubicBezTo>
                    <a:pt x="2" y="3"/>
                    <a:pt x="4" y="3"/>
                    <a:pt x="5" y="2"/>
                  </a:cubicBezTo>
                  <a:cubicBezTo>
                    <a:pt x="5" y="1"/>
                    <a:pt x="5" y="0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74DA9062-2949-45B6-A7E3-2DC0BFE8C18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2648" y="-530253"/>
              <a:ext cx="23813" cy="22225"/>
            </a:xfrm>
            <a:custGeom>
              <a:avLst/>
              <a:gdLst>
                <a:gd name="T0" fmla="*/ 7 w 8"/>
                <a:gd name="T1" fmla="*/ 0 h 7"/>
                <a:gd name="T2" fmla="*/ 0 w 8"/>
                <a:gd name="T3" fmla="*/ 7 h 7"/>
                <a:gd name="T4" fmla="*/ 8 w 8"/>
                <a:gd name="T5" fmla="*/ 2 h 7"/>
                <a:gd name="T6" fmla="*/ 7 w 8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4" y="3"/>
                    <a:pt x="2" y="5"/>
                    <a:pt x="0" y="7"/>
                  </a:cubicBezTo>
                  <a:cubicBezTo>
                    <a:pt x="3" y="6"/>
                    <a:pt x="5" y="4"/>
                    <a:pt x="8" y="2"/>
                  </a:cubicBezTo>
                  <a:cubicBezTo>
                    <a:pt x="7" y="0"/>
                    <a:pt x="7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49468E35-52A1-4412-A229-AA458259BD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4975" y="-3941852"/>
              <a:ext cx="50800" cy="20638"/>
            </a:xfrm>
            <a:custGeom>
              <a:avLst/>
              <a:gdLst>
                <a:gd name="T0" fmla="*/ 0 w 17"/>
                <a:gd name="T1" fmla="*/ 7 h 7"/>
                <a:gd name="T2" fmla="*/ 17 w 17"/>
                <a:gd name="T3" fmla="*/ 0 h 7"/>
                <a:gd name="T4" fmla="*/ 0 w 17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7">
                  <a:moveTo>
                    <a:pt x="0" y="7"/>
                  </a:moveTo>
                  <a:cubicBezTo>
                    <a:pt x="6" y="5"/>
                    <a:pt x="12" y="3"/>
                    <a:pt x="17" y="0"/>
                  </a:cubicBezTo>
                  <a:cubicBezTo>
                    <a:pt x="11" y="1"/>
                    <a:pt x="5" y="3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B1F3994C-2D7D-4C6F-A189-5C9EFA77C6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14012" y="-3891051"/>
              <a:ext cx="60325" cy="17463"/>
            </a:xfrm>
            <a:custGeom>
              <a:avLst/>
              <a:gdLst>
                <a:gd name="T0" fmla="*/ 0 w 20"/>
                <a:gd name="T1" fmla="*/ 5 h 6"/>
                <a:gd name="T2" fmla="*/ 20 w 20"/>
                <a:gd name="T3" fmla="*/ 0 h 6"/>
                <a:gd name="T4" fmla="*/ 2 w 20"/>
                <a:gd name="T5" fmla="*/ 2 h 6"/>
                <a:gd name="T6" fmla="*/ 0 w 20"/>
                <a:gd name="T7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6">
                  <a:moveTo>
                    <a:pt x="0" y="5"/>
                  </a:moveTo>
                  <a:cubicBezTo>
                    <a:pt x="7" y="2"/>
                    <a:pt x="12" y="6"/>
                    <a:pt x="20" y="0"/>
                  </a:cubicBezTo>
                  <a:cubicBezTo>
                    <a:pt x="14" y="0"/>
                    <a:pt x="7" y="2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37C4CD68-FF4C-4707-AEC3-A1CC05974C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989177" y="-4289520"/>
              <a:ext cx="104775" cy="44451"/>
            </a:xfrm>
            <a:custGeom>
              <a:avLst/>
              <a:gdLst>
                <a:gd name="T0" fmla="*/ 9 w 35"/>
                <a:gd name="T1" fmla="*/ 15 h 15"/>
                <a:gd name="T2" fmla="*/ 35 w 35"/>
                <a:gd name="T3" fmla="*/ 0 h 15"/>
                <a:gd name="T4" fmla="*/ 9 w 35"/>
                <a:gd name="T5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15">
                  <a:moveTo>
                    <a:pt x="9" y="15"/>
                  </a:moveTo>
                  <a:cubicBezTo>
                    <a:pt x="11" y="8"/>
                    <a:pt x="33" y="3"/>
                    <a:pt x="35" y="0"/>
                  </a:cubicBezTo>
                  <a:cubicBezTo>
                    <a:pt x="30" y="0"/>
                    <a:pt x="0" y="12"/>
                    <a:pt x="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00C804B4-9FD4-486B-99A0-0110CBD3E3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835064" y="-5602406"/>
              <a:ext cx="53975" cy="46038"/>
            </a:xfrm>
            <a:custGeom>
              <a:avLst/>
              <a:gdLst>
                <a:gd name="T0" fmla="*/ 0 w 18"/>
                <a:gd name="T1" fmla="*/ 6 h 15"/>
                <a:gd name="T2" fmla="*/ 10 w 18"/>
                <a:gd name="T3" fmla="*/ 15 h 15"/>
                <a:gd name="T4" fmla="*/ 18 w 18"/>
                <a:gd name="T5" fmla="*/ 0 h 15"/>
                <a:gd name="T6" fmla="*/ 0 w 18"/>
                <a:gd name="T7" fmla="*/ 6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0" y="6"/>
                  </a:moveTo>
                  <a:cubicBezTo>
                    <a:pt x="3" y="13"/>
                    <a:pt x="8" y="9"/>
                    <a:pt x="10" y="15"/>
                  </a:cubicBezTo>
                  <a:cubicBezTo>
                    <a:pt x="16" y="13"/>
                    <a:pt x="16" y="6"/>
                    <a:pt x="18" y="0"/>
                  </a:cubicBezTo>
                  <a:cubicBezTo>
                    <a:pt x="11" y="9"/>
                    <a:pt x="6" y="9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EF23A434-63F5-4680-BA85-1773F16F845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85851" y="-5119798"/>
              <a:ext cx="66675" cy="39688"/>
            </a:xfrm>
            <a:custGeom>
              <a:avLst/>
              <a:gdLst>
                <a:gd name="T0" fmla="*/ 5 w 22"/>
                <a:gd name="T1" fmla="*/ 3 h 13"/>
                <a:gd name="T2" fmla="*/ 9 w 22"/>
                <a:gd name="T3" fmla="*/ 11 h 13"/>
                <a:gd name="T4" fmla="*/ 9 w 22"/>
                <a:gd name="T5" fmla="*/ 5 h 13"/>
                <a:gd name="T6" fmla="*/ 20 w 22"/>
                <a:gd name="T7" fmla="*/ 5 h 13"/>
                <a:gd name="T8" fmla="*/ 5 w 22"/>
                <a:gd name="T9" fmla="*/ 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3">
                  <a:moveTo>
                    <a:pt x="5" y="3"/>
                  </a:moveTo>
                  <a:cubicBezTo>
                    <a:pt x="4" y="6"/>
                    <a:pt x="0" y="13"/>
                    <a:pt x="9" y="11"/>
                  </a:cubicBezTo>
                  <a:cubicBezTo>
                    <a:pt x="7" y="10"/>
                    <a:pt x="7" y="6"/>
                    <a:pt x="9" y="5"/>
                  </a:cubicBezTo>
                  <a:cubicBezTo>
                    <a:pt x="11" y="11"/>
                    <a:pt x="22" y="10"/>
                    <a:pt x="20" y="5"/>
                  </a:cubicBezTo>
                  <a:cubicBezTo>
                    <a:pt x="14" y="8"/>
                    <a:pt x="13" y="0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595ED84C-C680-4EB2-A7A1-1EC8656B46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92138" y="-4438748"/>
              <a:ext cx="101600" cy="65089"/>
            </a:xfrm>
            <a:custGeom>
              <a:avLst/>
              <a:gdLst>
                <a:gd name="T0" fmla="*/ 29 w 34"/>
                <a:gd name="T1" fmla="*/ 15 h 22"/>
                <a:gd name="T2" fmla="*/ 31 w 34"/>
                <a:gd name="T3" fmla="*/ 0 h 22"/>
                <a:gd name="T4" fmla="*/ 29 w 34"/>
                <a:gd name="T5" fmla="*/ 1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4" h="22">
                  <a:moveTo>
                    <a:pt x="29" y="15"/>
                  </a:moveTo>
                  <a:cubicBezTo>
                    <a:pt x="31" y="9"/>
                    <a:pt x="34" y="6"/>
                    <a:pt x="31" y="0"/>
                  </a:cubicBezTo>
                  <a:cubicBezTo>
                    <a:pt x="33" y="15"/>
                    <a:pt x="0" y="22"/>
                    <a:pt x="29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7957B29E-F2D7-43A3-9CA4-730AD535B9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393738" y="-4253007"/>
              <a:ext cx="65088" cy="28576"/>
            </a:xfrm>
            <a:custGeom>
              <a:avLst/>
              <a:gdLst>
                <a:gd name="T0" fmla="*/ 18 w 22"/>
                <a:gd name="T1" fmla="*/ 2 h 10"/>
                <a:gd name="T2" fmla="*/ 0 w 22"/>
                <a:gd name="T3" fmla="*/ 10 h 10"/>
                <a:gd name="T4" fmla="*/ 22 w 22"/>
                <a:gd name="T5" fmla="*/ 6 h 10"/>
                <a:gd name="T6" fmla="*/ 18 w 22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0">
                  <a:moveTo>
                    <a:pt x="18" y="2"/>
                  </a:moveTo>
                  <a:cubicBezTo>
                    <a:pt x="18" y="10"/>
                    <a:pt x="0" y="2"/>
                    <a:pt x="0" y="10"/>
                  </a:cubicBezTo>
                  <a:cubicBezTo>
                    <a:pt x="8" y="10"/>
                    <a:pt x="15" y="8"/>
                    <a:pt x="22" y="6"/>
                  </a:cubicBezTo>
                  <a:cubicBezTo>
                    <a:pt x="20" y="3"/>
                    <a:pt x="22" y="0"/>
                    <a:pt x="1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4" name="任意多边形: 形状 673">
              <a:extLst>
                <a:ext uri="{FF2B5EF4-FFF2-40B4-BE49-F238E27FC236}">
                  <a16:creationId xmlns:a16="http://schemas.microsoft.com/office/drawing/2014/main" id="{99658A73-38D4-49BF-B300-B7A274CE139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728701" y="-3202063"/>
              <a:ext cx="300038" cy="168278"/>
            </a:xfrm>
            <a:custGeom>
              <a:avLst/>
              <a:gdLst>
                <a:gd name="T0" fmla="*/ 76 w 100"/>
                <a:gd name="T1" fmla="*/ 11 h 56"/>
                <a:gd name="T2" fmla="*/ 91 w 100"/>
                <a:gd name="T3" fmla="*/ 9 h 56"/>
                <a:gd name="T4" fmla="*/ 53 w 100"/>
                <a:gd name="T5" fmla="*/ 18 h 56"/>
                <a:gd name="T6" fmla="*/ 55 w 100"/>
                <a:gd name="T7" fmla="*/ 25 h 56"/>
                <a:gd name="T8" fmla="*/ 46 w 100"/>
                <a:gd name="T9" fmla="*/ 20 h 56"/>
                <a:gd name="T10" fmla="*/ 0 w 100"/>
                <a:gd name="T11" fmla="*/ 51 h 56"/>
                <a:gd name="T12" fmla="*/ 11 w 100"/>
                <a:gd name="T13" fmla="*/ 56 h 56"/>
                <a:gd name="T14" fmla="*/ 13 w 100"/>
                <a:gd name="T15" fmla="*/ 44 h 56"/>
                <a:gd name="T16" fmla="*/ 18 w 100"/>
                <a:gd name="T17" fmla="*/ 44 h 56"/>
                <a:gd name="T18" fmla="*/ 42 w 100"/>
                <a:gd name="T19" fmla="*/ 42 h 56"/>
                <a:gd name="T20" fmla="*/ 38 w 100"/>
                <a:gd name="T21" fmla="*/ 32 h 56"/>
                <a:gd name="T22" fmla="*/ 51 w 100"/>
                <a:gd name="T23" fmla="*/ 27 h 56"/>
                <a:gd name="T24" fmla="*/ 51 w 100"/>
                <a:gd name="T25" fmla="*/ 27 h 56"/>
                <a:gd name="T26" fmla="*/ 51 w 100"/>
                <a:gd name="T27" fmla="*/ 27 h 56"/>
                <a:gd name="T28" fmla="*/ 64 w 100"/>
                <a:gd name="T29" fmla="*/ 28 h 56"/>
                <a:gd name="T30" fmla="*/ 100 w 100"/>
                <a:gd name="T31" fmla="*/ 13 h 56"/>
                <a:gd name="T32" fmla="*/ 91 w 100"/>
                <a:gd name="T33" fmla="*/ 0 h 56"/>
                <a:gd name="T34" fmla="*/ 76 w 100"/>
                <a:gd name="T35" fmla="*/ 11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0" h="56">
                  <a:moveTo>
                    <a:pt x="76" y="11"/>
                  </a:moveTo>
                  <a:cubicBezTo>
                    <a:pt x="80" y="14"/>
                    <a:pt x="87" y="4"/>
                    <a:pt x="91" y="9"/>
                  </a:cubicBezTo>
                  <a:cubicBezTo>
                    <a:pt x="82" y="21"/>
                    <a:pt x="65" y="11"/>
                    <a:pt x="53" y="18"/>
                  </a:cubicBezTo>
                  <a:cubicBezTo>
                    <a:pt x="55" y="21"/>
                    <a:pt x="56" y="23"/>
                    <a:pt x="55" y="25"/>
                  </a:cubicBezTo>
                  <a:cubicBezTo>
                    <a:pt x="51" y="23"/>
                    <a:pt x="49" y="21"/>
                    <a:pt x="46" y="20"/>
                  </a:cubicBezTo>
                  <a:cubicBezTo>
                    <a:pt x="35" y="32"/>
                    <a:pt x="4" y="34"/>
                    <a:pt x="0" y="51"/>
                  </a:cubicBezTo>
                  <a:cubicBezTo>
                    <a:pt x="4" y="53"/>
                    <a:pt x="15" y="46"/>
                    <a:pt x="11" y="56"/>
                  </a:cubicBezTo>
                  <a:cubicBezTo>
                    <a:pt x="22" y="51"/>
                    <a:pt x="9" y="49"/>
                    <a:pt x="13" y="44"/>
                  </a:cubicBezTo>
                  <a:cubicBezTo>
                    <a:pt x="15" y="46"/>
                    <a:pt x="17" y="46"/>
                    <a:pt x="18" y="44"/>
                  </a:cubicBezTo>
                  <a:cubicBezTo>
                    <a:pt x="20" y="55"/>
                    <a:pt x="33" y="41"/>
                    <a:pt x="42" y="42"/>
                  </a:cubicBezTo>
                  <a:cubicBezTo>
                    <a:pt x="46" y="37"/>
                    <a:pt x="35" y="37"/>
                    <a:pt x="38" y="32"/>
                  </a:cubicBezTo>
                  <a:cubicBezTo>
                    <a:pt x="47" y="37"/>
                    <a:pt x="56" y="35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3" y="28"/>
                    <a:pt x="65" y="20"/>
                    <a:pt x="64" y="28"/>
                  </a:cubicBezTo>
                  <a:cubicBezTo>
                    <a:pt x="85" y="18"/>
                    <a:pt x="84" y="21"/>
                    <a:pt x="100" y="13"/>
                  </a:cubicBezTo>
                  <a:cubicBezTo>
                    <a:pt x="94" y="6"/>
                    <a:pt x="96" y="7"/>
                    <a:pt x="91" y="0"/>
                  </a:cubicBezTo>
                  <a:cubicBezTo>
                    <a:pt x="85" y="9"/>
                    <a:pt x="80" y="4"/>
                    <a:pt x="76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5" name="任意多边形: 形状 674">
              <a:extLst>
                <a:ext uri="{FF2B5EF4-FFF2-40B4-BE49-F238E27FC236}">
                  <a16:creationId xmlns:a16="http://schemas.microsoft.com/office/drawing/2014/main" id="{A2952AA9-7D03-46D2-951F-E2D21F9AD0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79476" y="-3870413"/>
              <a:ext cx="74613" cy="26988"/>
            </a:xfrm>
            <a:custGeom>
              <a:avLst/>
              <a:gdLst>
                <a:gd name="T0" fmla="*/ 0 w 25"/>
                <a:gd name="T1" fmla="*/ 9 h 9"/>
                <a:gd name="T2" fmla="*/ 20 w 25"/>
                <a:gd name="T3" fmla="*/ 0 h 9"/>
                <a:gd name="T4" fmla="*/ 0 w 2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9">
                  <a:moveTo>
                    <a:pt x="0" y="9"/>
                  </a:moveTo>
                  <a:cubicBezTo>
                    <a:pt x="7" y="5"/>
                    <a:pt x="25" y="5"/>
                    <a:pt x="20" y="0"/>
                  </a:cubicBezTo>
                  <a:cubicBezTo>
                    <a:pt x="15" y="3"/>
                    <a:pt x="2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6" name="任意多边形: 形状 675">
              <a:extLst>
                <a:ext uri="{FF2B5EF4-FFF2-40B4-BE49-F238E27FC236}">
                  <a16:creationId xmlns:a16="http://schemas.microsoft.com/office/drawing/2014/main" id="{B21CE271-41AA-46FF-B4C6-2FB982A97F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273088" y="-4262532"/>
              <a:ext cx="74613" cy="26988"/>
            </a:xfrm>
            <a:custGeom>
              <a:avLst/>
              <a:gdLst>
                <a:gd name="T0" fmla="*/ 13 w 25"/>
                <a:gd name="T1" fmla="*/ 0 h 9"/>
                <a:gd name="T2" fmla="*/ 4 w 25"/>
                <a:gd name="T3" fmla="*/ 9 h 9"/>
                <a:gd name="T4" fmla="*/ 25 w 25"/>
                <a:gd name="T5" fmla="*/ 2 h 9"/>
                <a:gd name="T6" fmla="*/ 13 w 2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9">
                  <a:moveTo>
                    <a:pt x="13" y="0"/>
                  </a:moveTo>
                  <a:cubicBezTo>
                    <a:pt x="17" y="6"/>
                    <a:pt x="0" y="4"/>
                    <a:pt x="4" y="9"/>
                  </a:cubicBezTo>
                  <a:cubicBezTo>
                    <a:pt x="11" y="4"/>
                    <a:pt x="23" y="8"/>
                    <a:pt x="25" y="2"/>
                  </a:cubicBezTo>
                  <a:cubicBezTo>
                    <a:pt x="19" y="4"/>
                    <a:pt x="17" y="0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7" name="任意多边形: 形状 676">
              <a:extLst>
                <a:ext uri="{FF2B5EF4-FFF2-40B4-BE49-F238E27FC236}">
                  <a16:creationId xmlns:a16="http://schemas.microsoft.com/office/drawing/2014/main" id="{B5C3A4A2-6FDB-4333-8735-9E96725B6F8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65076" y="-4289520"/>
              <a:ext cx="65088" cy="26988"/>
            </a:xfrm>
            <a:custGeom>
              <a:avLst/>
              <a:gdLst>
                <a:gd name="T0" fmla="*/ 22 w 22"/>
                <a:gd name="T1" fmla="*/ 0 h 9"/>
                <a:gd name="T2" fmla="*/ 0 w 22"/>
                <a:gd name="T3" fmla="*/ 9 h 9"/>
                <a:gd name="T4" fmla="*/ 22 w 22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9">
                  <a:moveTo>
                    <a:pt x="22" y="0"/>
                  </a:moveTo>
                  <a:cubicBezTo>
                    <a:pt x="13" y="0"/>
                    <a:pt x="4" y="4"/>
                    <a:pt x="0" y="9"/>
                  </a:cubicBezTo>
                  <a:cubicBezTo>
                    <a:pt x="10" y="6"/>
                    <a:pt x="17" y="3"/>
                    <a:pt x="2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8" name="任意多边形: 形状 677">
              <a:extLst>
                <a:ext uri="{FF2B5EF4-FFF2-40B4-BE49-F238E27FC236}">
                  <a16:creationId xmlns:a16="http://schemas.microsoft.com/office/drawing/2014/main" id="{234C77EF-59D8-4FBD-9594-F0A439258BC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44463" y="-3322715"/>
              <a:ext cx="44450" cy="26988"/>
            </a:xfrm>
            <a:custGeom>
              <a:avLst/>
              <a:gdLst>
                <a:gd name="T0" fmla="*/ 15 w 15"/>
                <a:gd name="T1" fmla="*/ 0 h 9"/>
                <a:gd name="T2" fmla="*/ 0 w 15"/>
                <a:gd name="T3" fmla="*/ 9 h 9"/>
                <a:gd name="T4" fmla="*/ 15 w 15"/>
                <a:gd name="T5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9">
                  <a:moveTo>
                    <a:pt x="15" y="0"/>
                  </a:moveTo>
                  <a:cubicBezTo>
                    <a:pt x="12" y="3"/>
                    <a:pt x="3" y="6"/>
                    <a:pt x="0" y="9"/>
                  </a:cubicBezTo>
                  <a:cubicBezTo>
                    <a:pt x="7" y="9"/>
                    <a:pt x="15" y="5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9" name="任意多边形: 形状 678">
              <a:extLst>
                <a:ext uri="{FF2B5EF4-FFF2-40B4-BE49-F238E27FC236}">
                  <a16:creationId xmlns:a16="http://schemas.microsoft.com/office/drawing/2014/main" id="{E93F85E5-2CDA-4FED-9269-919760181C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52388" y="-3087761"/>
              <a:ext cx="44450" cy="53976"/>
            </a:xfrm>
            <a:custGeom>
              <a:avLst/>
              <a:gdLst>
                <a:gd name="T0" fmla="*/ 6 w 15"/>
                <a:gd name="T1" fmla="*/ 18 h 18"/>
                <a:gd name="T2" fmla="*/ 15 w 15"/>
                <a:gd name="T3" fmla="*/ 3 h 18"/>
                <a:gd name="T4" fmla="*/ 6 w 15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8">
                  <a:moveTo>
                    <a:pt x="6" y="18"/>
                  </a:moveTo>
                  <a:cubicBezTo>
                    <a:pt x="3" y="11"/>
                    <a:pt x="13" y="9"/>
                    <a:pt x="15" y="3"/>
                  </a:cubicBezTo>
                  <a:cubicBezTo>
                    <a:pt x="10" y="0"/>
                    <a:pt x="0" y="16"/>
                    <a:pt x="6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0" name="任意多边形: 形状 679">
              <a:extLst>
                <a:ext uri="{FF2B5EF4-FFF2-40B4-BE49-F238E27FC236}">
                  <a16:creationId xmlns:a16="http://schemas.microsoft.com/office/drawing/2014/main" id="{FA80F463-D7CB-49E5-AC45-EBA4442D3F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34938" y="-2681354"/>
              <a:ext cx="73025" cy="76201"/>
            </a:xfrm>
            <a:custGeom>
              <a:avLst/>
              <a:gdLst>
                <a:gd name="T0" fmla="*/ 5 w 24"/>
                <a:gd name="T1" fmla="*/ 0 h 25"/>
                <a:gd name="T2" fmla="*/ 1 w 24"/>
                <a:gd name="T3" fmla="*/ 8 h 25"/>
                <a:gd name="T4" fmla="*/ 7 w 24"/>
                <a:gd name="T5" fmla="*/ 15 h 25"/>
                <a:gd name="T6" fmla="*/ 1 w 24"/>
                <a:gd name="T7" fmla="*/ 25 h 25"/>
                <a:gd name="T8" fmla="*/ 24 w 24"/>
                <a:gd name="T9" fmla="*/ 2 h 25"/>
                <a:gd name="T10" fmla="*/ 5 w 24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" h="25">
                  <a:moveTo>
                    <a:pt x="5" y="0"/>
                  </a:moveTo>
                  <a:cubicBezTo>
                    <a:pt x="7" y="4"/>
                    <a:pt x="0" y="4"/>
                    <a:pt x="1" y="8"/>
                  </a:cubicBezTo>
                  <a:cubicBezTo>
                    <a:pt x="3" y="4"/>
                    <a:pt x="10" y="11"/>
                    <a:pt x="7" y="15"/>
                  </a:cubicBezTo>
                  <a:cubicBezTo>
                    <a:pt x="1" y="13"/>
                    <a:pt x="3" y="20"/>
                    <a:pt x="1" y="25"/>
                  </a:cubicBezTo>
                  <a:cubicBezTo>
                    <a:pt x="8" y="16"/>
                    <a:pt x="24" y="9"/>
                    <a:pt x="24" y="2"/>
                  </a:cubicBezTo>
                  <a:cubicBezTo>
                    <a:pt x="19" y="9"/>
                    <a:pt x="7" y="9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1" name="任意多边形: 形状 680">
              <a:extLst>
                <a:ext uri="{FF2B5EF4-FFF2-40B4-BE49-F238E27FC236}">
                  <a16:creationId xmlns:a16="http://schemas.microsoft.com/office/drawing/2014/main" id="{3C64B45A-3B5A-449D-AB0B-9219588A767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15662" y="-5538905"/>
              <a:ext cx="195263" cy="114302"/>
            </a:xfrm>
            <a:custGeom>
              <a:avLst/>
              <a:gdLst>
                <a:gd name="T0" fmla="*/ 14 w 65"/>
                <a:gd name="T1" fmla="*/ 36 h 38"/>
                <a:gd name="T2" fmla="*/ 65 w 65"/>
                <a:gd name="T3" fmla="*/ 0 h 38"/>
                <a:gd name="T4" fmla="*/ 40 w 65"/>
                <a:gd name="T5" fmla="*/ 15 h 38"/>
                <a:gd name="T6" fmla="*/ 0 w 65"/>
                <a:gd name="T7" fmla="*/ 31 h 38"/>
                <a:gd name="T8" fmla="*/ 14 w 65"/>
                <a:gd name="T9" fmla="*/ 3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38">
                  <a:moveTo>
                    <a:pt x="14" y="36"/>
                  </a:moveTo>
                  <a:cubicBezTo>
                    <a:pt x="21" y="15"/>
                    <a:pt x="53" y="16"/>
                    <a:pt x="65" y="0"/>
                  </a:cubicBezTo>
                  <a:cubicBezTo>
                    <a:pt x="58" y="2"/>
                    <a:pt x="42" y="4"/>
                    <a:pt x="40" y="15"/>
                  </a:cubicBezTo>
                  <a:cubicBezTo>
                    <a:pt x="23" y="13"/>
                    <a:pt x="21" y="27"/>
                    <a:pt x="0" y="31"/>
                  </a:cubicBezTo>
                  <a:cubicBezTo>
                    <a:pt x="3" y="38"/>
                    <a:pt x="10" y="32"/>
                    <a:pt x="1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2" name="任意多边形: 形状 681">
              <a:extLst>
                <a:ext uri="{FF2B5EF4-FFF2-40B4-BE49-F238E27FC236}">
                  <a16:creationId xmlns:a16="http://schemas.microsoft.com/office/drawing/2014/main" id="{FB746F64-9054-499B-9F93-1355DD1ABE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58688" y="-3097286"/>
              <a:ext cx="66675" cy="36513"/>
            </a:xfrm>
            <a:custGeom>
              <a:avLst/>
              <a:gdLst>
                <a:gd name="T0" fmla="*/ 22 w 22"/>
                <a:gd name="T1" fmla="*/ 6 h 12"/>
                <a:gd name="T2" fmla="*/ 8 w 22"/>
                <a:gd name="T3" fmla="*/ 4 h 12"/>
                <a:gd name="T4" fmla="*/ 8 w 22"/>
                <a:gd name="T5" fmla="*/ 12 h 12"/>
                <a:gd name="T6" fmla="*/ 17 w 22"/>
                <a:gd name="T7" fmla="*/ 10 h 12"/>
                <a:gd name="T8" fmla="*/ 18 w 22"/>
                <a:gd name="T9" fmla="*/ 12 h 12"/>
                <a:gd name="T10" fmla="*/ 18 w 22"/>
                <a:gd name="T11" fmla="*/ 4 h 12"/>
                <a:gd name="T12" fmla="*/ 22 w 22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12">
                  <a:moveTo>
                    <a:pt x="22" y="6"/>
                  </a:moveTo>
                  <a:cubicBezTo>
                    <a:pt x="18" y="0"/>
                    <a:pt x="13" y="1"/>
                    <a:pt x="8" y="4"/>
                  </a:cubicBezTo>
                  <a:cubicBezTo>
                    <a:pt x="17" y="9"/>
                    <a:pt x="0" y="12"/>
                    <a:pt x="8" y="12"/>
                  </a:cubicBezTo>
                  <a:cubicBezTo>
                    <a:pt x="13" y="9"/>
                    <a:pt x="12" y="6"/>
                    <a:pt x="17" y="10"/>
                  </a:cubicBezTo>
                  <a:cubicBezTo>
                    <a:pt x="15" y="10"/>
                    <a:pt x="15" y="12"/>
                    <a:pt x="18" y="12"/>
                  </a:cubicBezTo>
                  <a:cubicBezTo>
                    <a:pt x="17" y="9"/>
                    <a:pt x="17" y="7"/>
                    <a:pt x="18" y="4"/>
                  </a:cubicBezTo>
                  <a:cubicBezTo>
                    <a:pt x="18" y="6"/>
                    <a:pt x="20" y="7"/>
                    <a:pt x="2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3" name="任意多边形: 形状 682">
              <a:extLst>
                <a:ext uri="{FF2B5EF4-FFF2-40B4-BE49-F238E27FC236}">
                  <a16:creationId xmlns:a16="http://schemas.microsoft.com/office/drawing/2014/main" id="{8594BAF8-2FF8-4FC9-B8A3-3122679A97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99938" y="-3070298"/>
              <a:ext cx="168275" cy="101602"/>
            </a:xfrm>
            <a:custGeom>
              <a:avLst/>
              <a:gdLst>
                <a:gd name="T0" fmla="*/ 11 w 56"/>
                <a:gd name="T1" fmla="*/ 32 h 34"/>
                <a:gd name="T2" fmla="*/ 54 w 56"/>
                <a:gd name="T3" fmla="*/ 13 h 34"/>
                <a:gd name="T4" fmla="*/ 56 w 56"/>
                <a:gd name="T5" fmla="*/ 2 h 34"/>
                <a:gd name="T6" fmla="*/ 9 w 56"/>
                <a:gd name="T7" fmla="*/ 18 h 34"/>
                <a:gd name="T8" fmla="*/ 13 w 56"/>
                <a:gd name="T9" fmla="*/ 18 h 34"/>
                <a:gd name="T10" fmla="*/ 0 w 56"/>
                <a:gd name="T11" fmla="*/ 29 h 34"/>
                <a:gd name="T12" fmla="*/ 11 w 56"/>
                <a:gd name="T13" fmla="*/ 32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34">
                  <a:moveTo>
                    <a:pt x="11" y="32"/>
                  </a:moveTo>
                  <a:cubicBezTo>
                    <a:pt x="17" y="23"/>
                    <a:pt x="45" y="0"/>
                    <a:pt x="54" y="13"/>
                  </a:cubicBezTo>
                  <a:cubicBezTo>
                    <a:pt x="54" y="9"/>
                    <a:pt x="56" y="5"/>
                    <a:pt x="56" y="2"/>
                  </a:cubicBezTo>
                  <a:cubicBezTo>
                    <a:pt x="37" y="2"/>
                    <a:pt x="13" y="2"/>
                    <a:pt x="9" y="18"/>
                  </a:cubicBezTo>
                  <a:cubicBezTo>
                    <a:pt x="11" y="16"/>
                    <a:pt x="13" y="16"/>
                    <a:pt x="13" y="18"/>
                  </a:cubicBezTo>
                  <a:cubicBezTo>
                    <a:pt x="7" y="21"/>
                    <a:pt x="9" y="27"/>
                    <a:pt x="0" y="29"/>
                  </a:cubicBezTo>
                  <a:cubicBezTo>
                    <a:pt x="2" y="34"/>
                    <a:pt x="7" y="32"/>
                    <a:pt x="1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4" name="任意多边形: 形状 683">
              <a:extLst>
                <a:ext uri="{FF2B5EF4-FFF2-40B4-BE49-F238E27FC236}">
                  <a16:creationId xmlns:a16="http://schemas.microsoft.com/office/drawing/2014/main" id="{6D54074B-24D7-4685-AEBF-0DB98267774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1930063" y="-2597215"/>
              <a:ext cx="539750" cy="309568"/>
            </a:xfrm>
            <a:custGeom>
              <a:avLst/>
              <a:gdLst>
                <a:gd name="T0" fmla="*/ 144 w 180"/>
                <a:gd name="T1" fmla="*/ 13 h 103"/>
                <a:gd name="T2" fmla="*/ 134 w 180"/>
                <a:gd name="T3" fmla="*/ 20 h 103"/>
                <a:gd name="T4" fmla="*/ 134 w 180"/>
                <a:gd name="T5" fmla="*/ 11 h 103"/>
                <a:gd name="T6" fmla="*/ 32 w 180"/>
                <a:gd name="T7" fmla="*/ 63 h 103"/>
                <a:gd name="T8" fmla="*/ 1 w 180"/>
                <a:gd name="T9" fmla="*/ 72 h 103"/>
                <a:gd name="T10" fmla="*/ 7 w 180"/>
                <a:gd name="T11" fmla="*/ 82 h 103"/>
                <a:gd name="T12" fmla="*/ 44 w 180"/>
                <a:gd name="T13" fmla="*/ 73 h 103"/>
                <a:gd name="T14" fmla="*/ 45 w 180"/>
                <a:gd name="T15" fmla="*/ 75 h 103"/>
                <a:gd name="T16" fmla="*/ 46 w 180"/>
                <a:gd name="T17" fmla="*/ 77 h 103"/>
                <a:gd name="T18" fmla="*/ 45 w 180"/>
                <a:gd name="T19" fmla="*/ 75 h 103"/>
                <a:gd name="T20" fmla="*/ 44 w 180"/>
                <a:gd name="T21" fmla="*/ 73 h 103"/>
                <a:gd name="T22" fmla="*/ 37 w 180"/>
                <a:gd name="T23" fmla="*/ 82 h 103"/>
                <a:gd name="T24" fmla="*/ 43 w 180"/>
                <a:gd name="T25" fmla="*/ 91 h 103"/>
                <a:gd name="T26" fmla="*/ 26 w 180"/>
                <a:gd name="T27" fmla="*/ 86 h 103"/>
                <a:gd name="T28" fmla="*/ 18 w 180"/>
                <a:gd name="T29" fmla="*/ 94 h 103"/>
                <a:gd name="T30" fmla="*/ 12 w 180"/>
                <a:gd name="T31" fmla="*/ 89 h 103"/>
                <a:gd name="T32" fmla="*/ 0 w 180"/>
                <a:gd name="T33" fmla="*/ 98 h 103"/>
                <a:gd name="T34" fmla="*/ 25 w 180"/>
                <a:gd name="T35" fmla="*/ 103 h 103"/>
                <a:gd name="T36" fmla="*/ 34 w 180"/>
                <a:gd name="T37" fmla="*/ 98 h 103"/>
                <a:gd name="T38" fmla="*/ 39 w 180"/>
                <a:gd name="T39" fmla="*/ 103 h 103"/>
                <a:gd name="T40" fmla="*/ 51 w 180"/>
                <a:gd name="T41" fmla="*/ 94 h 103"/>
                <a:gd name="T42" fmla="*/ 46 w 180"/>
                <a:gd name="T43" fmla="*/ 89 h 103"/>
                <a:gd name="T44" fmla="*/ 80 w 180"/>
                <a:gd name="T45" fmla="*/ 82 h 103"/>
                <a:gd name="T46" fmla="*/ 93 w 180"/>
                <a:gd name="T47" fmla="*/ 70 h 103"/>
                <a:gd name="T48" fmla="*/ 91 w 180"/>
                <a:gd name="T49" fmla="*/ 61 h 103"/>
                <a:gd name="T50" fmla="*/ 102 w 180"/>
                <a:gd name="T51" fmla="*/ 66 h 103"/>
                <a:gd name="T52" fmla="*/ 98 w 180"/>
                <a:gd name="T53" fmla="*/ 75 h 103"/>
                <a:gd name="T54" fmla="*/ 109 w 180"/>
                <a:gd name="T55" fmla="*/ 66 h 103"/>
                <a:gd name="T56" fmla="*/ 102 w 180"/>
                <a:gd name="T57" fmla="*/ 63 h 103"/>
                <a:gd name="T58" fmla="*/ 110 w 180"/>
                <a:gd name="T59" fmla="*/ 54 h 103"/>
                <a:gd name="T60" fmla="*/ 109 w 180"/>
                <a:gd name="T61" fmla="*/ 39 h 103"/>
                <a:gd name="T62" fmla="*/ 123 w 180"/>
                <a:gd name="T63" fmla="*/ 28 h 103"/>
                <a:gd name="T64" fmla="*/ 144 w 180"/>
                <a:gd name="T65" fmla="*/ 40 h 103"/>
                <a:gd name="T66" fmla="*/ 153 w 180"/>
                <a:gd name="T67" fmla="*/ 33 h 103"/>
                <a:gd name="T68" fmla="*/ 143 w 180"/>
                <a:gd name="T69" fmla="*/ 28 h 103"/>
                <a:gd name="T70" fmla="*/ 171 w 180"/>
                <a:gd name="T71" fmla="*/ 16 h 103"/>
                <a:gd name="T72" fmla="*/ 180 w 180"/>
                <a:gd name="T73" fmla="*/ 4 h 103"/>
                <a:gd name="T74" fmla="*/ 144 w 180"/>
                <a:gd name="T75" fmla="*/ 13 h 103"/>
                <a:gd name="T76" fmla="*/ 68 w 180"/>
                <a:gd name="T77" fmla="*/ 61 h 103"/>
                <a:gd name="T78" fmla="*/ 71 w 180"/>
                <a:gd name="T79" fmla="*/ 51 h 103"/>
                <a:gd name="T80" fmla="*/ 76 w 180"/>
                <a:gd name="T81" fmla="*/ 56 h 103"/>
                <a:gd name="T82" fmla="*/ 68 w 180"/>
                <a:gd name="T83" fmla="*/ 6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" h="103">
                  <a:moveTo>
                    <a:pt x="144" y="13"/>
                  </a:moveTo>
                  <a:cubicBezTo>
                    <a:pt x="139" y="14"/>
                    <a:pt x="141" y="20"/>
                    <a:pt x="134" y="20"/>
                  </a:cubicBezTo>
                  <a:cubicBezTo>
                    <a:pt x="134" y="16"/>
                    <a:pt x="134" y="14"/>
                    <a:pt x="134" y="11"/>
                  </a:cubicBezTo>
                  <a:cubicBezTo>
                    <a:pt x="109" y="33"/>
                    <a:pt x="55" y="33"/>
                    <a:pt x="32" y="63"/>
                  </a:cubicBezTo>
                  <a:cubicBezTo>
                    <a:pt x="16" y="54"/>
                    <a:pt x="14" y="82"/>
                    <a:pt x="1" y="72"/>
                  </a:cubicBezTo>
                  <a:cubicBezTo>
                    <a:pt x="7" y="77"/>
                    <a:pt x="5" y="75"/>
                    <a:pt x="7" y="82"/>
                  </a:cubicBezTo>
                  <a:cubicBezTo>
                    <a:pt x="16" y="70"/>
                    <a:pt x="35" y="66"/>
                    <a:pt x="44" y="73"/>
                  </a:cubicBezTo>
                  <a:cubicBezTo>
                    <a:pt x="44" y="73"/>
                    <a:pt x="44" y="73"/>
                    <a:pt x="45" y="75"/>
                  </a:cubicBezTo>
                  <a:cubicBezTo>
                    <a:pt x="46" y="76"/>
                    <a:pt x="46" y="76"/>
                    <a:pt x="46" y="77"/>
                  </a:cubicBezTo>
                  <a:cubicBezTo>
                    <a:pt x="46" y="76"/>
                    <a:pt x="45" y="76"/>
                    <a:pt x="45" y="75"/>
                  </a:cubicBezTo>
                  <a:cubicBezTo>
                    <a:pt x="45" y="75"/>
                    <a:pt x="44" y="74"/>
                    <a:pt x="44" y="73"/>
                  </a:cubicBezTo>
                  <a:cubicBezTo>
                    <a:pt x="43" y="75"/>
                    <a:pt x="46" y="89"/>
                    <a:pt x="37" y="82"/>
                  </a:cubicBezTo>
                  <a:cubicBezTo>
                    <a:pt x="37" y="89"/>
                    <a:pt x="46" y="87"/>
                    <a:pt x="43" y="91"/>
                  </a:cubicBezTo>
                  <a:cubicBezTo>
                    <a:pt x="37" y="89"/>
                    <a:pt x="32" y="87"/>
                    <a:pt x="26" y="86"/>
                  </a:cubicBezTo>
                  <a:cubicBezTo>
                    <a:pt x="23" y="87"/>
                    <a:pt x="21" y="91"/>
                    <a:pt x="18" y="94"/>
                  </a:cubicBezTo>
                  <a:cubicBezTo>
                    <a:pt x="16" y="93"/>
                    <a:pt x="16" y="89"/>
                    <a:pt x="12" y="89"/>
                  </a:cubicBezTo>
                  <a:cubicBezTo>
                    <a:pt x="19" y="99"/>
                    <a:pt x="3" y="96"/>
                    <a:pt x="0" y="98"/>
                  </a:cubicBezTo>
                  <a:cubicBezTo>
                    <a:pt x="7" y="103"/>
                    <a:pt x="18" y="96"/>
                    <a:pt x="25" y="103"/>
                  </a:cubicBezTo>
                  <a:cubicBezTo>
                    <a:pt x="23" y="96"/>
                    <a:pt x="28" y="101"/>
                    <a:pt x="34" y="98"/>
                  </a:cubicBezTo>
                  <a:cubicBezTo>
                    <a:pt x="35" y="99"/>
                    <a:pt x="35" y="103"/>
                    <a:pt x="39" y="103"/>
                  </a:cubicBezTo>
                  <a:cubicBezTo>
                    <a:pt x="39" y="99"/>
                    <a:pt x="50" y="103"/>
                    <a:pt x="51" y="94"/>
                  </a:cubicBezTo>
                  <a:cubicBezTo>
                    <a:pt x="46" y="94"/>
                    <a:pt x="44" y="93"/>
                    <a:pt x="46" y="89"/>
                  </a:cubicBezTo>
                  <a:cubicBezTo>
                    <a:pt x="57" y="87"/>
                    <a:pt x="66" y="77"/>
                    <a:pt x="80" y="82"/>
                  </a:cubicBezTo>
                  <a:cubicBezTo>
                    <a:pt x="75" y="70"/>
                    <a:pt x="85" y="72"/>
                    <a:pt x="93" y="70"/>
                  </a:cubicBezTo>
                  <a:cubicBezTo>
                    <a:pt x="93" y="68"/>
                    <a:pt x="89" y="63"/>
                    <a:pt x="91" y="61"/>
                  </a:cubicBezTo>
                  <a:cubicBezTo>
                    <a:pt x="94" y="61"/>
                    <a:pt x="98" y="65"/>
                    <a:pt x="102" y="66"/>
                  </a:cubicBezTo>
                  <a:cubicBezTo>
                    <a:pt x="98" y="68"/>
                    <a:pt x="91" y="75"/>
                    <a:pt x="98" y="75"/>
                  </a:cubicBezTo>
                  <a:cubicBezTo>
                    <a:pt x="96" y="70"/>
                    <a:pt x="112" y="72"/>
                    <a:pt x="109" y="66"/>
                  </a:cubicBezTo>
                  <a:cubicBezTo>
                    <a:pt x="105" y="68"/>
                    <a:pt x="103" y="66"/>
                    <a:pt x="102" y="63"/>
                  </a:cubicBezTo>
                  <a:cubicBezTo>
                    <a:pt x="109" y="65"/>
                    <a:pt x="103" y="56"/>
                    <a:pt x="110" y="54"/>
                  </a:cubicBezTo>
                  <a:cubicBezTo>
                    <a:pt x="109" y="49"/>
                    <a:pt x="107" y="44"/>
                    <a:pt x="109" y="39"/>
                  </a:cubicBezTo>
                  <a:cubicBezTo>
                    <a:pt x="118" y="47"/>
                    <a:pt x="116" y="30"/>
                    <a:pt x="123" y="28"/>
                  </a:cubicBezTo>
                  <a:cubicBezTo>
                    <a:pt x="130" y="30"/>
                    <a:pt x="137" y="33"/>
                    <a:pt x="144" y="40"/>
                  </a:cubicBezTo>
                  <a:cubicBezTo>
                    <a:pt x="150" y="37"/>
                    <a:pt x="152" y="37"/>
                    <a:pt x="153" y="33"/>
                  </a:cubicBezTo>
                  <a:cubicBezTo>
                    <a:pt x="148" y="35"/>
                    <a:pt x="146" y="30"/>
                    <a:pt x="143" y="28"/>
                  </a:cubicBezTo>
                  <a:cubicBezTo>
                    <a:pt x="153" y="20"/>
                    <a:pt x="159" y="20"/>
                    <a:pt x="171" y="16"/>
                  </a:cubicBezTo>
                  <a:cubicBezTo>
                    <a:pt x="171" y="9"/>
                    <a:pt x="175" y="4"/>
                    <a:pt x="180" y="4"/>
                  </a:cubicBezTo>
                  <a:cubicBezTo>
                    <a:pt x="171" y="0"/>
                    <a:pt x="155" y="21"/>
                    <a:pt x="144" y="13"/>
                  </a:cubicBezTo>
                  <a:close/>
                  <a:moveTo>
                    <a:pt x="68" y="61"/>
                  </a:moveTo>
                  <a:cubicBezTo>
                    <a:pt x="60" y="54"/>
                    <a:pt x="78" y="58"/>
                    <a:pt x="71" y="51"/>
                  </a:cubicBezTo>
                  <a:cubicBezTo>
                    <a:pt x="73" y="49"/>
                    <a:pt x="75" y="54"/>
                    <a:pt x="76" y="56"/>
                  </a:cubicBezTo>
                  <a:cubicBezTo>
                    <a:pt x="75" y="58"/>
                    <a:pt x="73" y="61"/>
                    <a:pt x="68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5" name="任意多边形: 形状 684">
              <a:extLst>
                <a:ext uri="{FF2B5EF4-FFF2-40B4-BE49-F238E27FC236}">
                  <a16:creationId xmlns:a16="http://schemas.microsoft.com/office/drawing/2014/main" id="{B8446210-26BB-457E-8700-2C8B7972BA3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58512" y="-5446829"/>
              <a:ext cx="65088" cy="49213"/>
            </a:xfrm>
            <a:custGeom>
              <a:avLst/>
              <a:gdLst>
                <a:gd name="T0" fmla="*/ 14 w 22"/>
                <a:gd name="T1" fmla="*/ 0 h 16"/>
                <a:gd name="T2" fmla="*/ 0 w 22"/>
                <a:gd name="T3" fmla="*/ 16 h 16"/>
                <a:gd name="T4" fmla="*/ 16 w 22"/>
                <a:gd name="T5" fmla="*/ 10 h 16"/>
                <a:gd name="T6" fmla="*/ 14 w 22"/>
                <a:gd name="T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6">
                  <a:moveTo>
                    <a:pt x="14" y="0"/>
                  </a:moveTo>
                  <a:cubicBezTo>
                    <a:pt x="7" y="6"/>
                    <a:pt x="0" y="8"/>
                    <a:pt x="0" y="16"/>
                  </a:cubicBezTo>
                  <a:cubicBezTo>
                    <a:pt x="5" y="12"/>
                    <a:pt x="22" y="16"/>
                    <a:pt x="16" y="10"/>
                  </a:cubicBezTo>
                  <a:cubicBezTo>
                    <a:pt x="7" y="12"/>
                    <a:pt x="13" y="6"/>
                    <a:pt x="1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6" name="任意多边形: 形状 685">
              <a:extLst>
                <a:ext uri="{FF2B5EF4-FFF2-40B4-BE49-F238E27FC236}">
                  <a16:creationId xmlns:a16="http://schemas.microsoft.com/office/drawing/2014/main" id="{645282A4-01F8-4626-878E-1F61B8BF78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031663" y="-2951234"/>
              <a:ext cx="84138" cy="49213"/>
            </a:xfrm>
            <a:custGeom>
              <a:avLst/>
              <a:gdLst>
                <a:gd name="T0" fmla="*/ 26 w 28"/>
                <a:gd name="T1" fmla="*/ 7 h 16"/>
                <a:gd name="T2" fmla="*/ 13 w 28"/>
                <a:gd name="T3" fmla="*/ 0 h 16"/>
                <a:gd name="T4" fmla="*/ 7 w 28"/>
                <a:gd name="T5" fmla="*/ 7 h 16"/>
                <a:gd name="T6" fmla="*/ 0 w 28"/>
                <a:gd name="T7" fmla="*/ 4 h 16"/>
                <a:gd name="T8" fmla="*/ 24 w 28"/>
                <a:gd name="T9" fmla="*/ 12 h 16"/>
                <a:gd name="T10" fmla="*/ 26 w 28"/>
                <a:gd name="T11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16">
                  <a:moveTo>
                    <a:pt x="26" y="7"/>
                  </a:moveTo>
                  <a:cubicBezTo>
                    <a:pt x="20" y="7"/>
                    <a:pt x="17" y="4"/>
                    <a:pt x="13" y="0"/>
                  </a:cubicBezTo>
                  <a:cubicBezTo>
                    <a:pt x="7" y="0"/>
                    <a:pt x="11" y="5"/>
                    <a:pt x="7" y="7"/>
                  </a:cubicBezTo>
                  <a:cubicBezTo>
                    <a:pt x="5" y="4"/>
                    <a:pt x="4" y="4"/>
                    <a:pt x="0" y="4"/>
                  </a:cubicBezTo>
                  <a:cubicBezTo>
                    <a:pt x="9" y="16"/>
                    <a:pt x="15" y="4"/>
                    <a:pt x="24" y="12"/>
                  </a:cubicBezTo>
                  <a:cubicBezTo>
                    <a:pt x="22" y="9"/>
                    <a:pt x="28" y="9"/>
                    <a:pt x="2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7" name="任意多边形: 形状 686">
              <a:extLst>
                <a:ext uri="{FF2B5EF4-FFF2-40B4-BE49-F238E27FC236}">
                  <a16:creationId xmlns:a16="http://schemas.microsoft.com/office/drawing/2014/main" id="{A1684E4F-5861-4402-877C-EB58327CE10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93563" y="-2941709"/>
              <a:ext cx="57150" cy="39688"/>
            </a:xfrm>
            <a:custGeom>
              <a:avLst/>
              <a:gdLst>
                <a:gd name="T0" fmla="*/ 15 w 19"/>
                <a:gd name="T1" fmla="*/ 7 h 13"/>
                <a:gd name="T2" fmla="*/ 8 w 19"/>
                <a:gd name="T3" fmla="*/ 0 h 13"/>
                <a:gd name="T4" fmla="*/ 6 w 19"/>
                <a:gd name="T5" fmla="*/ 13 h 13"/>
                <a:gd name="T6" fmla="*/ 10 w 19"/>
                <a:gd name="T7" fmla="*/ 9 h 13"/>
                <a:gd name="T8" fmla="*/ 15 w 19"/>
                <a:gd name="T9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3">
                  <a:moveTo>
                    <a:pt x="15" y="7"/>
                  </a:moveTo>
                  <a:cubicBezTo>
                    <a:pt x="12" y="9"/>
                    <a:pt x="10" y="7"/>
                    <a:pt x="8" y="0"/>
                  </a:cubicBezTo>
                  <a:cubicBezTo>
                    <a:pt x="4" y="2"/>
                    <a:pt x="0" y="13"/>
                    <a:pt x="6" y="13"/>
                  </a:cubicBezTo>
                  <a:cubicBezTo>
                    <a:pt x="4" y="11"/>
                    <a:pt x="8" y="9"/>
                    <a:pt x="10" y="9"/>
                  </a:cubicBezTo>
                  <a:cubicBezTo>
                    <a:pt x="12" y="11"/>
                    <a:pt x="19" y="13"/>
                    <a:pt x="1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8" name="任意多边形: 形状 687">
              <a:extLst>
                <a:ext uri="{FF2B5EF4-FFF2-40B4-BE49-F238E27FC236}">
                  <a16:creationId xmlns:a16="http://schemas.microsoft.com/office/drawing/2014/main" id="{7D768312-564F-4620-BE84-FBBB8DCC77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5150" y="-5473817"/>
              <a:ext cx="74613" cy="84139"/>
            </a:xfrm>
            <a:custGeom>
              <a:avLst/>
              <a:gdLst>
                <a:gd name="T0" fmla="*/ 21 w 25"/>
                <a:gd name="T1" fmla="*/ 14 h 28"/>
                <a:gd name="T2" fmla="*/ 20 w 25"/>
                <a:gd name="T3" fmla="*/ 12 h 28"/>
                <a:gd name="T4" fmla="*/ 25 w 25"/>
                <a:gd name="T5" fmla="*/ 12 h 28"/>
                <a:gd name="T6" fmla="*/ 0 w 25"/>
                <a:gd name="T7" fmla="*/ 28 h 28"/>
                <a:gd name="T8" fmla="*/ 21 w 25"/>
                <a:gd name="T9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8">
                  <a:moveTo>
                    <a:pt x="21" y="14"/>
                  </a:moveTo>
                  <a:cubicBezTo>
                    <a:pt x="20" y="14"/>
                    <a:pt x="18" y="14"/>
                    <a:pt x="20" y="12"/>
                  </a:cubicBezTo>
                  <a:cubicBezTo>
                    <a:pt x="21" y="14"/>
                    <a:pt x="23" y="14"/>
                    <a:pt x="25" y="12"/>
                  </a:cubicBezTo>
                  <a:cubicBezTo>
                    <a:pt x="18" y="0"/>
                    <a:pt x="0" y="28"/>
                    <a:pt x="0" y="28"/>
                  </a:cubicBezTo>
                  <a:cubicBezTo>
                    <a:pt x="4" y="23"/>
                    <a:pt x="20" y="21"/>
                    <a:pt x="2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89" name="任意多边形: 形状 688">
              <a:extLst>
                <a:ext uri="{FF2B5EF4-FFF2-40B4-BE49-F238E27FC236}">
                  <a16:creationId xmlns:a16="http://schemas.microsoft.com/office/drawing/2014/main" id="{A32E59F3-2AA7-4C8F-BA0C-5BCD1CCCD9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96700" y="-2817881"/>
              <a:ext cx="139700" cy="65089"/>
            </a:xfrm>
            <a:custGeom>
              <a:avLst/>
              <a:gdLst>
                <a:gd name="T0" fmla="*/ 36 w 47"/>
                <a:gd name="T1" fmla="*/ 0 h 22"/>
                <a:gd name="T2" fmla="*/ 17 w 47"/>
                <a:gd name="T3" fmla="*/ 5 h 22"/>
                <a:gd name="T4" fmla="*/ 21 w 47"/>
                <a:gd name="T5" fmla="*/ 0 h 22"/>
                <a:gd name="T6" fmla="*/ 12 w 47"/>
                <a:gd name="T7" fmla="*/ 2 h 22"/>
                <a:gd name="T8" fmla="*/ 12 w 47"/>
                <a:gd name="T9" fmla="*/ 14 h 22"/>
                <a:gd name="T10" fmla="*/ 0 w 47"/>
                <a:gd name="T11" fmla="*/ 20 h 22"/>
                <a:gd name="T12" fmla="*/ 21 w 47"/>
                <a:gd name="T13" fmla="*/ 11 h 22"/>
                <a:gd name="T14" fmla="*/ 21 w 47"/>
                <a:gd name="T15" fmla="*/ 18 h 22"/>
                <a:gd name="T16" fmla="*/ 26 w 47"/>
                <a:gd name="T17" fmla="*/ 5 h 22"/>
                <a:gd name="T18" fmla="*/ 31 w 47"/>
                <a:gd name="T19" fmla="*/ 13 h 22"/>
                <a:gd name="T20" fmla="*/ 41 w 47"/>
                <a:gd name="T21" fmla="*/ 9 h 22"/>
                <a:gd name="T22" fmla="*/ 36 w 47"/>
                <a:gd name="T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36" y="0"/>
                  </a:moveTo>
                  <a:cubicBezTo>
                    <a:pt x="38" y="9"/>
                    <a:pt x="21" y="3"/>
                    <a:pt x="17" y="5"/>
                  </a:cubicBezTo>
                  <a:cubicBezTo>
                    <a:pt x="19" y="3"/>
                    <a:pt x="22" y="3"/>
                    <a:pt x="21" y="0"/>
                  </a:cubicBezTo>
                  <a:cubicBezTo>
                    <a:pt x="17" y="2"/>
                    <a:pt x="15" y="3"/>
                    <a:pt x="12" y="2"/>
                  </a:cubicBezTo>
                  <a:cubicBezTo>
                    <a:pt x="14" y="7"/>
                    <a:pt x="12" y="11"/>
                    <a:pt x="12" y="14"/>
                  </a:cubicBezTo>
                  <a:cubicBezTo>
                    <a:pt x="7" y="14"/>
                    <a:pt x="2" y="13"/>
                    <a:pt x="0" y="20"/>
                  </a:cubicBezTo>
                  <a:cubicBezTo>
                    <a:pt x="10" y="22"/>
                    <a:pt x="17" y="18"/>
                    <a:pt x="21" y="11"/>
                  </a:cubicBezTo>
                  <a:cubicBezTo>
                    <a:pt x="22" y="14"/>
                    <a:pt x="17" y="14"/>
                    <a:pt x="21" y="18"/>
                  </a:cubicBezTo>
                  <a:cubicBezTo>
                    <a:pt x="31" y="18"/>
                    <a:pt x="21" y="9"/>
                    <a:pt x="26" y="5"/>
                  </a:cubicBezTo>
                  <a:cubicBezTo>
                    <a:pt x="29" y="9"/>
                    <a:pt x="33" y="7"/>
                    <a:pt x="31" y="13"/>
                  </a:cubicBezTo>
                  <a:cubicBezTo>
                    <a:pt x="41" y="9"/>
                    <a:pt x="41" y="9"/>
                    <a:pt x="41" y="9"/>
                  </a:cubicBezTo>
                  <a:cubicBezTo>
                    <a:pt x="38" y="3"/>
                    <a:pt x="47" y="0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0" name="任意多边形: 形状 689">
              <a:extLst>
                <a:ext uri="{FF2B5EF4-FFF2-40B4-BE49-F238E27FC236}">
                  <a16:creationId xmlns:a16="http://schemas.microsoft.com/office/drawing/2014/main" id="{D3811239-7A6E-4B41-B107-E1F018856F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03038" y="-2765493"/>
              <a:ext cx="74613" cy="57151"/>
            </a:xfrm>
            <a:custGeom>
              <a:avLst/>
              <a:gdLst>
                <a:gd name="T0" fmla="*/ 25 w 25"/>
                <a:gd name="T1" fmla="*/ 7 h 19"/>
                <a:gd name="T2" fmla="*/ 0 w 25"/>
                <a:gd name="T3" fmla="*/ 11 h 19"/>
                <a:gd name="T4" fmla="*/ 9 w 25"/>
                <a:gd name="T5" fmla="*/ 19 h 19"/>
                <a:gd name="T6" fmla="*/ 17 w 25"/>
                <a:gd name="T7" fmla="*/ 16 h 19"/>
                <a:gd name="T8" fmla="*/ 14 w 25"/>
                <a:gd name="T9" fmla="*/ 7 h 19"/>
                <a:gd name="T10" fmla="*/ 25 w 25"/>
                <a:gd name="T11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9">
                  <a:moveTo>
                    <a:pt x="25" y="7"/>
                  </a:moveTo>
                  <a:cubicBezTo>
                    <a:pt x="16" y="0"/>
                    <a:pt x="10" y="11"/>
                    <a:pt x="0" y="11"/>
                  </a:cubicBezTo>
                  <a:cubicBezTo>
                    <a:pt x="3" y="17"/>
                    <a:pt x="16" y="9"/>
                    <a:pt x="9" y="19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4" y="11"/>
                    <a:pt x="10" y="12"/>
                    <a:pt x="14" y="7"/>
                  </a:cubicBezTo>
                  <a:cubicBezTo>
                    <a:pt x="17" y="11"/>
                    <a:pt x="19" y="11"/>
                    <a:pt x="25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1" name="任意多边形: 形状 690">
              <a:extLst>
                <a:ext uri="{FF2B5EF4-FFF2-40B4-BE49-F238E27FC236}">
                  <a16:creationId xmlns:a16="http://schemas.microsoft.com/office/drawing/2014/main" id="{73619643-20AC-4A65-A048-4E593DE30C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31600" y="-2681354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  <a:gd name="T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0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2" name="任意多边形: 形状 691">
              <a:extLst>
                <a:ext uri="{FF2B5EF4-FFF2-40B4-BE49-F238E27FC236}">
                  <a16:creationId xmlns:a16="http://schemas.microsoft.com/office/drawing/2014/main" id="{7B3FF3E4-1824-4184-A9E8-59314836E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34775" y="-2708342"/>
              <a:ext cx="38100" cy="30163"/>
            </a:xfrm>
            <a:custGeom>
              <a:avLst/>
              <a:gdLst>
                <a:gd name="T0" fmla="*/ 12 w 13"/>
                <a:gd name="T1" fmla="*/ 2 h 10"/>
                <a:gd name="T2" fmla="*/ 0 w 13"/>
                <a:gd name="T3" fmla="*/ 9 h 10"/>
                <a:gd name="T4" fmla="*/ 12 w 13"/>
                <a:gd name="T5" fmla="*/ 9 h 10"/>
                <a:gd name="T6" fmla="*/ 12 w 13"/>
                <a:gd name="T7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10">
                  <a:moveTo>
                    <a:pt x="12" y="2"/>
                  </a:moveTo>
                  <a:cubicBezTo>
                    <a:pt x="9" y="0"/>
                    <a:pt x="6" y="7"/>
                    <a:pt x="0" y="9"/>
                  </a:cubicBezTo>
                  <a:cubicBezTo>
                    <a:pt x="3" y="10"/>
                    <a:pt x="9" y="9"/>
                    <a:pt x="12" y="9"/>
                  </a:cubicBezTo>
                  <a:cubicBezTo>
                    <a:pt x="10" y="7"/>
                    <a:pt x="13" y="5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3" name="任意多边形: 形状 692">
              <a:extLst>
                <a:ext uri="{FF2B5EF4-FFF2-40B4-BE49-F238E27FC236}">
                  <a16:creationId xmlns:a16="http://schemas.microsoft.com/office/drawing/2014/main" id="{4930E392-74BF-4B8A-808E-BA8D3225841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22075" y="-2701992"/>
              <a:ext cx="9525" cy="20638"/>
            </a:xfrm>
            <a:custGeom>
              <a:avLst/>
              <a:gdLst>
                <a:gd name="T0" fmla="*/ 0 w 3"/>
                <a:gd name="T1" fmla="*/ 0 h 7"/>
                <a:gd name="T2" fmla="*/ 3 w 3"/>
                <a:gd name="T3" fmla="*/ 7 h 7"/>
                <a:gd name="T4" fmla="*/ 0 w 3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" h="7">
                  <a:moveTo>
                    <a:pt x="0" y="0"/>
                  </a:moveTo>
                  <a:cubicBezTo>
                    <a:pt x="0" y="4"/>
                    <a:pt x="1" y="6"/>
                    <a:pt x="3" y="7"/>
                  </a:cubicBezTo>
                  <a:cubicBezTo>
                    <a:pt x="0" y="3"/>
                    <a:pt x="3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4" name="任意多边形: 形状 693">
              <a:extLst>
                <a:ext uri="{FF2B5EF4-FFF2-40B4-BE49-F238E27FC236}">
                  <a16:creationId xmlns:a16="http://schemas.microsoft.com/office/drawing/2014/main" id="{1A5DF2D8-D5F8-48B4-8444-CFE2685EA64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75975" y="-3722773"/>
              <a:ext cx="74613" cy="55563"/>
            </a:xfrm>
            <a:custGeom>
              <a:avLst/>
              <a:gdLst>
                <a:gd name="T0" fmla="*/ 4 w 25"/>
                <a:gd name="T1" fmla="*/ 19 h 19"/>
                <a:gd name="T2" fmla="*/ 16 w 25"/>
                <a:gd name="T3" fmla="*/ 10 h 19"/>
                <a:gd name="T4" fmla="*/ 4 w 25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5" h="19">
                  <a:moveTo>
                    <a:pt x="4" y="19"/>
                  </a:moveTo>
                  <a:cubicBezTo>
                    <a:pt x="14" y="19"/>
                    <a:pt x="10" y="12"/>
                    <a:pt x="16" y="10"/>
                  </a:cubicBezTo>
                  <a:cubicBezTo>
                    <a:pt x="25" y="0"/>
                    <a:pt x="0" y="13"/>
                    <a:pt x="4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5" name="任意多边形: 形状 694">
              <a:extLst>
                <a:ext uri="{FF2B5EF4-FFF2-40B4-BE49-F238E27FC236}">
                  <a16:creationId xmlns:a16="http://schemas.microsoft.com/office/drawing/2014/main" id="{746B129A-9AC7-4593-A849-4F3184BCB3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22000" y="-3684672"/>
              <a:ext cx="53975" cy="26988"/>
            </a:xfrm>
            <a:custGeom>
              <a:avLst/>
              <a:gdLst>
                <a:gd name="T0" fmla="*/ 0 w 18"/>
                <a:gd name="T1" fmla="*/ 9 h 9"/>
                <a:gd name="T2" fmla="*/ 18 w 18"/>
                <a:gd name="T3" fmla="*/ 0 h 9"/>
                <a:gd name="T4" fmla="*/ 0 w 18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9">
                  <a:moveTo>
                    <a:pt x="0" y="9"/>
                  </a:moveTo>
                  <a:cubicBezTo>
                    <a:pt x="5" y="5"/>
                    <a:pt x="16" y="7"/>
                    <a:pt x="18" y="0"/>
                  </a:cubicBezTo>
                  <a:cubicBezTo>
                    <a:pt x="11" y="5"/>
                    <a:pt x="1" y="2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6" name="任意多边形: 形状 695">
              <a:extLst>
                <a:ext uri="{FF2B5EF4-FFF2-40B4-BE49-F238E27FC236}">
                  <a16:creationId xmlns:a16="http://schemas.microsoft.com/office/drawing/2014/main" id="{354076B4-9ABD-4C49-B712-BB4DD6E57B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6012" y="-2648016"/>
              <a:ext cx="15875" cy="9525"/>
            </a:xfrm>
            <a:custGeom>
              <a:avLst/>
              <a:gdLst>
                <a:gd name="T0" fmla="*/ 5 w 5"/>
                <a:gd name="T1" fmla="*/ 0 h 3"/>
                <a:gd name="T2" fmla="*/ 0 w 5"/>
                <a:gd name="T3" fmla="*/ 2 h 3"/>
                <a:gd name="T4" fmla="*/ 0 w 5"/>
                <a:gd name="T5" fmla="*/ 3 h 3"/>
                <a:gd name="T6" fmla="*/ 5 w 5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2" y="3"/>
                    <a:pt x="5" y="2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7" name="任意多边形: 形状 696">
              <a:extLst>
                <a:ext uri="{FF2B5EF4-FFF2-40B4-BE49-F238E27FC236}">
                  <a16:creationId xmlns:a16="http://schemas.microsoft.com/office/drawing/2014/main" id="{6C5D758A-A67E-43EC-8D79-6AAE48BC57C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6012" y="-2668654"/>
              <a:ext cx="84138" cy="63501"/>
            </a:xfrm>
            <a:custGeom>
              <a:avLst/>
              <a:gdLst>
                <a:gd name="T0" fmla="*/ 23 w 28"/>
                <a:gd name="T1" fmla="*/ 2 h 21"/>
                <a:gd name="T2" fmla="*/ 17 w 28"/>
                <a:gd name="T3" fmla="*/ 0 h 21"/>
                <a:gd name="T4" fmla="*/ 17 w 28"/>
                <a:gd name="T5" fmla="*/ 0 h 21"/>
                <a:gd name="T6" fmla="*/ 0 w 28"/>
                <a:gd name="T7" fmla="*/ 10 h 21"/>
                <a:gd name="T8" fmla="*/ 0 w 28"/>
                <a:gd name="T9" fmla="*/ 21 h 21"/>
                <a:gd name="T10" fmla="*/ 28 w 28"/>
                <a:gd name="T11" fmla="*/ 5 h 21"/>
                <a:gd name="T12" fmla="*/ 25 w 28"/>
                <a:gd name="T13" fmla="*/ 2 h 21"/>
                <a:gd name="T14" fmla="*/ 24 w 28"/>
                <a:gd name="T15" fmla="*/ 4 h 21"/>
                <a:gd name="T16" fmla="*/ 23 w 28"/>
                <a:gd name="T17" fmla="*/ 2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21">
                  <a:moveTo>
                    <a:pt x="23" y="2"/>
                  </a:moveTo>
                  <a:cubicBezTo>
                    <a:pt x="21" y="1"/>
                    <a:pt x="19" y="1"/>
                    <a:pt x="17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21" y="7"/>
                    <a:pt x="5" y="18"/>
                    <a:pt x="0" y="10"/>
                  </a:cubicBezTo>
                  <a:cubicBezTo>
                    <a:pt x="0" y="14"/>
                    <a:pt x="1" y="15"/>
                    <a:pt x="0" y="21"/>
                  </a:cubicBezTo>
                  <a:cubicBezTo>
                    <a:pt x="9" y="14"/>
                    <a:pt x="14" y="12"/>
                    <a:pt x="28" y="5"/>
                  </a:cubicBezTo>
                  <a:cubicBezTo>
                    <a:pt x="27" y="3"/>
                    <a:pt x="26" y="2"/>
                    <a:pt x="25" y="2"/>
                  </a:cubicBezTo>
                  <a:cubicBezTo>
                    <a:pt x="25" y="3"/>
                    <a:pt x="25" y="3"/>
                    <a:pt x="24" y="4"/>
                  </a:cubicBezTo>
                  <a:cubicBezTo>
                    <a:pt x="24" y="3"/>
                    <a:pt x="23" y="2"/>
                    <a:pt x="2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8" name="任意多边形: 形状 697">
              <a:extLst>
                <a:ext uri="{FF2B5EF4-FFF2-40B4-BE49-F238E27FC236}">
                  <a16:creationId xmlns:a16="http://schemas.microsoft.com/office/drawing/2014/main" id="{3C70EF42-DD94-4221-A751-1005F7FF17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6012" y="-263849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99" name="任意多边形: 形状 698">
              <a:extLst>
                <a:ext uri="{FF2B5EF4-FFF2-40B4-BE49-F238E27FC236}">
                  <a16:creationId xmlns:a16="http://schemas.microsoft.com/office/drawing/2014/main" id="{6663039B-3012-48E5-BFEB-136C3D7834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45862" y="-2662304"/>
              <a:ext cx="4763" cy="4763"/>
            </a:xfrm>
            <a:custGeom>
              <a:avLst/>
              <a:gdLst>
                <a:gd name="T0" fmla="*/ 1 w 2"/>
                <a:gd name="T1" fmla="*/ 2 h 2"/>
                <a:gd name="T2" fmla="*/ 2 w 2"/>
                <a:gd name="T3" fmla="*/ 0 h 2"/>
                <a:gd name="T4" fmla="*/ 0 w 2"/>
                <a:gd name="T5" fmla="*/ 0 h 2"/>
                <a:gd name="T6" fmla="*/ 1 w 2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2">
                  <a:moveTo>
                    <a:pt x="1" y="2"/>
                  </a:moveTo>
                  <a:cubicBezTo>
                    <a:pt x="2" y="1"/>
                    <a:pt x="2" y="1"/>
                    <a:pt x="2" y="0"/>
                  </a:cubicBezTo>
                  <a:cubicBezTo>
                    <a:pt x="1" y="0"/>
                    <a:pt x="0" y="0"/>
                    <a:pt x="0" y="0"/>
                  </a:cubicBezTo>
                  <a:cubicBezTo>
                    <a:pt x="0" y="0"/>
                    <a:pt x="1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0" name="任意多边形: 形状 699">
              <a:extLst>
                <a:ext uri="{FF2B5EF4-FFF2-40B4-BE49-F238E27FC236}">
                  <a16:creationId xmlns:a16="http://schemas.microsoft.com/office/drawing/2014/main" id="{EDDF60FD-8A0B-47E1-8721-24BD264683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6812" y="-2668654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1" name="任意多边形: 形状 700">
              <a:extLst>
                <a:ext uri="{FF2B5EF4-FFF2-40B4-BE49-F238E27FC236}">
                  <a16:creationId xmlns:a16="http://schemas.microsoft.com/office/drawing/2014/main" id="{CDC00EF1-B7DE-42A8-B2AF-0D23871236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58550" y="-2446400"/>
              <a:ext cx="61913" cy="26988"/>
            </a:xfrm>
            <a:custGeom>
              <a:avLst/>
              <a:gdLst>
                <a:gd name="T0" fmla="*/ 0 w 21"/>
                <a:gd name="T1" fmla="*/ 9 h 9"/>
                <a:gd name="T2" fmla="*/ 21 w 21"/>
                <a:gd name="T3" fmla="*/ 0 h 9"/>
                <a:gd name="T4" fmla="*/ 0 w 21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" h="9">
                  <a:moveTo>
                    <a:pt x="0" y="9"/>
                  </a:moveTo>
                  <a:cubicBezTo>
                    <a:pt x="7" y="2"/>
                    <a:pt x="18" y="5"/>
                    <a:pt x="21" y="0"/>
                  </a:cubicBezTo>
                  <a:cubicBezTo>
                    <a:pt x="12" y="0"/>
                    <a:pt x="1" y="2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2" name="任意多边形: 形状 701">
              <a:extLst>
                <a:ext uri="{FF2B5EF4-FFF2-40B4-BE49-F238E27FC236}">
                  <a16:creationId xmlns:a16="http://schemas.microsoft.com/office/drawing/2014/main" id="{6933BBD9-D735-4CE5-9C26-F6DF6C1A511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77612" y="-2178107"/>
              <a:ext cx="49213" cy="57151"/>
            </a:xfrm>
            <a:custGeom>
              <a:avLst/>
              <a:gdLst>
                <a:gd name="T0" fmla="*/ 14 w 16"/>
                <a:gd name="T1" fmla="*/ 4 h 19"/>
                <a:gd name="T2" fmla="*/ 2 w 16"/>
                <a:gd name="T3" fmla="*/ 4 h 19"/>
                <a:gd name="T4" fmla="*/ 10 w 16"/>
                <a:gd name="T5" fmla="*/ 19 h 19"/>
                <a:gd name="T6" fmla="*/ 14 w 16"/>
                <a:gd name="T7" fmla="*/ 4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9">
                  <a:moveTo>
                    <a:pt x="14" y="4"/>
                  </a:moveTo>
                  <a:cubicBezTo>
                    <a:pt x="8" y="9"/>
                    <a:pt x="8" y="0"/>
                    <a:pt x="2" y="4"/>
                  </a:cubicBezTo>
                  <a:cubicBezTo>
                    <a:pt x="16" y="7"/>
                    <a:pt x="0" y="15"/>
                    <a:pt x="10" y="19"/>
                  </a:cubicBezTo>
                  <a:cubicBezTo>
                    <a:pt x="6" y="12"/>
                    <a:pt x="16" y="10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3" name="任意多边形: 形状 702">
              <a:extLst>
                <a:ext uri="{FF2B5EF4-FFF2-40B4-BE49-F238E27FC236}">
                  <a16:creationId xmlns:a16="http://schemas.microsoft.com/office/drawing/2014/main" id="{3E404A84-C7B6-479E-9FDA-1491E1A9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44250" y="-2503551"/>
              <a:ext cx="93663" cy="47626"/>
            </a:xfrm>
            <a:custGeom>
              <a:avLst/>
              <a:gdLst>
                <a:gd name="T0" fmla="*/ 13 w 31"/>
                <a:gd name="T1" fmla="*/ 16 h 16"/>
                <a:gd name="T2" fmla="*/ 11 w 31"/>
                <a:gd name="T3" fmla="*/ 13 h 16"/>
                <a:gd name="T4" fmla="*/ 31 w 31"/>
                <a:gd name="T5" fmla="*/ 11 h 16"/>
                <a:gd name="T6" fmla="*/ 13 w 31"/>
                <a:gd name="T7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16">
                  <a:moveTo>
                    <a:pt x="13" y="16"/>
                  </a:moveTo>
                  <a:cubicBezTo>
                    <a:pt x="11" y="13"/>
                    <a:pt x="11" y="13"/>
                    <a:pt x="11" y="13"/>
                  </a:cubicBezTo>
                  <a:cubicBezTo>
                    <a:pt x="17" y="13"/>
                    <a:pt x="26" y="9"/>
                    <a:pt x="31" y="11"/>
                  </a:cubicBezTo>
                  <a:cubicBezTo>
                    <a:pt x="28" y="0"/>
                    <a:pt x="0" y="13"/>
                    <a:pt x="1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4" name="任意多边形: 形状 703">
              <a:extLst>
                <a:ext uri="{FF2B5EF4-FFF2-40B4-BE49-F238E27FC236}">
                  <a16:creationId xmlns:a16="http://schemas.microsoft.com/office/drawing/2014/main" id="{ED67DC1F-09E3-4BBB-A779-F3C2AFE3805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91875" y="-2222558"/>
              <a:ext cx="66675" cy="36513"/>
            </a:xfrm>
            <a:custGeom>
              <a:avLst/>
              <a:gdLst>
                <a:gd name="T0" fmla="*/ 20 w 22"/>
                <a:gd name="T1" fmla="*/ 3 h 12"/>
                <a:gd name="T2" fmla="*/ 8 w 22"/>
                <a:gd name="T3" fmla="*/ 1 h 12"/>
                <a:gd name="T4" fmla="*/ 6 w 22"/>
                <a:gd name="T5" fmla="*/ 9 h 12"/>
                <a:gd name="T6" fmla="*/ 22 w 22"/>
                <a:gd name="T7" fmla="*/ 12 h 12"/>
                <a:gd name="T8" fmla="*/ 20 w 22"/>
                <a:gd name="T9" fmla="*/ 3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12">
                  <a:moveTo>
                    <a:pt x="20" y="3"/>
                  </a:moveTo>
                  <a:cubicBezTo>
                    <a:pt x="15" y="6"/>
                    <a:pt x="11" y="3"/>
                    <a:pt x="8" y="1"/>
                  </a:cubicBezTo>
                  <a:cubicBezTo>
                    <a:pt x="10" y="4"/>
                    <a:pt x="0" y="9"/>
                    <a:pt x="6" y="9"/>
                  </a:cubicBezTo>
                  <a:cubicBezTo>
                    <a:pt x="11" y="0"/>
                    <a:pt x="17" y="12"/>
                    <a:pt x="22" y="12"/>
                  </a:cubicBezTo>
                  <a:cubicBezTo>
                    <a:pt x="20" y="9"/>
                    <a:pt x="22" y="7"/>
                    <a:pt x="2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5" name="任意多边形: 形状 704">
              <a:extLst>
                <a:ext uri="{FF2B5EF4-FFF2-40B4-BE49-F238E27FC236}">
                  <a16:creationId xmlns:a16="http://schemas.microsoft.com/office/drawing/2014/main" id="{B44C8529-7815-432D-9D78-62D5C849720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85500" y="-2513076"/>
              <a:ext cx="149225" cy="104777"/>
            </a:xfrm>
            <a:custGeom>
              <a:avLst/>
              <a:gdLst>
                <a:gd name="T0" fmla="*/ 48 w 50"/>
                <a:gd name="T1" fmla="*/ 23 h 35"/>
                <a:gd name="T2" fmla="*/ 32 w 50"/>
                <a:gd name="T3" fmla="*/ 23 h 35"/>
                <a:gd name="T4" fmla="*/ 41 w 50"/>
                <a:gd name="T5" fmla="*/ 19 h 35"/>
                <a:gd name="T6" fmla="*/ 35 w 50"/>
                <a:gd name="T7" fmla="*/ 2 h 35"/>
                <a:gd name="T8" fmla="*/ 21 w 50"/>
                <a:gd name="T9" fmla="*/ 0 h 35"/>
                <a:gd name="T10" fmla="*/ 30 w 50"/>
                <a:gd name="T11" fmla="*/ 6 h 35"/>
                <a:gd name="T12" fmla="*/ 33 w 50"/>
                <a:gd name="T13" fmla="*/ 17 h 35"/>
                <a:gd name="T14" fmla="*/ 22 w 50"/>
                <a:gd name="T15" fmla="*/ 19 h 35"/>
                <a:gd name="T16" fmla="*/ 19 w 50"/>
                <a:gd name="T17" fmla="*/ 14 h 35"/>
                <a:gd name="T18" fmla="*/ 0 w 50"/>
                <a:gd name="T19" fmla="*/ 21 h 35"/>
                <a:gd name="T20" fmla="*/ 11 w 50"/>
                <a:gd name="T21" fmla="*/ 27 h 35"/>
                <a:gd name="T22" fmla="*/ 13 w 50"/>
                <a:gd name="T23" fmla="*/ 21 h 35"/>
                <a:gd name="T24" fmla="*/ 28 w 50"/>
                <a:gd name="T25" fmla="*/ 21 h 35"/>
                <a:gd name="T26" fmla="*/ 30 w 50"/>
                <a:gd name="T27" fmla="*/ 29 h 35"/>
                <a:gd name="T28" fmla="*/ 48 w 50"/>
                <a:gd name="T29" fmla="*/ 2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0" h="35">
                  <a:moveTo>
                    <a:pt x="48" y="23"/>
                  </a:moveTo>
                  <a:cubicBezTo>
                    <a:pt x="43" y="27"/>
                    <a:pt x="33" y="33"/>
                    <a:pt x="32" y="23"/>
                  </a:cubicBezTo>
                  <a:cubicBezTo>
                    <a:pt x="37" y="21"/>
                    <a:pt x="35" y="16"/>
                    <a:pt x="41" y="19"/>
                  </a:cubicBezTo>
                  <a:cubicBezTo>
                    <a:pt x="35" y="12"/>
                    <a:pt x="28" y="10"/>
                    <a:pt x="35" y="2"/>
                  </a:cubicBezTo>
                  <a:cubicBezTo>
                    <a:pt x="32" y="2"/>
                    <a:pt x="26" y="2"/>
                    <a:pt x="21" y="0"/>
                  </a:cubicBezTo>
                  <a:cubicBezTo>
                    <a:pt x="22" y="10"/>
                    <a:pt x="28" y="0"/>
                    <a:pt x="30" y="6"/>
                  </a:cubicBezTo>
                  <a:cubicBezTo>
                    <a:pt x="28" y="10"/>
                    <a:pt x="30" y="12"/>
                    <a:pt x="33" y="17"/>
                  </a:cubicBezTo>
                  <a:cubicBezTo>
                    <a:pt x="30" y="16"/>
                    <a:pt x="26" y="17"/>
                    <a:pt x="22" y="19"/>
                  </a:cubicBezTo>
                  <a:cubicBezTo>
                    <a:pt x="19" y="14"/>
                    <a:pt x="19" y="14"/>
                    <a:pt x="19" y="14"/>
                  </a:cubicBezTo>
                  <a:cubicBezTo>
                    <a:pt x="10" y="21"/>
                    <a:pt x="11" y="21"/>
                    <a:pt x="0" y="21"/>
                  </a:cubicBezTo>
                  <a:cubicBezTo>
                    <a:pt x="2" y="29"/>
                    <a:pt x="6" y="31"/>
                    <a:pt x="11" y="27"/>
                  </a:cubicBezTo>
                  <a:cubicBezTo>
                    <a:pt x="15" y="27"/>
                    <a:pt x="11" y="23"/>
                    <a:pt x="13" y="21"/>
                  </a:cubicBezTo>
                  <a:cubicBezTo>
                    <a:pt x="21" y="19"/>
                    <a:pt x="22" y="31"/>
                    <a:pt x="28" y="21"/>
                  </a:cubicBezTo>
                  <a:cubicBezTo>
                    <a:pt x="30" y="25"/>
                    <a:pt x="30" y="27"/>
                    <a:pt x="30" y="29"/>
                  </a:cubicBezTo>
                  <a:cubicBezTo>
                    <a:pt x="35" y="29"/>
                    <a:pt x="50" y="35"/>
                    <a:pt x="48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6" name="任意多边形: 形状 705">
              <a:extLst>
                <a:ext uri="{FF2B5EF4-FFF2-40B4-BE49-F238E27FC236}">
                  <a16:creationId xmlns:a16="http://schemas.microsoft.com/office/drawing/2014/main" id="{31A324C6-CAFE-48B3-8549-DA8525C4B31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74412" y="-2195570"/>
              <a:ext cx="53975" cy="36513"/>
            </a:xfrm>
            <a:custGeom>
              <a:avLst/>
              <a:gdLst>
                <a:gd name="T0" fmla="*/ 0 w 18"/>
                <a:gd name="T1" fmla="*/ 6 h 12"/>
                <a:gd name="T2" fmla="*/ 5 w 18"/>
                <a:gd name="T3" fmla="*/ 12 h 12"/>
                <a:gd name="T4" fmla="*/ 18 w 18"/>
                <a:gd name="T5" fmla="*/ 8 h 12"/>
                <a:gd name="T6" fmla="*/ 0 w 18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2">
                  <a:moveTo>
                    <a:pt x="0" y="6"/>
                  </a:moveTo>
                  <a:cubicBezTo>
                    <a:pt x="1" y="6"/>
                    <a:pt x="5" y="8"/>
                    <a:pt x="5" y="12"/>
                  </a:cubicBezTo>
                  <a:cubicBezTo>
                    <a:pt x="11" y="6"/>
                    <a:pt x="13" y="8"/>
                    <a:pt x="18" y="8"/>
                  </a:cubicBezTo>
                  <a:cubicBezTo>
                    <a:pt x="16" y="0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7" name="任意多边形: 形状 706">
              <a:extLst>
                <a:ext uri="{FF2B5EF4-FFF2-40B4-BE49-F238E27FC236}">
                  <a16:creationId xmlns:a16="http://schemas.microsoft.com/office/drawing/2014/main" id="{E168EEAC-4D7D-49C2-9B3C-CBD422BE87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941050" y="-2455925"/>
              <a:ext cx="65088" cy="65089"/>
            </a:xfrm>
            <a:custGeom>
              <a:avLst/>
              <a:gdLst>
                <a:gd name="T0" fmla="*/ 3 w 22"/>
                <a:gd name="T1" fmla="*/ 16 h 22"/>
                <a:gd name="T2" fmla="*/ 7 w 22"/>
                <a:gd name="T3" fmla="*/ 9 h 22"/>
                <a:gd name="T4" fmla="*/ 22 w 22"/>
                <a:gd name="T5" fmla="*/ 13 h 22"/>
                <a:gd name="T6" fmla="*/ 3 w 22"/>
                <a:gd name="T7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2">
                  <a:moveTo>
                    <a:pt x="3" y="16"/>
                  </a:moveTo>
                  <a:cubicBezTo>
                    <a:pt x="7" y="15"/>
                    <a:pt x="5" y="11"/>
                    <a:pt x="7" y="9"/>
                  </a:cubicBezTo>
                  <a:cubicBezTo>
                    <a:pt x="11" y="13"/>
                    <a:pt x="20" y="22"/>
                    <a:pt x="22" y="13"/>
                  </a:cubicBezTo>
                  <a:cubicBezTo>
                    <a:pt x="14" y="15"/>
                    <a:pt x="0" y="0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8" name="任意多边形: 形状 707">
              <a:extLst>
                <a:ext uri="{FF2B5EF4-FFF2-40B4-BE49-F238E27FC236}">
                  <a16:creationId xmlns:a16="http://schemas.microsoft.com/office/drawing/2014/main" id="{C9D37236-BF60-4D19-BABF-F16E27B243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942512" y="-3573545"/>
              <a:ext cx="44450" cy="47626"/>
            </a:xfrm>
            <a:custGeom>
              <a:avLst/>
              <a:gdLst>
                <a:gd name="T0" fmla="*/ 3 w 15"/>
                <a:gd name="T1" fmla="*/ 7 h 16"/>
                <a:gd name="T2" fmla="*/ 0 w 15"/>
                <a:gd name="T3" fmla="*/ 10 h 16"/>
                <a:gd name="T4" fmla="*/ 3 w 15"/>
                <a:gd name="T5" fmla="*/ 16 h 16"/>
                <a:gd name="T6" fmla="*/ 10 w 15"/>
                <a:gd name="T7" fmla="*/ 16 h 16"/>
                <a:gd name="T8" fmla="*/ 3 w 15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6">
                  <a:moveTo>
                    <a:pt x="3" y="7"/>
                  </a:moveTo>
                  <a:cubicBezTo>
                    <a:pt x="7" y="5"/>
                    <a:pt x="3" y="9"/>
                    <a:pt x="0" y="10"/>
                  </a:cubicBezTo>
                  <a:cubicBezTo>
                    <a:pt x="3" y="12"/>
                    <a:pt x="0" y="16"/>
                    <a:pt x="3" y="16"/>
                  </a:cubicBezTo>
                  <a:cubicBezTo>
                    <a:pt x="1" y="9"/>
                    <a:pt x="8" y="16"/>
                    <a:pt x="10" y="16"/>
                  </a:cubicBezTo>
                  <a:cubicBezTo>
                    <a:pt x="15" y="5"/>
                    <a:pt x="12" y="0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09" name="任意多边形: 形状 708">
              <a:extLst>
                <a:ext uri="{FF2B5EF4-FFF2-40B4-BE49-F238E27FC236}">
                  <a16:creationId xmlns:a16="http://schemas.microsoft.com/office/drawing/2014/main" id="{B449E048-F2FB-4226-BFF8-E287D5ACD4E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717087" y="-3462418"/>
              <a:ext cx="34925" cy="30163"/>
            </a:xfrm>
            <a:custGeom>
              <a:avLst/>
              <a:gdLst>
                <a:gd name="T0" fmla="*/ 0 w 12"/>
                <a:gd name="T1" fmla="*/ 10 h 10"/>
                <a:gd name="T2" fmla="*/ 10 w 12"/>
                <a:gd name="T3" fmla="*/ 3 h 10"/>
                <a:gd name="T4" fmla="*/ 12 w 12"/>
                <a:gd name="T5" fmla="*/ 2 h 10"/>
                <a:gd name="T6" fmla="*/ 0 w 12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0">
                  <a:moveTo>
                    <a:pt x="0" y="10"/>
                  </a:moveTo>
                  <a:cubicBezTo>
                    <a:pt x="8" y="10"/>
                    <a:pt x="8" y="7"/>
                    <a:pt x="10" y="3"/>
                  </a:cubicBezTo>
                  <a:cubicBezTo>
                    <a:pt x="10" y="3"/>
                    <a:pt x="12" y="5"/>
                    <a:pt x="12" y="2"/>
                  </a:cubicBezTo>
                  <a:cubicBezTo>
                    <a:pt x="4" y="0"/>
                    <a:pt x="0" y="5"/>
                    <a:pt x="0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0" name="任意多边形: 形状 709">
              <a:extLst>
                <a:ext uri="{FF2B5EF4-FFF2-40B4-BE49-F238E27FC236}">
                  <a16:creationId xmlns:a16="http://schemas.microsoft.com/office/drawing/2014/main" id="{7EC3097E-9657-4655-AD0A-9261D78582D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9120186" y="-388963"/>
              <a:ext cx="57150" cy="66676"/>
            </a:xfrm>
            <a:custGeom>
              <a:avLst/>
              <a:gdLst>
                <a:gd name="T0" fmla="*/ 4 w 19"/>
                <a:gd name="T1" fmla="*/ 7 h 22"/>
                <a:gd name="T2" fmla="*/ 2 w 19"/>
                <a:gd name="T3" fmla="*/ 22 h 22"/>
                <a:gd name="T4" fmla="*/ 12 w 19"/>
                <a:gd name="T5" fmla="*/ 0 h 22"/>
                <a:gd name="T6" fmla="*/ 4 w 19"/>
                <a:gd name="T7" fmla="*/ 7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2">
                  <a:moveTo>
                    <a:pt x="4" y="7"/>
                  </a:moveTo>
                  <a:cubicBezTo>
                    <a:pt x="4" y="10"/>
                    <a:pt x="4" y="10"/>
                    <a:pt x="2" y="22"/>
                  </a:cubicBezTo>
                  <a:cubicBezTo>
                    <a:pt x="10" y="17"/>
                    <a:pt x="19" y="10"/>
                    <a:pt x="12" y="0"/>
                  </a:cubicBezTo>
                  <a:cubicBezTo>
                    <a:pt x="10" y="3"/>
                    <a:pt x="0" y="3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1" name="任意多边形: 形状 710">
              <a:extLst>
                <a:ext uri="{FF2B5EF4-FFF2-40B4-BE49-F238E27FC236}">
                  <a16:creationId xmlns:a16="http://schemas.microsoft.com/office/drawing/2014/main" id="{B5701FF6-8442-4ABB-B64D-69D7160D0D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81685" y="249224"/>
              <a:ext cx="65088" cy="26988"/>
            </a:xfrm>
            <a:custGeom>
              <a:avLst/>
              <a:gdLst>
                <a:gd name="T0" fmla="*/ 22 w 22"/>
                <a:gd name="T1" fmla="*/ 7 h 9"/>
                <a:gd name="T2" fmla="*/ 18 w 22"/>
                <a:gd name="T3" fmla="*/ 3 h 9"/>
                <a:gd name="T4" fmla="*/ 20 w 22"/>
                <a:gd name="T5" fmla="*/ 0 h 9"/>
                <a:gd name="T6" fmla="*/ 1 w 22"/>
                <a:gd name="T7" fmla="*/ 7 h 9"/>
                <a:gd name="T8" fmla="*/ 0 w 22"/>
                <a:gd name="T9" fmla="*/ 6 h 9"/>
                <a:gd name="T10" fmla="*/ 0 w 22"/>
                <a:gd name="T11" fmla="*/ 8 h 9"/>
                <a:gd name="T12" fmla="*/ 22 w 22"/>
                <a:gd name="T13" fmla="*/ 7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9">
                  <a:moveTo>
                    <a:pt x="22" y="7"/>
                  </a:moveTo>
                  <a:cubicBezTo>
                    <a:pt x="18" y="3"/>
                    <a:pt x="18" y="3"/>
                    <a:pt x="18" y="3"/>
                  </a:cubicBezTo>
                  <a:cubicBezTo>
                    <a:pt x="20" y="2"/>
                    <a:pt x="20" y="2"/>
                    <a:pt x="20" y="0"/>
                  </a:cubicBezTo>
                  <a:cubicBezTo>
                    <a:pt x="15" y="2"/>
                    <a:pt x="9" y="5"/>
                    <a:pt x="1" y="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7" y="9"/>
                    <a:pt x="15" y="0"/>
                    <a:pt x="2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2" name="任意多边形: 形状 711">
              <a:extLst>
                <a:ext uri="{FF2B5EF4-FFF2-40B4-BE49-F238E27FC236}">
                  <a16:creationId xmlns:a16="http://schemas.microsoft.com/office/drawing/2014/main" id="{6A0A3AFE-8617-49A4-A7B3-F0619CA748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56298" y="663568"/>
              <a:ext cx="84138" cy="131765"/>
            </a:xfrm>
            <a:custGeom>
              <a:avLst/>
              <a:gdLst>
                <a:gd name="T0" fmla="*/ 0 w 28"/>
                <a:gd name="T1" fmla="*/ 42 h 44"/>
                <a:gd name="T2" fmla="*/ 12 w 28"/>
                <a:gd name="T3" fmla="*/ 40 h 44"/>
                <a:gd name="T4" fmla="*/ 28 w 28"/>
                <a:gd name="T5" fmla="*/ 21 h 44"/>
                <a:gd name="T6" fmla="*/ 28 w 28"/>
                <a:gd name="T7" fmla="*/ 12 h 44"/>
                <a:gd name="T8" fmla="*/ 16 w 28"/>
                <a:gd name="T9" fmla="*/ 12 h 44"/>
                <a:gd name="T10" fmla="*/ 12 w 28"/>
                <a:gd name="T11" fmla="*/ 2 h 44"/>
                <a:gd name="T12" fmla="*/ 9 w 28"/>
                <a:gd name="T13" fmla="*/ 14 h 44"/>
                <a:gd name="T14" fmla="*/ 16 w 28"/>
                <a:gd name="T15" fmla="*/ 14 h 44"/>
                <a:gd name="T16" fmla="*/ 3 w 28"/>
                <a:gd name="T17" fmla="*/ 21 h 44"/>
                <a:gd name="T18" fmla="*/ 10 w 28"/>
                <a:gd name="T19" fmla="*/ 28 h 44"/>
                <a:gd name="T20" fmla="*/ 0 w 28"/>
                <a:gd name="T21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44">
                  <a:moveTo>
                    <a:pt x="0" y="42"/>
                  </a:moveTo>
                  <a:cubicBezTo>
                    <a:pt x="5" y="38"/>
                    <a:pt x="9" y="44"/>
                    <a:pt x="12" y="40"/>
                  </a:cubicBezTo>
                  <a:cubicBezTo>
                    <a:pt x="12" y="30"/>
                    <a:pt x="19" y="30"/>
                    <a:pt x="28" y="21"/>
                  </a:cubicBezTo>
                  <a:cubicBezTo>
                    <a:pt x="24" y="17"/>
                    <a:pt x="28" y="16"/>
                    <a:pt x="28" y="12"/>
                  </a:cubicBezTo>
                  <a:cubicBezTo>
                    <a:pt x="23" y="16"/>
                    <a:pt x="19" y="12"/>
                    <a:pt x="16" y="12"/>
                  </a:cubicBezTo>
                  <a:cubicBezTo>
                    <a:pt x="16" y="11"/>
                    <a:pt x="16" y="0"/>
                    <a:pt x="12" y="2"/>
                  </a:cubicBezTo>
                  <a:cubicBezTo>
                    <a:pt x="12" y="11"/>
                    <a:pt x="7" y="7"/>
                    <a:pt x="9" y="14"/>
                  </a:cubicBezTo>
                  <a:cubicBezTo>
                    <a:pt x="10" y="12"/>
                    <a:pt x="14" y="12"/>
                    <a:pt x="16" y="14"/>
                  </a:cubicBezTo>
                  <a:cubicBezTo>
                    <a:pt x="12" y="21"/>
                    <a:pt x="10" y="19"/>
                    <a:pt x="3" y="21"/>
                  </a:cubicBezTo>
                  <a:cubicBezTo>
                    <a:pt x="5" y="26"/>
                    <a:pt x="9" y="24"/>
                    <a:pt x="10" y="28"/>
                  </a:cubicBezTo>
                  <a:cubicBezTo>
                    <a:pt x="3" y="28"/>
                    <a:pt x="3" y="38"/>
                    <a:pt x="0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3" name="任意多边形: 形状 712">
              <a:extLst>
                <a:ext uri="{FF2B5EF4-FFF2-40B4-BE49-F238E27FC236}">
                  <a16:creationId xmlns:a16="http://schemas.microsoft.com/office/drawing/2014/main" id="{93F14FDF-7988-4413-B1EE-9A0EBAE27B2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26963" y="-2597215"/>
              <a:ext cx="203200" cy="93664"/>
            </a:xfrm>
            <a:custGeom>
              <a:avLst/>
              <a:gdLst>
                <a:gd name="T0" fmla="*/ 61 w 68"/>
                <a:gd name="T1" fmla="*/ 0 h 31"/>
                <a:gd name="T2" fmla="*/ 49 w 68"/>
                <a:gd name="T3" fmla="*/ 16 h 31"/>
                <a:gd name="T4" fmla="*/ 33 w 68"/>
                <a:gd name="T5" fmla="*/ 11 h 31"/>
                <a:gd name="T6" fmla="*/ 0 w 68"/>
                <a:gd name="T7" fmla="*/ 28 h 31"/>
                <a:gd name="T8" fmla="*/ 19 w 68"/>
                <a:gd name="T9" fmla="*/ 31 h 31"/>
                <a:gd name="T10" fmla="*/ 35 w 68"/>
                <a:gd name="T11" fmla="*/ 18 h 31"/>
                <a:gd name="T12" fmla="*/ 38 w 68"/>
                <a:gd name="T13" fmla="*/ 18 h 31"/>
                <a:gd name="T14" fmla="*/ 47 w 68"/>
                <a:gd name="T15" fmla="*/ 26 h 31"/>
                <a:gd name="T16" fmla="*/ 60 w 68"/>
                <a:gd name="T17" fmla="*/ 6 h 31"/>
                <a:gd name="T18" fmla="*/ 68 w 68"/>
                <a:gd name="T19" fmla="*/ 11 h 31"/>
                <a:gd name="T20" fmla="*/ 68 w 68"/>
                <a:gd name="T21" fmla="*/ 4 h 31"/>
                <a:gd name="T22" fmla="*/ 61 w 68"/>
                <a:gd name="T2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8" h="31">
                  <a:moveTo>
                    <a:pt x="61" y="0"/>
                  </a:moveTo>
                  <a:cubicBezTo>
                    <a:pt x="52" y="4"/>
                    <a:pt x="52" y="11"/>
                    <a:pt x="49" y="16"/>
                  </a:cubicBezTo>
                  <a:cubicBezTo>
                    <a:pt x="44" y="16"/>
                    <a:pt x="38" y="12"/>
                    <a:pt x="33" y="11"/>
                  </a:cubicBezTo>
                  <a:cubicBezTo>
                    <a:pt x="28" y="19"/>
                    <a:pt x="10" y="18"/>
                    <a:pt x="0" y="28"/>
                  </a:cubicBezTo>
                  <a:cubicBezTo>
                    <a:pt x="9" y="23"/>
                    <a:pt x="14" y="28"/>
                    <a:pt x="19" y="31"/>
                  </a:cubicBezTo>
                  <a:cubicBezTo>
                    <a:pt x="24" y="23"/>
                    <a:pt x="31" y="26"/>
                    <a:pt x="35" y="18"/>
                  </a:cubicBezTo>
                  <a:cubicBezTo>
                    <a:pt x="37" y="21"/>
                    <a:pt x="38" y="21"/>
                    <a:pt x="38" y="18"/>
                  </a:cubicBezTo>
                  <a:cubicBezTo>
                    <a:pt x="42" y="23"/>
                    <a:pt x="44" y="28"/>
                    <a:pt x="47" y="26"/>
                  </a:cubicBezTo>
                  <a:cubicBezTo>
                    <a:pt x="49" y="18"/>
                    <a:pt x="58" y="14"/>
                    <a:pt x="60" y="6"/>
                  </a:cubicBezTo>
                  <a:cubicBezTo>
                    <a:pt x="63" y="7"/>
                    <a:pt x="65" y="11"/>
                    <a:pt x="68" y="11"/>
                  </a:cubicBezTo>
                  <a:cubicBezTo>
                    <a:pt x="67" y="9"/>
                    <a:pt x="67" y="7"/>
                    <a:pt x="68" y="4"/>
                  </a:cubicBezTo>
                  <a:cubicBezTo>
                    <a:pt x="65" y="6"/>
                    <a:pt x="61" y="4"/>
                    <a:pt x="6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4" name="任意多边形: 形状 713">
              <a:extLst>
                <a:ext uri="{FF2B5EF4-FFF2-40B4-BE49-F238E27FC236}">
                  <a16:creationId xmlns:a16="http://schemas.microsoft.com/office/drawing/2014/main" id="{1A515453-290B-42C4-987C-674348EABB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53775" y="-2438462"/>
              <a:ext cx="84138" cy="47626"/>
            </a:xfrm>
            <a:custGeom>
              <a:avLst/>
              <a:gdLst>
                <a:gd name="T0" fmla="*/ 25 w 28"/>
                <a:gd name="T1" fmla="*/ 16 h 16"/>
                <a:gd name="T2" fmla="*/ 28 w 28"/>
                <a:gd name="T3" fmla="*/ 4 h 16"/>
                <a:gd name="T4" fmla="*/ 20 w 28"/>
                <a:gd name="T5" fmla="*/ 0 h 16"/>
                <a:gd name="T6" fmla="*/ 6 w 28"/>
                <a:gd name="T7" fmla="*/ 14 h 16"/>
                <a:gd name="T8" fmla="*/ 25 w 2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16">
                  <a:moveTo>
                    <a:pt x="25" y="16"/>
                  </a:moveTo>
                  <a:cubicBezTo>
                    <a:pt x="28" y="14"/>
                    <a:pt x="27" y="8"/>
                    <a:pt x="28" y="4"/>
                  </a:cubicBezTo>
                  <a:cubicBezTo>
                    <a:pt x="25" y="10"/>
                    <a:pt x="23" y="2"/>
                    <a:pt x="20" y="0"/>
                  </a:cubicBezTo>
                  <a:cubicBezTo>
                    <a:pt x="16" y="6"/>
                    <a:pt x="0" y="6"/>
                    <a:pt x="6" y="14"/>
                  </a:cubicBezTo>
                  <a:cubicBezTo>
                    <a:pt x="13" y="12"/>
                    <a:pt x="21" y="4"/>
                    <a:pt x="2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5" name="任意多边形: 形状 714">
              <a:extLst>
                <a:ext uri="{FF2B5EF4-FFF2-40B4-BE49-F238E27FC236}">
                  <a16:creationId xmlns:a16="http://schemas.microsoft.com/office/drawing/2014/main" id="{AD806B4D-44DA-459E-8EE1-74340AEEC1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86999" y="-1355768"/>
              <a:ext cx="7938" cy="7938"/>
            </a:xfrm>
            <a:custGeom>
              <a:avLst/>
              <a:gdLst>
                <a:gd name="T0" fmla="*/ 1 w 3"/>
                <a:gd name="T1" fmla="*/ 0 h 3"/>
                <a:gd name="T2" fmla="*/ 0 w 3"/>
                <a:gd name="T3" fmla="*/ 0 h 3"/>
                <a:gd name="T4" fmla="*/ 0 w 3"/>
                <a:gd name="T5" fmla="*/ 3 h 3"/>
                <a:gd name="T6" fmla="*/ 1 w 3"/>
                <a:gd name="T7" fmla="*/ 2 h 3"/>
                <a:gd name="T8" fmla="*/ 1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1" y="0"/>
                  </a:moveTo>
                  <a:cubicBezTo>
                    <a:pt x="1" y="0"/>
                    <a:pt x="1" y="0"/>
                    <a:pt x="0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3" y="1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6" name="任意多边形: 形状 715">
              <a:extLst>
                <a:ext uri="{FF2B5EF4-FFF2-40B4-BE49-F238E27FC236}">
                  <a16:creationId xmlns:a16="http://schemas.microsoft.com/office/drawing/2014/main" id="{7CD4103A-3208-442E-871E-EF58CF2C01E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4149" y="-1527221"/>
              <a:ext cx="47625" cy="30163"/>
            </a:xfrm>
            <a:custGeom>
              <a:avLst/>
              <a:gdLst>
                <a:gd name="T0" fmla="*/ 3 w 16"/>
                <a:gd name="T1" fmla="*/ 8 h 10"/>
                <a:gd name="T2" fmla="*/ 16 w 16"/>
                <a:gd name="T3" fmla="*/ 7 h 10"/>
                <a:gd name="T4" fmla="*/ 2 w 16"/>
                <a:gd name="T5" fmla="*/ 0 h 10"/>
                <a:gd name="T6" fmla="*/ 3 w 16"/>
                <a:gd name="T7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" h="10">
                  <a:moveTo>
                    <a:pt x="3" y="8"/>
                  </a:moveTo>
                  <a:cubicBezTo>
                    <a:pt x="8" y="8"/>
                    <a:pt x="12" y="10"/>
                    <a:pt x="16" y="7"/>
                  </a:cubicBezTo>
                  <a:cubicBezTo>
                    <a:pt x="9" y="4"/>
                    <a:pt x="5" y="2"/>
                    <a:pt x="2" y="0"/>
                  </a:cubicBezTo>
                  <a:cubicBezTo>
                    <a:pt x="0" y="2"/>
                    <a:pt x="1" y="5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7" name="任意多边形: 形状 716">
              <a:extLst>
                <a:ext uri="{FF2B5EF4-FFF2-40B4-BE49-F238E27FC236}">
                  <a16:creationId xmlns:a16="http://schemas.microsoft.com/office/drawing/2014/main" id="{7EBF6F38-A2F4-4AD0-9006-E27BB3E6BB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48912" y="-1530396"/>
              <a:ext cx="49213" cy="23813"/>
            </a:xfrm>
            <a:custGeom>
              <a:avLst/>
              <a:gdLst>
                <a:gd name="T0" fmla="*/ 16 w 16"/>
                <a:gd name="T1" fmla="*/ 5 h 8"/>
                <a:gd name="T2" fmla="*/ 16 w 16"/>
                <a:gd name="T3" fmla="*/ 5 h 8"/>
                <a:gd name="T4" fmla="*/ 16 w 16"/>
                <a:gd name="T5" fmla="*/ 3 h 8"/>
                <a:gd name="T6" fmla="*/ 5 w 16"/>
                <a:gd name="T7" fmla="*/ 1 h 8"/>
                <a:gd name="T8" fmla="*/ 0 w 16"/>
                <a:gd name="T9" fmla="*/ 1 h 8"/>
                <a:gd name="T10" fmla="*/ 14 w 16"/>
                <a:gd name="T11" fmla="*/ 8 h 8"/>
                <a:gd name="T12" fmla="*/ 16 w 16"/>
                <a:gd name="T13" fmla="*/ 7 h 8"/>
                <a:gd name="T14" fmla="*/ 16 w 16"/>
                <a:gd name="T1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8">
                  <a:moveTo>
                    <a:pt x="16" y="5"/>
                  </a:moveTo>
                  <a:cubicBezTo>
                    <a:pt x="16" y="5"/>
                    <a:pt x="16" y="5"/>
                    <a:pt x="16" y="5"/>
                  </a:cubicBezTo>
                  <a:cubicBezTo>
                    <a:pt x="16" y="4"/>
                    <a:pt x="16" y="3"/>
                    <a:pt x="16" y="3"/>
                  </a:cubicBezTo>
                  <a:cubicBezTo>
                    <a:pt x="12" y="1"/>
                    <a:pt x="9" y="1"/>
                    <a:pt x="5" y="1"/>
                  </a:cubicBezTo>
                  <a:cubicBezTo>
                    <a:pt x="3" y="0"/>
                    <a:pt x="1" y="0"/>
                    <a:pt x="0" y="1"/>
                  </a:cubicBezTo>
                  <a:cubicBezTo>
                    <a:pt x="3" y="3"/>
                    <a:pt x="7" y="5"/>
                    <a:pt x="14" y="8"/>
                  </a:cubicBezTo>
                  <a:cubicBezTo>
                    <a:pt x="15" y="8"/>
                    <a:pt x="16" y="7"/>
                    <a:pt x="16" y="7"/>
                  </a:cubicBezTo>
                  <a:cubicBezTo>
                    <a:pt x="16" y="6"/>
                    <a:pt x="16" y="6"/>
                    <a:pt x="1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8" name="任意多边形: 形状 717">
              <a:extLst>
                <a:ext uri="{FF2B5EF4-FFF2-40B4-BE49-F238E27FC236}">
                  <a16:creationId xmlns:a16="http://schemas.microsoft.com/office/drawing/2014/main" id="{83EB6945-4444-4A9B-896E-87EA9C227F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402887" y="-1517696"/>
              <a:ext cx="3175" cy="1588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1"/>
                    <a:pt x="1" y="0"/>
                    <a:pt x="1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19" name="任意多边形: 形状 718">
              <a:extLst>
                <a:ext uri="{FF2B5EF4-FFF2-40B4-BE49-F238E27FC236}">
                  <a16:creationId xmlns:a16="http://schemas.microsoft.com/office/drawing/2014/main" id="{1DDFF999-60A6-4C83-BFD2-775819182A1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8125" y="-1524046"/>
              <a:ext cx="7938" cy="7938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0 w 3"/>
                <a:gd name="T5" fmla="*/ 1 h 3"/>
                <a:gd name="T6" fmla="*/ 0 w 3"/>
                <a:gd name="T7" fmla="*/ 3 h 3"/>
                <a:gd name="T8" fmla="*/ 2 w 3"/>
                <a:gd name="T9" fmla="*/ 3 h 3"/>
                <a:gd name="T10" fmla="*/ 3 w 3"/>
                <a:gd name="T11" fmla="*/ 2 h 3"/>
                <a:gd name="T12" fmla="*/ 0 w 3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cubicBezTo>
                    <a:pt x="0" y="0"/>
                    <a:pt x="0" y="0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1" y="3"/>
                    <a:pt x="2" y="3"/>
                    <a:pt x="2" y="3"/>
                  </a:cubicBezTo>
                  <a:cubicBezTo>
                    <a:pt x="2" y="3"/>
                    <a:pt x="3" y="2"/>
                    <a:pt x="3" y="2"/>
                  </a:cubicBezTo>
                  <a:cubicBezTo>
                    <a:pt x="2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0" name="任意多边形: 形状 719">
              <a:extLst>
                <a:ext uri="{FF2B5EF4-FFF2-40B4-BE49-F238E27FC236}">
                  <a16:creationId xmlns:a16="http://schemas.microsoft.com/office/drawing/2014/main" id="{FE5B568F-258E-4572-81FA-33CBB42FC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98125" y="-1520871"/>
              <a:ext cx="0" cy="4763"/>
            </a:xfrm>
            <a:custGeom>
              <a:avLst/>
              <a:gdLst>
                <a:gd name="T0" fmla="*/ 2 h 2"/>
                <a:gd name="T1" fmla="*/ 0 h 2"/>
                <a:gd name="T2" fmla="*/ 0 h 2"/>
                <a:gd name="T3" fmla="*/ 2 h 2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2">
                  <a:moveTo>
                    <a:pt x="0" y="2"/>
                  </a:moveTo>
                  <a:cubicBezTo>
                    <a:pt x="0" y="1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1" name="任意多边形: 形状 720">
              <a:extLst>
                <a:ext uri="{FF2B5EF4-FFF2-40B4-BE49-F238E27FC236}">
                  <a16:creationId xmlns:a16="http://schemas.microsoft.com/office/drawing/2014/main" id="{1883F6D1-283F-493F-BF5C-1440F0FB8B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7083423" y="150797"/>
              <a:ext cx="663575" cy="250829"/>
            </a:xfrm>
            <a:custGeom>
              <a:avLst/>
              <a:gdLst>
                <a:gd name="T0" fmla="*/ 216 w 221"/>
                <a:gd name="T1" fmla="*/ 0 h 84"/>
                <a:gd name="T2" fmla="*/ 4 w 221"/>
                <a:gd name="T3" fmla="*/ 75 h 84"/>
                <a:gd name="T4" fmla="*/ 0 w 221"/>
                <a:gd name="T5" fmla="*/ 81 h 84"/>
                <a:gd name="T6" fmla="*/ 8 w 221"/>
                <a:gd name="T7" fmla="*/ 82 h 84"/>
                <a:gd name="T8" fmla="*/ 218 w 221"/>
                <a:gd name="T9" fmla="*/ 9 h 84"/>
                <a:gd name="T10" fmla="*/ 221 w 221"/>
                <a:gd name="T11" fmla="*/ 4 h 84"/>
                <a:gd name="T12" fmla="*/ 216 w 221"/>
                <a:gd name="T13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1" h="84">
                  <a:moveTo>
                    <a:pt x="216" y="0"/>
                  </a:moveTo>
                  <a:cubicBezTo>
                    <a:pt x="145" y="25"/>
                    <a:pt x="73" y="49"/>
                    <a:pt x="4" y="75"/>
                  </a:cubicBezTo>
                  <a:cubicBezTo>
                    <a:pt x="2" y="75"/>
                    <a:pt x="0" y="79"/>
                    <a:pt x="0" y="81"/>
                  </a:cubicBezTo>
                  <a:cubicBezTo>
                    <a:pt x="2" y="82"/>
                    <a:pt x="4" y="84"/>
                    <a:pt x="8" y="82"/>
                  </a:cubicBezTo>
                  <a:cubicBezTo>
                    <a:pt x="77" y="56"/>
                    <a:pt x="147" y="32"/>
                    <a:pt x="218" y="9"/>
                  </a:cubicBezTo>
                  <a:cubicBezTo>
                    <a:pt x="221" y="7"/>
                    <a:pt x="221" y="5"/>
                    <a:pt x="221" y="4"/>
                  </a:cubicBezTo>
                  <a:cubicBezTo>
                    <a:pt x="220" y="0"/>
                    <a:pt x="218" y="0"/>
                    <a:pt x="21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2" name="任意多边形: 形状 721">
              <a:extLst>
                <a:ext uri="{FF2B5EF4-FFF2-40B4-BE49-F238E27FC236}">
                  <a16:creationId xmlns:a16="http://schemas.microsoft.com/office/drawing/2014/main" id="{95F8043D-FA3C-437F-BBDA-9213BA7B8B6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510" y="114284"/>
              <a:ext cx="3175" cy="3175"/>
            </a:xfrm>
            <a:custGeom>
              <a:avLst/>
              <a:gdLst>
                <a:gd name="T0" fmla="*/ 1 w 1"/>
                <a:gd name="T1" fmla="*/ 1 h 1"/>
                <a:gd name="T2" fmla="*/ 1 w 1"/>
                <a:gd name="T3" fmla="*/ 0 h 1"/>
                <a:gd name="T4" fmla="*/ 0 w 1"/>
                <a:gd name="T5" fmla="*/ 1 h 1"/>
                <a:gd name="T6" fmla="*/ 1 w 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1">
                  <a:moveTo>
                    <a:pt x="1" y="1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0" y="1"/>
                  </a:cubicBezTo>
                  <a:cubicBezTo>
                    <a:pt x="1" y="1"/>
                    <a:pt x="1" y="1"/>
                    <a:pt x="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3" name="任意多边形: 形状 722">
              <a:extLst>
                <a:ext uri="{FF2B5EF4-FFF2-40B4-BE49-F238E27FC236}">
                  <a16:creationId xmlns:a16="http://schemas.microsoft.com/office/drawing/2014/main" id="{66F1A4F6-EA88-45D4-93C5-D40C6C1AF8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65810" y="-4319683"/>
              <a:ext cx="15875" cy="17463"/>
            </a:xfrm>
            <a:custGeom>
              <a:avLst/>
              <a:gdLst>
                <a:gd name="T0" fmla="*/ 1 w 5"/>
                <a:gd name="T1" fmla="*/ 2 h 6"/>
                <a:gd name="T2" fmla="*/ 5 w 5"/>
                <a:gd name="T3" fmla="*/ 6 h 6"/>
                <a:gd name="T4" fmla="*/ 5 w 5"/>
                <a:gd name="T5" fmla="*/ 1 h 6"/>
                <a:gd name="T6" fmla="*/ 1 w 5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6">
                  <a:moveTo>
                    <a:pt x="1" y="2"/>
                  </a:moveTo>
                  <a:cubicBezTo>
                    <a:pt x="2" y="3"/>
                    <a:pt x="3" y="5"/>
                    <a:pt x="5" y="6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2" y="0"/>
                    <a:pt x="0" y="1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4" name="任意多边形: 形状 723">
              <a:extLst>
                <a:ext uri="{FF2B5EF4-FFF2-40B4-BE49-F238E27FC236}">
                  <a16:creationId xmlns:a16="http://schemas.microsoft.com/office/drawing/2014/main" id="{D8F6D8E9-4687-44FE-80D8-148E2D904FF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2160" y="-4221257"/>
              <a:ext cx="9525" cy="12700"/>
            </a:xfrm>
            <a:custGeom>
              <a:avLst/>
              <a:gdLst>
                <a:gd name="T0" fmla="*/ 0 w 3"/>
                <a:gd name="T1" fmla="*/ 0 h 4"/>
                <a:gd name="T2" fmla="*/ 2 w 3"/>
                <a:gd name="T3" fmla="*/ 3 h 4"/>
                <a:gd name="T4" fmla="*/ 0 w 3"/>
                <a:gd name="T5" fmla="*/ 3 h 4"/>
                <a:gd name="T6" fmla="*/ 3 w 3"/>
                <a:gd name="T7" fmla="*/ 4 h 4"/>
                <a:gd name="T8" fmla="*/ 3 w 3"/>
                <a:gd name="T9" fmla="*/ 0 h 4"/>
                <a:gd name="T10" fmla="*/ 0 w 3"/>
                <a:gd name="T11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cubicBezTo>
                    <a:pt x="0" y="0"/>
                    <a:pt x="1" y="1"/>
                    <a:pt x="2" y="3"/>
                  </a:cubicBezTo>
                  <a:cubicBezTo>
                    <a:pt x="1" y="3"/>
                    <a:pt x="0" y="3"/>
                    <a:pt x="0" y="3"/>
                  </a:cubicBezTo>
                  <a:cubicBezTo>
                    <a:pt x="1" y="4"/>
                    <a:pt x="2" y="4"/>
                    <a:pt x="3" y="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725" name="任意多边形: 形状 724">
              <a:extLst>
                <a:ext uri="{FF2B5EF4-FFF2-40B4-BE49-F238E27FC236}">
                  <a16:creationId xmlns:a16="http://schemas.microsoft.com/office/drawing/2014/main" id="{19378ACB-BE99-4393-818C-86C49E9243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5335" y="-4272057"/>
              <a:ext cx="6350" cy="23813"/>
            </a:xfrm>
            <a:custGeom>
              <a:avLst/>
              <a:gdLst>
                <a:gd name="T0" fmla="*/ 2 w 2"/>
                <a:gd name="T1" fmla="*/ 8 h 8"/>
                <a:gd name="T2" fmla="*/ 2 w 2"/>
                <a:gd name="T3" fmla="*/ 0 h 8"/>
                <a:gd name="T4" fmla="*/ 0 w 2"/>
                <a:gd name="T5" fmla="*/ 7 h 8"/>
                <a:gd name="T6" fmla="*/ 2 w 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8">
                  <a:moveTo>
                    <a:pt x="2" y="8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2"/>
                    <a:pt x="0" y="4"/>
                    <a:pt x="0" y="7"/>
                  </a:cubicBezTo>
                  <a:cubicBezTo>
                    <a:pt x="0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6084890" y="4208431"/>
            <a:ext cx="5419185" cy="895350"/>
          </a:xfrm>
        </p:spPr>
        <p:txBody>
          <a:bodyPr anchor="b">
            <a:normAutofit/>
          </a:bodyPr>
          <a:lstStyle>
            <a:lvl1pPr algn="r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6086006" y="5103781"/>
            <a:ext cx="5419185" cy="1015623"/>
          </a:xfrm>
        </p:spPr>
        <p:txBody>
          <a:bodyPr anchor="t">
            <a:normAutofit/>
          </a:bodyPr>
          <a:lstStyle>
            <a:lvl1pPr marL="0" indent="0" algn="r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6" name="组合 545">
            <a:extLst>
              <a:ext uri="{FF2B5EF4-FFF2-40B4-BE49-F238E27FC236}">
                <a16:creationId xmlns:a16="http://schemas.microsoft.com/office/drawing/2014/main" id="{B8222CAE-0183-49FD-A950-B3E21D0F077D}"/>
              </a:ext>
            </a:extLst>
          </p:cNvPr>
          <p:cNvGrpSpPr/>
          <p:nvPr userDrawn="1"/>
        </p:nvGrpSpPr>
        <p:grpSpPr>
          <a:xfrm flipH="1">
            <a:off x="1629046" y="322943"/>
            <a:ext cx="11815590" cy="6212114"/>
            <a:chOff x="9201150" y="-9513884"/>
            <a:chExt cx="10550527" cy="5547000"/>
          </a:xfrm>
          <a:blipFill dpi="0" rotWithShape="0">
            <a:blip r:embed="rId2"/>
            <a:srcRect/>
            <a:tile tx="0" ty="0" sx="80000" sy="80000" flip="none" algn="tl"/>
          </a:blipFill>
        </p:grpSpPr>
        <p:grpSp>
          <p:nvGrpSpPr>
            <p:cNvPr id="547" name="组合 546">
              <a:extLst>
                <a:ext uri="{FF2B5EF4-FFF2-40B4-BE49-F238E27FC236}">
                  <a16:creationId xmlns:a16="http://schemas.microsoft.com/office/drawing/2014/main" id="{324F608E-48DC-4529-96B4-6681D3D418D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201150" y="-9498009"/>
              <a:ext cx="6613526" cy="4730763"/>
              <a:chOff x="516" y="425"/>
              <a:chExt cx="4166" cy="2980"/>
            </a:xfrm>
            <a:grpFill/>
          </p:grpSpPr>
          <p:sp>
            <p:nvSpPr>
              <p:cNvPr id="874" name="任意多边形: 形状 873">
                <a:extLst>
                  <a:ext uri="{FF2B5EF4-FFF2-40B4-BE49-F238E27FC236}">
                    <a16:creationId xmlns:a16="http://schemas.microsoft.com/office/drawing/2014/main" id="{26396D65-D184-41A3-A325-E458486605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6" y="2895"/>
                <a:ext cx="15" cy="6"/>
              </a:xfrm>
              <a:custGeom>
                <a:avLst/>
                <a:gdLst>
                  <a:gd name="T0" fmla="*/ 0 w 7"/>
                  <a:gd name="T1" fmla="*/ 3 h 3"/>
                  <a:gd name="T2" fmla="*/ 7 w 7"/>
                  <a:gd name="T3" fmla="*/ 0 h 3"/>
                  <a:gd name="T4" fmla="*/ 0 w 7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3">
                    <a:moveTo>
                      <a:pt x="0" y="3"/>
                    </a:moveTo>
                    <a:cubicBezTo>
                      <a:pt x="2" y="3"/>
                      <a:pt x="7" y="3"/>
                      <a:pt x="7" y="0"/>
                    </a:cubicBezTo>
                    <a:cubicBezTo>
                      <a:pt x="5" y="1"/>
                      <a:pt x="0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5" name="任意多边形: 形状 874">
                <a:extLst>
                  <a:ext uri="{FF2B5EF4-FFF2-40B4-BE49-F238E27FC236}">
                    <a16:creationId xmlns:a16="http://schemas.microsoft.com/office/drawing/2014/main" id="{504EEE95-2441-4E61-9C2F-393508A8EC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7" y="2878"/>
                <a:ext cx="13" cy="13"/>
              </a:xfrm>
              <a:custGeom>
                <a:avLst/>
                <a:gdLst>
                  <a:gd name="T0" fmla="*/ 0 w 6"/>
                  <a:gd name="T1" fmla="*/ 2 h 6"/>
                  <a:gd name="T2" fmla="*/ 1 w 6"/>
                  <a:gd name="T3" fmla="*/ 6 h 6"/>
                  <a:gd name="T4" fmla="*/ 6 w 6"/>
                  <a:gd name="T5" fmla="*/ 4 h 6"/>
                  <a:gd name="T6" fmla="*/ 0 w 6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2"/>
                    </a:moveTo>
                    <a:cubicBezTo>
                      <a:pt x="1" y="3"/>
                      <a:pt x="1" y="4"/>
                      <a:pt x="1" y="6"/>
                    </a:cubicBezTo>
                    <a:cubicBezTo>
                      <a:pt x="2" y="4"/>
                      <a:pt x="4" y="6"/>
                      <a:pt x="6" y="4"/>
                    </a:cubicBezTo>
                    <a:cubicBezTo>
                      <a:pt x="4" y="0"/>
                      <a:pt x="2" y="4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6" name="任意多边形: 形状 875">
                <a:extLst>
                  <a:ext uri="{FF2B5EF4-FFF2-40B4-BE49-F238E27FC236}">
                    <a16:creationId xmlns:a16="http://schemas.microsoft.com/office/drawing/2014/main" id="{4504C40E-E560-4415-A3BC-5690ABC343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0" y="2876"/>
                <a:ext cx="19" cy="12"/>
              </a:xfrm>
              <a:custGeom>
                <a:avLst/>
                <a:gdLst>
                  <a:gd name="T0" fmla="*/ 0 w 9"/>
                  <a:gd name="T1" fmla="*/ 4 h 6"/>
                  <a:gd name="T2" fmla="*/ 9 w 9"/>
                  <a:gd name="T3" fmla="*/ 1 h 6"/>
                  <a:gd name="T4" fmla="*/ 0 w 9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0" y="4"/>
                    </a:moveTo>
                    <a:cubicBezTo>
                      <a:pt x="2" y="4"/>
                      <a:pt x="9" y="6"/>
                      <a:pt x="9" y="1"/>
                    </a:cubicBezTo>
                    <a:cubicBezTo>
                      <a:pt x="6" y="3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7" name="任意多边形: 形状 876">
                <a:extLst>
                  <a:ext uri="{FF2B5EF4-FFF2-40B4-BE49-F238E27FC236}">
                    <a16:creationId xmlns:a16="http://schemas.microsoft.com/office/drawing/2014/main" id="{92247DBF-CD9B-4CCC-B715-9E1F79FFD5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1" y="2872"/>
                <a:ext cx="14" cy="12"/>
              </a:xfrm>
              <a:custGeom>
                <a:avLst/>
                <a:gdLst>
                  <a:gd name="T0" fmla="*/ 1 w 7"/>
                  <a:gd name="T1" fmla="*/ 1 h 6"/>
                  <a:gd name="T2" fmla="*/ 5 w 7"/>
                  <a:gd name="T3" fmla="*/ 1 h 6"/>
                  <a:gd name="T4" fmla="*/ 1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1"/>
                    </a:moveTo>
                    <a:cubicBezTo>
                      <a:pt x="0" y="6"/>
                      <a:pt x="7" y="6"/>
                      <a:pt x="5" y="1"/>
                    </a:cubicBezTo>
                    <a:cubicBezTo>
                      <a:pt x="3" y="3"/>
                      <a:pt x="2" y="0"/>
                      <a:pt x="1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8" name="任意多边形: 形状 877">
                <a:extLst>
                  <a:ext uri="{FF2B5EF4-FFF2-40B4-BE49-F238E27FC236}">
                    <a16:creationId xmlns:a16="http://schemas.microsoft.com/office/drawing/2014/main" id="{102B2AF4-B055-4699-B901-1C1D6B67A9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7" y="2866"/>
                <a:ext cx="36" cy="12"/>
              </a:xfrm>
              <a:custGeom>
                <a:avLst/>
                <a:gdLst>
                  <a:gd name="T0" fmla="*/ 0 w 17"/>
                  <a:gd name="T1" fmla="*/ 6 h 6"/>
                  <a:gd name="T2" fmla="*/ 17 w 17"/>
                  <a:gd name="T3" fmla="*/ 0 h 6"/>
                  <a:gd name="T4" fmla="*/ 0 w 1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6">
                    <a:moveTo>
                      <a:pt x="0" y="6"/>
                    </a:moveTo>
                    <a:cubicBezTo>
                      <a:pt x="5" y="3"/>
                      <a:pt x="14" y="5"/>
                      <a:pt x="17" y="0"/>
                    </a:cubicBezTo>
                    <a:cubicBezTo>
                      <a:pt x="12" y="2"/>
                      <a:pt x="0" y="2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9" name="任意多边形: 形状 878">
                <a:extLst>
                  <a:ext uri="{FF2B5EF4-FFF2-40B4-BE49-F238E27FC236}">
                    <a16:creationId xmlns:a16="http://schemas.microsoft.com/office/drawing/2014/main" id="{7C5E9A54-846C-4A70-A128-9A8F6095C6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40" y="2558"/>
                <a:ext cx="19" cy="15"/>
              </a:xfrm>
              <a:custGeom>
                <a:avLst/>
                <a:gdLst>
                  <a:gd name="T0" fmla="*/ 2 w 9"/>
                  <a:gd name="T1" fmla="*/ 7 h 7"/>
                  <a:gd name="T2" fmla="*/ 8 w 9"/>
                  <a:gd name="T3" fmla="*/ 0 h 7"/>
                  <a:gd name="T4" fmla="*/ 2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2" y="7"/>
                    </a:moveTo>
                    <a:cubicBezTo>
                      <a:pt x="4" y="2"/>
                      <a:pt x="9" y="5"/>
                      <a:pt x="8" y="0"/>
                    </a:cubicBezTo>
                    <a:cubicBezTo>
                      <a:pt x="6" y="2"/>
                      <a:pt x="0" y="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0" name="任意多边形: 形状 879">
                <a:extLst>
                  <a:ext uri="{FF2B5EF4-FFF2-40B4-BE49-F238E27FC236}">
                    <a16:creationId xmlns:a16="http://schemas.microsoft.com/office/drawing/2014/main" id="{1D2D5E83-DFF6-417D-A655-3F7F683FA2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65" y="2598"/>
                <a:ext cx="19" cy="12"/>
              </a:xfrm>
              <a:custGeom>
                <a:avLst/>
                <a:gdLst>
                  <a:gd name="T0" fmla="*/ 0 w 9"/>
                  <a:gd name="T1" fmla="*/ 6 h 6"/>
                  <a:gd name="T2" fmla="*/ 9 w 9"/>
                  <a:gd name="T3" fmla="*/ 1 h 6"/>
                  <a:gd name="T4" fmla="*/ 0 w 9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0" y="6"/>
                    </a:moveTo>
                    <a:cubicBezTo>
                      <a:pt x="2" y="4"/>
                      <a:pt x="8" y="4"/>
                      <a:pt x="9" y="1"/>
                    </a:cubicBezTo>
                    <a:cubicBezTo>
                      <a:pt x="4" y="4"/>
                      <a:pt x="1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1" name="任意多边形: 形状 880">
                <a:extLst>
                  <a:ext uri="{FF2B5EF4-FFF2-40B4-BE49-F238E27FC236}">
                    <a16:creationId xmlns:a16="http://schemas.microsoft.com/office/drawing/2014/main" id="{ABEEA175-2133-4EE7-9060-DBA329CDFD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59" y="2540"/>
                <a:ext cx="27" cy="18"/>
              </a:xfrm>
              <a:custGeom>
                <a:avLst/>
                <a:gdLst>
                  <a:gd name="T0" fmla="*/ 2 w 13"/>
                  <a:gd name="T1" fmla="*/ 9 h 9"/>
                  <a:gd name="T2" fmla="*/ 13 w 13"/>
                  <a:gd name="T3" fmla="*/ 0 h 9"/>
                  <a:gd name="T4" fmla="*/ 2 w 13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9">
                    <a:moveTo>
                      <a:pt x="2" y="9"/>
                    </a:moveTo>
                    <a:cubicBezTo>
                      <a:pt x="7" y="6"/>
                      <a:pt x="11" y="4"/>
                      <a:pt x="13" y="0"/>
                    </a:cubicBezTo>
                    <a:cubicBezTo>
                      <a:pt x="10" y="2"/>
                      <a:pt x="0" y="3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2" name="任意多边形: 形状 881">
                <a:extLst>
                  <a:ext uri="{FF2B5EF4-FFF2-40B4-BE49-F238E27FC236}">
                    <a16:creationId xmlns:a16="http://schemas.microsoft.com/office/drawing/2014/main" id="{C726586C-52FA-4DD4-AB4B-6955ED555DC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26" y="2577"/>
                <a:ext cx="37" cy="21"/>
              </a:xfrm>
              <a:custGeom>
                <a:avLst/>
                <a:gdLst>
                  <a:gd name="T0" fmla="*/ 0 w 18"/>
                  <a:gd name="T1" fmla="*/ 7 h 10"/>
                  <a:gd name="T2" fmla="*/ 17 w 18"/>
                  <a:gd name="T3" fmla="*/ 0 h 10"/>
                  <a:gd name="T4" fmla="*/ 0 w 18"/>
                  <a:gd name="T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0">
                    <a:moveTo>
                      <a:pt x="0" y="7"/>
                    </a:moveTo>
                    <a:cubicBezTo>
                      <a:pt x="5" y="3"/>
                      <a:pt x="18" y="10"/>
                      <a:pt x="17" y="0"/>
                    </a:cubicBezTo>
                    <a:cubicBezTo>
                      <a:pt x="14" y="3"/>
                      <a:pt x="3" y="2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3" name="任意多边形: 形状 882">
                <a:extLst>
                  <a:ext uri="{FF2B5EF4-FFF2-40B4-BE49-F238E27FC236}">
                    <a16:creationId xmlns:a16="http://schemas.microsoft.com/office/drawing/2014/main" id="{70D3C337-42A7-4488-B9D0-CCEC791AA1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07" y="3384"/>
                <a:ext cx="15" cy="13"/>
              </a:xfrm>
              <a:custGeom>
                <a:avLst/>
                <a:gdLst>
                  <a:gd name="T0" fmla="*/ 1 w 7"/>
                  <a:gd name="T1" fmla="*/ 2 h 6"/>
                  <a:gd name="T2" fmla="*/ 7 w 7"/>
                  <a:gd name="T3" fmla="*/ 3 h 6"/>
                  <a:gd name="T4" fmla="*/ 1 w 7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2"/>
                    </a:moveTo>
                    <a:cubicBezTo>
                      <a:pt x="3" y="2"/>
                      <a:pt x="5" y="6"/>
                      <a:pt x="7" y="3"/>
                    </a:cubicBezTo>
                    <a:cubicBezTo>
                      <a:pt x="6" y="1"/>
                      <a:pt x="0" y="0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4" name="任意多边形: 形状 883">
                <a:extLst>
                  <a:ext uri="{FF2B5EF4-FFF2-40B4-BE49-F238E27FC236}">
                    <a16:creationId xmlns:a16="http://schemas.microsoft.com/office/drawing/2014/main" id="{085A0C35-1893-4E72-AB49-26654F789A5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24" y="3382"/>
                <a:ext cx="25" cy="23"/>
              </a:xfrm>
              <a:custGeom>
                <a:avLst/>
                <a:gdLst>
                  <a:gd name="T0" fmla="*/ 1 w 12"/>
                  <a:gd name="T1" fmla="*/ 3 h 11"/>
                  <a:gd name="T2" fmla="*/ 5 w 12"/>
                  <a:gd name="T3" fmla="*/ 11 h 11"/>
                  <a:gd name="T4" fmla="*/ 12 w 12"/>
                  <a:gd name="T5" fmla="*/ 8 h 11"/>
                  <a:gd name="T6" fmla="*/ 1 w 12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1">
                    <a:moveTo>
                      <a:pt x="1" y="3"/>
                    </a:moveTo>
                    <a:cubicBezTo>
                      <a:pt x="2" y="6"/>
                      <a:pt x="0" y="11"/>
                      <a:pt x="5" y="11"/>
                    </a:cubicBezTo>
                    <a:cubicBezTo>
                      <a:pt x="1" y="3"/>
                      <a:pt x="10" y="10"/>
                      <a:pt x="12" y="8"/>
                    </a:cubicBezTo>
                    <a:cubicBezTo>
                      <a:pt x="9" y="0"/>
                      <a:pt x="4" y="9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5" name="任意多边形: 形状 884">
                <a:extLst>
                  <a:ext uri="{FF2B5EF4-FFF2-40B4-BE49-F238E27FC236}">
                    <a16:creationId xmlns:a16="http://schemas.microsoft.com/office/drawing/2014/main" id="{FB2277BB-0668-4564-A1BD-EA32D0BDCD7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867" y="2455"/>
                <a:ext cx="17" cy="14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3 h 7"/>
                  <a:gd name="T4" fmla="*/ 1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5" y="5"/>
                      <a:pt x="7" y="5"/>
                      <a:pt x="8" y="3"/>
                    </a:cubicBezTo>
                    <a:cubicBezTo>
                      <a:pt x="5" y="0"/>
                      <a:pt x="0" y="5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6" name="任意多边形: 形状 885">
                <a:extLst>
                  <a:ext uri="{FF2B5EF4-FFF2-40B4-BE49-F238E27FC236}">
                    <a16:creationId xmlns:a16="http://schemas.microsoft.com/office/drawing/2014/main" id="{F9320AAC-5B70-4FB6-B685-864EB6A8FF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954" y="2453"/>
                <a:ext cx="33" cy="27"/>
              </a:xfrm>
              <a:custGeom>
                <a:avLst/>
                <a:gdLst>
                  <a:gd name="T0" fmla="*/ 10 w 16"/>
                  <a:gd name="T1" fmla="*/ 0 h 13"/>
                  <a:gd name="T2" fmla="*/ 0 w 16"/>
                  <a:gd name="T3" fmla="*/ 13 h 13"/>
                  <a:gd name="T4" fmla="*/ 7 w 16"/>
                  <a:gd name="T5" fmla="*/ 13 h 13"/>
                  <a:gd name="T6" fmla="*/ 16 w 16"/>
                  <a:gd name="T7" fmla="*/ 8 h 13"/>
                  <a:gd name="T8" fmla="*/ 10 w 16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3">
                    <a:moveTo>
                      <a:pt x="10" y="0"/>
                    </a:moveTo>
                    <a:cubicBezTo>
                      <a:pt x="11" y="7"/>
                      <a:pt x="1" y="7"/>
                      <a:pt x="0" y="13"/>
                    </a:cubicBezTo>
                    <a:cubicBezTo>
                      <a:pt x="2" y="11"/>
                      <a:pt x="4" y="10"/>
                      <a:pt x="7" y="13"/>
                    </a:cubicBezTo>
                    <a:cubicBezTo>
                      <a:pt x="11" y="10"/>
                      <a:pt x="11" y="8"/>
                      <a:pt x="16" y="8"/>
                    </a:cubicBezTo>
                    <a:cubicBezTo>
                      <a:pt x="14" y="3"/>
                      <a:pt x="14" y="2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7" name="任意多边形: 形状 886">
                <a:extLst>
                  <a:ext uri="{FF2B5EF4-FFF2-40B4-BE49-F238E27FC236}">
                    <a16:creationId xmlns:a16="http://schemas.microsoft.com/office/drawing/2014/main" id="{BDEED600-7355-4287-959B-E72EB6C7AA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31" y="2766"/>
                <a:ext cx="14" cy="10"/>
              </a:xfrm>
              <a:custGeom>
                <a:avLst/>
                <a:gdLst>
                  <a:gd name="T0" fmla="*/ 0 w 7"/>
                  <a:gd name="T1" fmla="*/ 1 h 5"/>
                  <a:gd name="T2" fmla="*/ 7 w 7"/>
                  <a:gd name="T3" fmla="*/ 4 h 5"/>
                  <a:gd name="T4" fmla="*/ 0 w 7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1"/>
                    </a:moveTo>
                    <a:cubicBezTo>
                      <a:pt x="2" y="5"/>
                      <a:pt x="4" y="3"/>
                      <a:pt x="7" y="4"/>
                    </a:cubicBezTo>
                    <a:cubicBezTo>
                      <a:pt x="4" y="1"/>
                      <a:pt x="2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8" name="任意多边形: 形状 887">
                <a:extLst>
                  <a:ext uri="{FF2B5EF4-FFF2-40B4-BE49-F238E27FC236}">
                    <a16:creationId xmlns:a16="http://schemas.microsoft.com/office/drawing/2014/main" id="{08917CEF-9235-4014-B334-1E4D8B9DAD8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29" y="2438"/>
                <a:ext cx="12" cy="13"/>
              </a:xfrm>
              <a:custGeom>
                <a:avLst/>
                <a:gdLst>
                  <a:gd name="T0" fmla="*/ 0 w 6"/>
                  <a:gd name="T1" fmla="*/ 0 h 6"/>
                  <a:gd name="T2" fmla="*/ 1 w 6"/>
                  <a:gd name="T3" fmla="*/ 5 h 6"/>
                  <a:gd name="T4" fmla="*/ 6 w 6"/>
                  <a:gd name="T5" fmla="*/ 4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0" y="2"/>
                      <a:pt x="0" y="3"/>
                      <a:pt x="1" y="5"/>
                    </a:cubicBezTo>
                    <a:cubicBezTo>
                      <a:pt x="3" y="6"/>
                      <a:pt x="4" y="6"/>
                      <a:pt x="6" y="4"/>
                    </a:cubicBezTo>
                    <a:cubicBezTo>
                      <a:pt x="4" y="1"/>
                      <a:pt x="1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89" name="任意多边形: 形状 888">
                <a:extLst>
                  <a:ext uri="{FF2B5EF4-FFF2-40B4-BE49-F238E27FC236}">
                    <a16:creationId xmlns:a16="http://schemas.microsoft.com/office/drawing/2014/main" id="{DDC70748-25E5-4784-ACA3-156CFA7957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37" y="2430"/>
                <a:ext cx="23" cy="16"/>
              </a:xfrm>
              <a:custGeom>
                <a:avLst/>
                <a:gdLst>
                  <a:gd name="T0" fmla="*/ 2 w 11"/>
                  <a:gd name="T1" fmla="*/ 8 h 8"/>
                  <a:gd name="T2" fmla="*/ 8 w 11"/>
                  <a:gd name="T3" fmla="*/ 0 h 8"/>
                  <a:gd name="T4" fmla="*/ 2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2" y="8"/>
                    </a:moveTo>
                    <a:cubicBezTo>
                      <a:pt x="4" y="6"/>
                      <a:pt x="11" y="7"/>
                      <a:pt x="8" y="0"/>
                    </a:cubicBezTo>
                    <a:cubicBezTo>
                      <a:pt x="6" y="2"/>
                      <a:pt x="0" y="3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0" name="任意多边形: 形状 889">
                <a:extLst>
                  <a:ext uri="{FF2B5EF4-FFF2-40B4-BE49-F238E27FC236}">
                    <a16:creationId xmlns:a16="http://schemas.microsoft.com/office/drawing/2014/main" id="{625EF40A-DE07-4880-95F1-48AD0D22AF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30" y="2737"/>
                <a:ext cx="27" cy="19"/>
              </a:xfrm>
              <a:custGeom>
                <a:avLst/>
                <a:gdLst>
                  <a:gd name="T0" fmla="*/ 0 w 13"/>
                  <a:gd name="T1" fmla="*/ 9 h 9"/>
                  <a:gd name="T2" fmla="*/ 8 w 13"/>
                  <a:gd name="T3" fmla="*/ 0 h 9"/>
                  <a:gd name="T4" fmla="*/ 0 w 13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9">
                    <a:moveTo>
                      <a:pt x="0" y="9"/>
                    </a:moveTo>
                    <a:cubicBezTo>
                      <a:pt x="3" y="5"/>
                      <a:pt x="13" y="9"/>
                      <a:pt x="8" y="0"/>
                    </a:cubicBezTo>
                    <a:cubicBezTo>
                      <a:pt x="3" y="3"/>
                      <a:pt x="0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1" name="任意多边形: 形状 890">
                <a:extLst>
                  <a:ext uri="{FF2B5EF4-FFF2-40B4-BE49-F238E27FC236}">
                    <a16:creationId xmlns:a16="http://schemas.microsoft.com/office/drawing/2014/main" id="{A40D8C12-2A83-4640-BCCC-57BA0692158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80" y="2807"/>
                <a:ext cx="15" cy="11"/>
              </a:xfrm>
              <a:custGeom>
                <a:avLst/>
                <a:gdLst>
                  <a:gd name="T0" fmla="*/ 1 w 7"/>
                  <a:gd name="T1" fmla="*/ 4 h 5"/>
                  <a:gd name="T2" fmla="*/ 7 w 7"/>
                  <a:gd name="T3" fmla="*/ 1 h 5"/>
                  <a:gd name="T4" fmla="*/ 1 w 7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1" y="4"/>
                    </a:moveTo>
                    <a:cubicBezTo>
                      <a:pt x="2" y="5"/>
                      <a:pt x="7" y="3"/>
                      <a:pt x="7" y="1"/>
                    </a:cubicBezTo>
                    <a:cubicBezTo>
                      <a:pt x="5" y="3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2" name="任意多边形: 形状 891">
                <a:extLst>
                  <a:ext uri="{FF2B5EF4-FFF2-40B4-BE49-F238E27FC236}">
                    <a16:creationId xmlns:a16="http://schemas.microsoft.com/office/drawing/2014/main" id="{91F32658-24D2-4A40-A3C6-5993FF9A3F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95" y="2326"/>
                <a:ext cx="13" cy="15"/>
              </a:xfrm>
              <a:custGeom>
                <a:avLst/>
                <a:gdLst>
                  <a:gd name="T0" fmla="*/ 2 w 6"/>
                  <a:gd name="T1" fmla="*/ 7 h 7"/>
                  <a:gd name="T2" fmla="*/ 6 w 6"/>
                  <a:gd name="T3" fmla="*/ 6 h 7"/>
                  <a:gd name="T4" fmla="*/ 2 w 6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7"/>
                    </a:moveTo>
                    <a:cubicBezTo>
                      <a:pt x="4" y="6"/>
                      <a:pt x="5" y="6"/>
                      <a:pt x="6" y="6"/>
                    </a:cubicBezTo>
                    <a:cubicBezTo>
                      <a:pt x="5" y="0"/>
                      <a:pt x="0" y="4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3" name="任意多边形: 形状 892">
                <a:extLst>
                  <a:ext uri="{FF2B5EF4-FFF2-40B4-BE49-F238E27FC236}">
                    <a16:creationId xmlns:a16="http://schemas.microsoft.com/office/drawing/2014/main" id="{53D67691-41E6-4307-9DB7-F16D11B23E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4" y="2376"/>
                <a:ext cx="10" cy="12"/>
              </a:xfrm>
              <a:custGeom>
                <a:avLst/>
                <a:gdLst>
                  <a:gd name="T0" fmla="*/ 4 w 5"/>
                  <a:gd name="T1" fmla="*/ 2 h 6"/>
                  <a:gd name="T2" fmla="*/ 0 w 5"/>
                  <a:gd name="T3" fmla="*/ 6 h 6"/>
                  <a:gd name="T4" fmla="*/ 4 w 5"/>
                  <a:gd name="T5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2"/>
                    </a:moveTo>
                    <a:cubicBezTo>
                      <a:pt x="2" y="0"/>
                      <a:pt x="0" y="3"/>
                      <a:pt x="0" y="6"/>
                    </a:cubicBezTo>
                    <a:cubicBezTo>
                      <a:pt x="1" y="4"/>
                      <a:pt x="5" y="4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4" name="任意多边形: 形状 893">
                <a:extLst>
                  <a:ext uri="{FF2B5EF4-FFF2-40B4-BE49-F238E27FC236}">
                    <a16:creationId xmlns:a16="http://schemas.microsoft.com/office/drawing/2014/main" id="{643B5732-EE75-437B-AC85-8C3E538998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53" y="2685"/>
                <a:ext cx="12" cy="19"/>
              </a:xfrm>
              <a:custGeom>
                <a:avLst/>
                <a:gdLst>
                  <a:gd name="T0" fmla="*/ 3 w 6"/>
                  <a:gd name="T1" fmla="*/ 9 h 9"/>
                  <a:gd name="T2" fmla="*/ 5 w 6"/>
                  <a:gd name="T3" fmla="*/ 6 h 9"/>
                  <a:gd name="T4" fmla="*/ 3 w 6"/>
                  <a:gd name="T5" fmla="*/ 0 h 9"/>
                  <a:gd name="T6" fmla="*/ 1 w 6"/>
                  <a:gd name="T7" fmla="*/ 7 h 9"/>
                  <a:gd name="T8" fmla="*/ 3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3" y="9"/>
                    </a:moveTo>
                    <a:cubicBezTo>
                      <a:pt x="4" y="8"/>
                      <a:pt x="6" y="7"/>
                      <a:pt x="5" y="6"/>
                    </a:cubicBezTo>
                    <a:cubicBezTo>
                      <a:pt x="0" y="8"/>
                      <a:pt x="6" y="3"/>
                      <a:pt x="3" y="0"/>
                    </a:cubicBezTo>
                    <a:cubicBezTo>
                      <a:pt x="1" y="2"/>
                      <a:pt x="1" y="4"/>
                      <a:pt x="1" y="7"/>
                    </a:cubicBezTo>
                    <a:cubicBezTo>
                      <a:pt x="2" y="7"/>
                      <a:pt x="2" y="7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5" name="任意多边形: 形状 894">
                <a:extLst>
                  <a:ext uri="{FF2B5EF4-FFF2-40B4-BE49-F238E27FC236}">
                    <a16:creationId xmlns:a16="http://schemas.microsoft.com/office/drawing/2014/main" id="{2F82CCAB-06BD-4088-B51C-A637ADB5E4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54" y="2301"/>
                <a:ext cx="16" cy="15"/>
              </a:xfrm>
              <a:custGeom>
                <a:avLst/>
                <a:gdLst>
                  <a:gd name="T0" fmla="*/ 3 w 8"/>
                  <a:gd name="T1" fmla="*/ 3 h 7"/>
                  <a:gd name="T2" fmla="*/ 7 w 8"/>
                  <a:gd name="T3" fmla="*/ 6 h 7"/>
                  <a:gd name="T4" fmla="*/ 8 w 8"/>
                  <a:gd name="T5" fmla="*/ 4 h 7"/>
                  <a:gd name="T6" fmla="*/ 2 w 8"/>
                  <a:gd name="T7" fmla="*/ 2 h 7"/>
                  <a:gd name="T8" fmla="*/ 0 w 8"/>
                  <a:gd name="T9" fmla="*/ 7 h 7"/>
                  <a:gd name="T10" fmla="*/ 3 w 8"/>
                  <a:gd name="T11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7">
                    <a:moveTo>
                      <a:pt x="3" y="3"/>
                    </a:moveTo>
                    <a:cubicBezTo>
                      <a:pt x="4" y="5"/>
                      <a:pt x="5" y="7"/>
                      <a:pt x="7" y="6"/>
                    </a:cubicBezTo>
                    <a:cubicBezTo>
                      <a:pt x="6" y="5"/>
                      <a:pt x="7" y="4"/>
                      <a:pt x="8" y="4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1" y="3"/>
                      <a:pt x="0" y="5"/>
                      <a:pt x="0" y="7"/>
                    </a:cubicBezTo>
                    <a:cubicBezTo>
                      <a:pt x="3" y="7"/>
                      <a:pt x="2" y="4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6" name="任意多边形: 形状 895">
                <a:extLst>
                  <a:ext uri="{FF2B5EF4-FFF2-40B4-BE49-F238E27FC236}">
                    <a16:creationId xmlns:a16="http://schemas.microsoft.com/office/drawing/2014/main" id="{8820B379-7DEE-4F6B-92FB-04BB3BD63A4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66" y="2251"/>
                <a:ext cx="156" cy="56"/>
              </a:xfrm>
              <a:custGeom>
                <a:avLst/>
                <a:gdLst>
                  <a:gd name="T0" fmla="*/ 30 w 75"/>
                  <a:gd name="T1" fmla="*/ 16 h 27"/>
                  <a:gd name="T2" fmla="*/ 42 w 75"/>
                  <a:gd name="T3" fmla="*/ 12 h 27"/>
                  <a:gd name="T4" fmla="*/ 38 w 75"/>
                  <a:gd name="T5" fmla="*/ 13 h 27"/>
                  <a:gd name="T6" fmla="*/ 47 w 75"/>
                  <a:gd name="T7" fmla="*/ 12 h 27"/>
                  <a:gd name="T8" fmla="*/ 44 w 75"/>
                  <a:gd name="T9" fmla="*/ 16 h 27"/>
                  <a:gd name="T10" fmla="*/ 49 w 75"/>
                  <a:gd name="T11" fmla="*/ 17 h 27"/>
                  <a:gd name="T12" fmla="*/ 55 w 75"/>
                  <a:gd name="T13" fmla="*/ 14 h 27"/>
                  <a:gd name="T14" fmla="*/ 53 w 75"/>
                  <a:gd name="T15" fmla="*/ 9 h 27"/>
                  <a:gd name="T16" fmla="*/ 46 w 75"/>
                  <a:gd name="T17" fmla="*/ 8 h 27"/>
                  <a:gd name="T18" fmla="*/ 56 w 75"/>
                  <a:gd name="T19" fmla="*/ 7 h 27"/>
                  <a:gd name="T20" fmla="*/ 57 w 75"/>
                  <a:gd name="T21" fmla="*/ 12 h 27"/>
                  <a:gd name="T22" fmla="*/ 59 w 75"/>
                  <a:gd name="T23" fmla="*/ 7 h 27"/>
                  <a:gd name="T24" fmla="*/ 63 w 75"/>
                  <a:gd name="T25" fmla="*/ 10 h 27"/>
                  <a:gd name="T26" fmla="*/ 66 w 75"/>
                  <a:gd name="T27" fmla="*/ 6 h 27"/>
                  <a:gd name="T28" fmla="*/ 73 w 75"/>
                  <a:gd name="T29" fmla="*/ 0 h 27"/>
                  <a:gd name="T30" fmla="*/ 67 w 75"/>
                  <a:gd name="T31" fmla="*/ 5 h 27"/>
                  <a:gd name="T32" fmla="*/ 24 w 75"/>
                  <a:gd name="T33" fmla="*/ 18 h 27"/>
                  <a:gd name="T34" fmla="*/ 17 w 75"/>
                  <a:gd name="T35" fmla="*/ 16 h 27"/>
                  <a:gd name="T36" fmla="*/ 4 w 75"/>
                  <a:gd name="T37" fmla="*/ 27 h 27"/>
                  <a:gd name="T38" fmla="*/ 30 w 75"/>
                  <a:gd name="T39" fmla="*/ 16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75" h="27">
                    <a:moveTo>
                      <a:pt x="30" y="16"/>
                    </a:moveTo>
                    <a:cubicBezTo>
                      <a:pt x="35" y="14"/>
                      <a:pt x="38" y="9"/>
                      <a:pt x="42" y="12"/>
                    </a:cubicBezTo>
                    <a:cubicBezTo>
                      <a:pt x="41" y="12"/>
                      <a:pt x="40" y="11"/>
                      <a:pt x="38" y="13"/>
                    </a:cubicBezTo>
                    <a:cubicBezTo>
                      <a:pt x="43" y="20"/>
                      <a:pt x="44" y="10"/>
                      <a:pt x="47" y="12"/>
                    </a:cubicBezTo>
                    <a:cubicBezTo>
                      <a:pt x="45" y="14"/>
                      <a:pt x="48" y="16"/>
                      <a:pt x="44" y="16"/>
                    </a:cubicBezTo>
                    <a:cubicBezTo>
                      <a:pt x="45" y="19"/>
                      <a:pt x="47" y="18"/>
                      <a:pt x="49" y="17"/>
                    </a:cubicBezTo>
                    <a:cubicBezTo>
                      <a:pt x="49" y="15"/>
                      <a:pt x="53" y="12"/>
                      <a:pt x="55" y="14"/>
                    </a:cubicBezTo>
                    <a:cubicBezTo>
                      <a:pt x="55" y="11"/>
                      <a:pt x="54" y="12"/>
                      <a:pt x="53" y="9"/>
                    </a:cubicBezTo>
                    <a:cubicBezTo>
                      <a:pt x="51" y="11"/>
                      <a:pt x="45" y="13"/>
                      <a:pt x="46" y="8"/>
                    </a:cubicBezTo>
                    <a:cubicBezTo>
                      <a:pt x="51" y="13"/>
                      <a:pt x="53" y="5"/>
                      <a:pt x="56" y="7"/>
                    </a:cubicBezTo>
                    <a:cubicBezTo>
                      <a:pt x="56" y="8"/>
                      <a:pt x="56" y="10"/>
                      <a:pt x="57" y="12"/>
                    </a:cubicBezTo>
                    <a:cubicBezTo>
                      <a:pt x="60" y="10"/>
                      <a:pt x="60" y="11"/>
                      <a:pt x="59" y="7"/>
                    </a:cubicBezTo>
                    <a:cubicBezTo>
                      <a:pt x="62" y="7"/>
                      <a:pt x="60" y="13"/>
                      <a:pt x="63" y="10"/>
                    </a:cubicBezTo>
                    <a:cubicBezTo>
                      <a:pt x="66" y="9"/>
                      <a:pt x="61" y="7"/>
                      <a:pt x="66" y="6"/>
                    </a:cubicBezTo>
                    <a:cubicBezTo>
                      <a:pt x="66" y="10"/>
                      <a:pt x="75" y="5"/>
                      <a:pt x="73" y="0"/>
                    </a:cubicBezTo>
                    <a:cubicBezTo>
                      <a:pt x="70" y="2"/>
                      <a:pt x="68" y="1"/>
                      <a:pt x="67" y="5"/>
                    </a:cubicBezTo>
                    <a:cubicBezTo>
                      <a:pt x="52" y="1"/>
                      <a:pt x="35" y="7"/>
                      <a:pt x="24" y="18"/>
                    </a:cubicBezTo>
                    <a:cubicBezTo>
                      <a:pt x="22" y="16"/>
                      <a:pt x="19" y="17"/>
                      <a:pt x="17" y="16"/>
                    </a:cubicBezTo>
                    <a:cubicBezTo>
                      <a:pt x="14" y="22"/>
                      <a:pt x="0" y="19"/>
                      <a:pt x="4" y="27"/>
                    </a:cubicBezTo>
                    <a:cubicBezTo>
                      <a:pt x="9" y="22"/>
                      <a:pt x="22" y="20"/>
                      <a:pt x="30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7" name="任意多边形: 形状 896">
                <a:extLst>
                  <a:ext uri="{FF2B5EF4-FFF2-40B4-BE49-F238E27FC236}">
                    <a16:creationId xmlns:a16="http://schemas.microsoft.com/office/drawing/2014/main" id="{946B610A-1AB3-4E0A-BE7D-1EC81EBEE666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1432" y="2617"/>
                <a:ext cx="133" cy="60"/>
              </a:xfrm>
              <a:custGeom>
                <a:avLst/>
                <a:gdLst>
                  <a:gd name="T0" fmla="*/ 15 w 64"/>
                  <a:gd name="T1" fmla="*/ 21 h 29"/>
                  <a:gd name="T2" fmla="*/ 9 w 64"/>
                  <a:gd name="T3" fmla="*/ 16 h 29"/>
                  <a:gd name="T4" fmla="*/ 0 w 64"/>
                  <a:gd name="T5" fmla="*/ 23 h 29"/>
                  <a:gd name="T6" fmla="*/ 3 w 64"/>
                  <a:gd name="T7" fmla="*/ 22 h 29"/>
                  <a:gd name="T8" fmla="*/ 4 w 64"/>
                  <a:gd name="T9" fmla="*/ 24 h 29"/>
                  <a:gd name="T10" fmla="*/ 4 w 64"/>
                  <a:gd name="T11" fmla="*/ 27 h 29"/>
                  <a:gd name="T12" fmla="*/ 5 w 64"/>
                  <a:gd name="T13" fmla="*/ 26 h 29"/>
                  <a:gd name="T14" fmla="*/ 7 w 64"/>
                  <a:gd name="T15" fmla="*/ 29 h 29"/>
                  <a:gd name="T16" fmla="*/ 8 w 64"/>
                  <a:gd name="T17" fmla="*/ 20 h 29"/>
                  <a:gd name="T18" fmla="*/ 14 w 64"/>
                  <a:gd name="T19" fmla="*/ 25 h 29"/>
                  <a:gd name="T20" fmla="*/ 21 w 64"/>
                  <a:gd name="T21" fmla="*/ 23 h 29"/>
                  <a:gd name="T22" fmla="*/ 27 w 64"/>
                  <a:gd name="T23" fmla="*/ 15 h 29"/>
                  <a:gd name="T24" fmla="*/ 29 w 64"/>
                  <a:gd name="T25" fmla="*/ 18 h 29"/>
                  <a:gd name="T26" fmla="*/ 37 w 64"/>
                  <a:gd name="T27" fmla="*/ 15 h 29"/>
                  <a:gd name="T28" fmla="*/ 37 w 64"/>
                  <a:gd name="T29" fmla="*/ 10 h 29"/>
                  <a:gd name="T30" fmla="*/ 64 w 64"/>
                  <a:gd name="T31" fmla="*/ 5 h 29"/>
                  <a:gd name="T32" fmla="*/ 63 w 64"/>
                  <a:gd name="T33" fmla="*/ 3 h 29"/>
                  <a:gd name="T34" fmla="*/ 61 w 64"/>
                  <a:gd name="T35" fmla="*/ 1 h 29"/>
                  <a:gd name="T36" fmla="*/ 15 w 64"/>
                  <a:gd name="T37" fmla="*/ 14 h 29"/>
                  <a:gd name="T38" fmla="*/ 15 w 64"/>
                  <a:gd name="T39" fmla="*/ 21 h 29"/>
                  <a:gd name="T40" fmla="*/ 6 w 64"/>
                  <a:gd name="T41" fmla="*/ 21 h 29"/>
                  <a:gd name="T42" fmla="*/ 6 w 64"/>
                  <a:gd name="T43" fmla="*/ 19 h 29"/>
                  <a:gd name="T44" fmla="*/ 7 w 64"/>
                  <a:gd name="T45" fmla="*/ 20 h 29"/>
                  <a:gd name="T46" fmla="*/ 6 w 64"/>
                  <a:gd name="T47" fmla="*/ 21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64" h="29">
                    <a:moveTo>
                      <a:pt x="15" y="21"/>
                    </a:moveTo>
                    <a:cubicBezTo>
                      <a:pt x="14" y="14"/>
                      <a:pt x="8" y="24"/>
                      <a:pt x="9" y="16"/>
                    </a:cubicBezTo>
                    <a:cubicBezTo>
                      <a:pt x="5" y="17"/>
                      <a:pt x="1" y="19"/>
                      <a:pt x="0" y="23"/>
                    </a:cubicBezTo>
                    <a:cubicBezTo>
                      <a:pt x="2" y="21"/>
                      <a:pt x="2" y="21"/>
                      <a:pt x="3" y="22"/>
                    </a:cubicBezTo>
                    <a:cubicBezTo>
                      <a:pt x="3" y="23"/>
                      <a:pt x="3" y="24"/>
                      <a:pt x="4" y="24"/>
                    </a:cubicBezTo>
                    <a:cubicBezTo>
                      <a:pt x="4" y="25"/>
                      <a:pt x="4" y="26"/>
                      <a:pt x="4" y="27"/>
                    </a:cubicBezTo>
                    <a:cubicBezTo>
                      <a:pt x="4" y="26"/>
                      <a:pt x="4" y="26"/>
                      <a:pt x="5" y="26"/>
                    </a:cubicBezTo>
                    <a:cubicBezTo>
                      <a:pt x="5" y="27"/>
                      <a:pt x="6" y="28"/>
                      <a:pt x="7" y="29"/>
                    </a:cubicBezTo>
                    <a:cubicBezTo>
                      <a:pt x="10" y="27"/>
                      <a:pt x="9" y="24"/>
                      <a:pt x="8" y="20"/>
                    </a:cubicBezTo>
                    <a:cubicBezTo>
                      <a:pt x="10" y="21"/>
                      <a:pt x="11" y="23"/>
                      <a:pt x="14" y="25"/>
                    </a:cubicBezTo>
                    <a:cubicBezTo>
                      <a:pt x="16" y="21"/>
                      <a:pt x="18" y="23"/>
                      <a:pt x="21" y="23"/>
                    </a:cubicBezTo>
                    <a:cubicBezTo>
                      <a:pt x="18" y="16"/>
                      <a:pt x="26" y="19"/>
                      <a:pt x="27" y="15"/>
                    </a:cubicBezTo>
                    <a:cubicBezTo>
                      <a:pt x="27" y="16"/>
                      <a:pt x="28" y="16"/>
                      <a:pt x="29" y="18"/>
                    </a:cubicBezTo>
                    <a:cubicBezTo>
                      <a:pt x="31" y="15"/>
                      <a:pt x="34" y="15"/>
                      <a:pt x="37" y="15"/>
                    </a:cubicBezTo>
                    <a:cubicBezTo>
                      <a:pt x="37" y="13"/>
                      <a:pt x="37" y="12"/>
                      <a:pt x="37" y="10"/>
                    </a:cubicBezTo>
                    <a:cubicBezTo>
                      <a:pt x="49" y="12"/>
                      <a:pt x="56" y="4"/>
                      <a:pt x="64" y="5"/>
                    </a:cubicBezTo>
                    <a:cubicBezTo>
                      <a:pt x="63" y="3"/>
                      <a:pt x="63" y="3"/>
                      <a:pt x="63" y="3"/>
                    </a:cubicBezTo>
                    <a:cubicBezTo>
                      <a:pt x="62" y="2"/>
                      <a:pt x="62" y="0"/>
                      <a:pt x="61" y="1"/>
                    </a:cubicBezTo>
                    <a:cubicBezTo>
                      <a:pt x="45" y="5"/>
                      <a:pt x="33" y="5"/>
                      <a:pt x="15" y="14"/>
                    </a:cubicBezTo>
                    <a:cubicBezTo>
                      <a:pt x="15" y="16"/>
                      <a:pt x="17" y="19"/>
                      <a:pt x="15" y="21"/>
                    </a:cubicBezTo>
                    <a:close/>
                    <a:moveTo>
                      <a:pt x="6" y="21"/>
                    </a:moveTo>
                    <a:cubicBezTo>
                      <a:pt x="6" y="20"/>
                      <a:pt x="6" y="20"/>
                      <a:pt x="6" y="19"/>
                    </a:cubicBezTo>
                    <a:cubicBezTo>
                      <a:pt x="6" y="19"/>
                      <a:pt x="7" y="20"/>
                      <a:pt x="7" y="20"/>
                    </a:cubicBezTo>
                    <a:cubicBezTo>
                      <a:pt x="7" y="20"/>
                      <a:pt x="6" y="20"/>
                      <a:pt x="6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8" name="任意多边形: 形状 897">
                <a:extLst>
                  <a:ext uri="{FF2B5EF4-FFF2-40B4-BE49-F238E27FC236}">
                    <a16:creationId xmlns:a16="http://schemas.microsoft.com/office/drawing/2014/main" id="{0E8F7F01-C871-4B34-B624-7BE5D98BF1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65" y="2675"/>
                <a:ext cx="13" cy="14"/>
              </a:xfrm>
              <a:custGeom>
                <a:avLst/>
                <a:gdLst>
                  <a:gd name="T0" fmla="*/ 0 w 6"/>
                  <a:gd name="T1" fmla="*/ 3 h 7"/>
                  <a:gd name="T2" fmla="*/ 2 w 6"/>
                  <a:gd name="T3" fmla="*/ 7 h 7"/>
                  <a:gd name="T4" fmla="*/ 6 w 6"/>
                  <a:gd name="T5" fmla="*/ 4 h 7"/>
                  <a:gd name="T6" fmla="*/ 1 w 6"/>
                  <a:gd name="T7" fmla="*/ 1 h 7"/>
                  <a:gd name="T8" fmla="*/ 0 w 6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7">
                    <a:moveTo>
                      <a:pt x="0" y="3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4" y="4"/>
                      <a:pt x="4" y="4"/>
                      <a:pt x="6" y="4"/>
                    </a:cubicBezTo>
                    <a:cubicBezTo>
                      <a:pt x="5" y="1"/>
                      <a:pt x="3" y="0"/>
                      <a:pt x="1" y="1"/>
                    </a:cubicBezTo>
                    <a:cubicBezTo>
                      <a:pt x="2" y="3"/>
                      <a:pt x="2" y="4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99" name="任意多边形: 形状 898">
                <a:extLst>
                  <a:ext uri="{FF2B5EF4-FFF2-40B4-BE49-F238E27FC236}">
                    <a16:creationId xmlns:a16="http://schemas.microsoft.com/office/drawing/2014/main" id="{B9E2DE17-4F52-46F1-9652-BBE98980A3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98" y="2658"/>
                <a:ext cx="19" cy="15"/>
              </a:xfrm>
              <a:custGeom>
                <a:avLst/>
                <a:gdLst>
                  <a:gd name="T0" fmla="*/ 7 w 9"/>
                  <a:gd name="T1" fmla="*/ 0 h 7"/>
                  <a:gd name="T2" fmla="*/ 0 w 9"/>
                  <a:gd name="T3" fmla="*/ 2 h 7"/>
                  <a:gd name="T4" fmla="*/ 7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7" y="0"/>
                    </a:moveTo>
                    <a:cubicBezTo>
                      <a:pt x="5" y="2"/>
                      <a:pt x="3" y="0"/>
                      <a:pt x="0" y="2"/>
                    </a:cubicBezTo>
                    <a:cubicBezTo>
                      <a:pt x="2" y="7"/>
                      <a:pt x="9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0" name="任意多边形: 形状 899">
                <a:extLst>
                  <a:ext uri="{FF2B5EF4-FFF2-40B4-BE49-F238E27FC236}">
                    <a16:creationId xmlns:a16="http://schemas.microsoft.com/office/drawing/2014/main" id="{2C27CF88-1617-4543-B73C-9BAC94E808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61" y="2608"/>
                <a:ext cx="23" cy="15"/>
              </a:xfrm>
              <a:custGeom>
                <a:avLst/>
                <a:gdLst>
                  <a:gd name="T0" fmla="*/ 10 w 11"/>
                  <a:gd name="T1" fmla="*/ 7 h 7"/>
                  <a:gd name="T2" fmla="*/ 2 w 11"/>
                  <a:gd name="T3" fmla="*/ 5 h 7"/>
                  <a:gd name="T4" fmla="*/ 10 w 1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10" y="7"/>
                    </a:moveTo>
                    <a:cubicBezTo>
                      <a:pt x="11" y="2"/>
                      <a:pt x="0" y="0"/>
                      <a:pt x="2" y="5"/>
                    </a:cubicBezTo>
                    <a:cubicBezTo>
                      <a:pt x="5" y="3"/>
                      <a:pt x="8" y="5"/>
                      <a:pt x="1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1" name="任意多边形: 形状 900">
                <a:extLst>
                  <a:ext uri="{FF2B5EF4-FFF2-40B4-BE49-F238E27FC236}">
                    <a16:creationId xmlns:a16="http://schemas.microsoft.com/office/drawing/2014/main" id="{98FCABA8-AC9F-4CC8-B0EA-80D64D9298F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23" y="2536"/>
                <a:ext cx="17" cy="10"/>
              </a:xfrm>
              <a:custGeom>
                <a:avLst/>
                <a:gdLst>
                  <a:gd name="T0" fmla="*/ 8 w 8"/>
                  <a:gd name="T1" fmla="*/ 1 h 5"/>
                  <a:gd name="T2" fmla="*/ 0 w 8"/>
                  <a:gd name="T3" fmla="*/ 5 h 5"/>
                  <a:gd name="T4" fmla="*/ 8 w 8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6" y="4"/>
                      <a:pt x="1" y="0"/>
                      <a:pt x="0" y="5"/>
                    </a:cubicBezTo>
                    <a:cubicBezTo>
                      <a:pt x="3" y="3"/>
                      <a:pt x="8" y="5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2" name="任意多边形: 形状 901">
                <a:extLst>
                  <a:ext uri="{FF2B5EF4-FFF2-40B4-BE49-F238E27FC236}">
                    <a16:creationId xmlns:a16="http://schemas.microsoft.com/office/drawing/2014/main" id="{EE8239FA-F131-41F9-8578-DD24C52302D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33" y="1996"/>
                <a:ext cx="16" cy="10"/>
              </a:xfrm>
              <a:custGeom>
                <a:avLst/>
                <a:gdLst>
                  <a:gd name="T0" fmla="*/ 6 w 8"/>
                  <a:gd name="T1" fmla="*/ 1 h 5"/>
                  <a:gd name="T2" fmla="*/ 0 w 8"/>
                  <a:gd name="T3" fmla="*/ 2 h 5"/>
                  <a:gd name="T4" fmla="*/ 2 w 8"/>
                  <a:gd name="T5" fmla="*/ 5 h 5"/>
                  <a:gd name="T6" fmla="*/ 6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6" y="1"/>
                    </a:moveTo>
                    <a:cubicBezTo>
                      <a:pt x="4" y="2"/>
                      <a:pt x="2" y="0"/>
                      <a:pt x="0" y="2"/>
                    </a:cubicBezTo>
                    <a:cubicBezTo>
                      <a:pt x="2" y="5"/>
                      <a:pt x="2" y="5"/>
                      <a:pt x="2" y="5"/>
                    </a:cubicBezTo>
                    <a:cubicBezTo>
                      <a:pt x="4" y="5"/>
                      <a:pt x="8" y="5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3" name="任意多边形: 形状 902">
                <a:extLst>
                  <a:ext uri="{FF2B5EF4-FFF2-40B4-BE49-F238E27FC236}">
                    <a16:creationId xmlns:a16="http://schemas.microsoft.com/office/drawing/2014/main" id="{08B0C603-5A07-4349-A98E-91A62EF2CF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75" y="2581"/>
                <a:ext cx="15" cy="11"/>
              </a:xfrm>
              <a:custGeom>
                <a:avLst/>
                <a:gdLst>
                  <a:gd name="T0" fmla="*/ 4 w 7"/>
                  <a:gd name="T1" fmla="*/ 0 h 5"/>
                  <a:gd name="T2" fmla="*/ 1 w 7"/>
                  <a:gd name="T3" fmla="*/ 5 h 5"/>
                  <a:gd name="T4" fmla="*/ 4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4" y="0"/>
                    </a:moveTo>
                    <a:cubicBezTo>
                      <a:pt x="2" y="1"/>
                      <a:pt x="0" y="3"/>
                      <a:pt x="1" y="5"/>
                    </a:cubicBezTo>
                    <a:cubicBezTo>
                      <a:pt x="2" y="4"/>
                      <a:pt x="7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4" name="任意多边形: 形状 903">
                <a:extLst>
                  <a:ext uri="{FF2B5EF4-FFF2-40B4-BE49-F238E27FC236}">
                    <a16:creationId xmlns:a16="http://schemas.microsoft.com/office/drawing/2014/main" id="{51720346-FF58-4651-AB66-16D91E55FA5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9" y="2575"/>
                <a:ext cx="21" cy="29"/>
              </a:xfrm>
              <a:custGeom>
                <a:avLst/>
                <a:gdLst>
                  <a:gd name="T0" fmla="*/ 10 w 10"/>
                  <a:gd name="T1" fmla="*/ 5 h 14"/>
                  <a:gd name="T2" fmla="*/ 0 w 10"/>
                  <a:gd name="T3" fmla="*/ 6 h 14"/>
                  <a:gd name="T4" fmla="*/ 10 w 10"/>
                  <a:gd name="T5" fmla="*/ 5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4">
                    <a:moveTo>
                      <a:pt x="10" y="5"/>
                    </a:moveTo>
                    <a:cubicBezTo>
                      <a:pt x="6" y="0"/>
                      <a:pt x="4" y="7"/>
                      <a:pt x="0" y="6"/>
                    </a:cubicBezTo>
                    <a:cubicBezTo>
                      <a:pt x="4" y="14"/>
                      <a:pt x="5" y="4"/>
                      <a:pt x="1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5" name="任意多边形: 形状 904">
                <a:extLst>
                  <a:ext uri="{FF2B5EF4-FFF2-40B4-BE49-F238E27FC236}">
                    <a16:creationId xmlns:a16="http://schemas.microsoft.com/office/drawing/2014/main" id="{A7D85071-C740-4108-9D5E-EFC3FF508B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58" y="2515"/>
                <a:ext cx="13" cy="14"/>
              </a:xfrm>
              <a:custGeom>
                <a:avLst/>
                <a:gdLst>
                  <a:gd name="T0" fmla="*/ 4 w 6"/>
                  <a:gd name="T1" fmla="*/ 0 h 7"/>
                  <a:gd name="T2" fmla="*/ 2 w 6"/>
                  <a:gd name="T3" fmla="*/ 7 h 7"/>
                  <a:gd name="T4" fmla="*/ 4 w 6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4" y="0"/>
                    </a:moveTo>
                    <a:cubicBezTo>
                      <a:pt x="2" y="2"/>
                      <a:pt x="0" y="4"/>
                      <a:pt x="2" y="7"/>
                    </a:cubicBezTo>
                    <a:cubicBezTo>
                      <a:pt x="3" y="3"/>
                      <a:pt x="6" y="5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6" name="任意多边形: 形状 905">
                <a:extLst>
                  <a:ext uri="{FF2B5EF4-FFF2-40B4-BE49-F238E27FC236}">
                    <a16:creationId xmlns:a16="http://schemas.microsoft.com/office/drawing/2014/main" id="{60F651C6-396C-447A-A692-FA61590BD9C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3" y="2299"/>
                <a:ext cx="17" cy="21"/>
              </a:xfrm>
              <a:custGeom>
                <a:avLst/>
                <a:gdLst>
                  <a:gd name="T0" fmla="*/ 1 w 8"/>
                  <a:gd name="T1" fmla="*/ 10 h 10"/>
                  <a:gd name="T2" fmla="*/ 8 w 8"/>
                  <a:gd name="T3" fmla="*/ 7 h 10"/>
                  <a:gd name="T4" fmla="*/ 3 w 8"/>
                  <a:gd name="T5" fmla="*/ 4 h 10"/>
                  <a:gd name="T6" fmla="*/ 1 w 8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0">
                    <a:moveTo>
                      <a:pt x="1" y="10"/>
                    </a:moveTo>
                    <a:cubicBezTo>
                      <a:pt x="3" y="8"/>
                      <a:pt x="6" y="10"/>
                      <a:pt x="8" y="7"/>
                    </a:cubicBezTo>
                    <a:cubicBezTo>
                      <a:pt x="6" y="5"/>
                      <a:pt x="4" y="0"/>
                      <a:pt x="3" y="4"/>
                    </a:cubicBezTo>
                    <a:cubicBezTo>
                      <a:pt x="6" y="5"/>
                      <a:pt x="0" y="8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7" name="任意多边形: 形状 906">
                <a:extLst>
                  <a:ext uri="{FF2B5EF4-FFF2-40B4-BE49-F238E27FC236}">
                    <a16:creationId xmlns:a16="http://schemas.microsoft.com/office/drawing/2014/main" id="{50B289AF-B9FA-4EFF-85E3-19B2571650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6" y="2478"/>
                <a:ext cx="12" cy="12"/>
              </a:xfrm>
              <a:custGeom>
                <a:avLst/>
                <a:gdLst>
                  <a:gd name="T0" fmla="*/ 0 w 6"/>
                  <a:gd name="T1" fmla="*/ 0 h 6"/>
                  <a:gd name="T2" fmla="*/ 2 w 6"/>
                  <a:gd name="T3" fmla="*/ 6 h 6"/>
                  <a:gd name="T4" fmla="*/ 6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1" y="2"/>
                      <a:pt x="2" y="4"/>
                      <a:pt x="2" y="6"/>
                    </a:cubicBezTo>
                    <a:cubicBezTo>
                      <a:pt x="4" y="3"/>
                      <a:pt x="5" y="6"/>
                      <a:pt x="6" y="6"/>
                    </a:cubicBezTo>
                    <a:cubicBezTo>
                      <a:pt x="6" y="3"/>
                      <a:pt x="2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8" name="任意多边形: 形状 907">
                <a:extLst>
                  <a:ext uri="{FF2B5EF4-FFF2-40B4-BE49-F238E27FC236}">
                    <a16:creationId xmlns:a16="http://schemas.microsoft.com/office/drawing/2014/main" id="{8D55BDB9-F959-4467-9CB2-83872CF2A7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54" y="2471"/>
                <a:ext cx="14" cy="19"/>
              </a:xfrm>
              <a:custGeom>
                <a:avLst/>
                <a:gdLst>
                  <a:gd name="T0" fmla="*/ 6 w 7"/>
                  <a:gd name="T1" fmla="*/ 5 h 9"/>
                  <a:gd name="T2" fmla="*/ 5 w 7"/>
                  <a:gd name="T3" fmla="*/ 1 h 9"/>
                  <a:gd name="T4" fmla="*/ 0 w 7"/>
                  <a:gd name="T5" fmla="*/ 0 h 9"/>
                  <a:gd name="T6" fmla="*/ 3 w 7"/>
                  <a:gd name="T7" fmla="*/ 7 h 9"/>
                  <a:gd name="T8" fmla="*/ 6 w 7"/>
                  <a:gd name="T9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9">
                    <a:moveTo>
                      <a:pt x="6" y="5"/>
                    </a:moveTo>
                    <a:cubicBezTo>
                      <a:pt x="4" y="6"/>
                      <a:pt x="6" y="3"/>
                      <a:pt x="5" y="1"/>
                    </a:cubicBezTo>
                    <a:cubicBezTo>
                      <a:pt x="3" y="2"/>
                      <a:pt x="2" y="0"/>
                      <a:pt x="0" y="0"/>
                    </a:cubicBezTo>
                    <a:cubicBezTo>
                      <a:pt x="2" y="3"/>
                      <a:pt x="3" y="5"/>
                      <a:pt x="3" y="7"/>
                    </a:cubicBezTo>
                    <a:cubicBezTo>
                      <a:pt x="4" y="5"/>
                      <a:pt x="7" y="9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09" name="任意多边形: 形状 908">
                <a:extLst>
                  <a:ext uri="{FF2B5EF4-FFF2-40B4-BE49-F238E27FC236}">
                    <a16:creationId xmlns:a16="http://schemas.microsoft.com/office/drawing/2014/main" id="{C6BAEF8C-F9BC-4D1F-AD9C-1C3D17C46E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35" y="2426"/>
                <a:ext cx="11" cy="10"/>
              </a:xfrm>
              <a:custGeom>
                <a:avLst/>
                <a:gdLst>
                  <a:gd name="T0" fmla="*/ 5 w 5"/>
                  <a:gd name="T1" fmla="*/ 4 h 5"/>
                  <a:gd name="T2" fmla="*/ 3 w 5"/>
                  <a:gd name="T3" fmla="*/ 0 h 5"/>
                  <a:gd name="T4" fmla="*/ 0 w 5"/>
                  <a:gd name="T5" fmla="*/ 4 h 5"/>
                  <a:gd name="T6" fmla="*/ 5 w 5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4"/>
                    </a:moveTo>
                    <a:cubicBezTo>
                      <a:pt x="4" y="3"/>
                      <a:pt x="3" y="1"/>
                      <a:pt x="3" y="0"/>
                    </a:cubicBezTo>
                    <a:cubicBezTo>
                      <a:pt x="2" y="1"/>
                      <a:pt x="0" y="2"/>
                      <a:pt x="0" y="4"/>
                    </a:cubicBezTo>
                    <a:cubicBezTo>
                      <a:pt x="2" y="2"/>
                      <a:pt x="4" y="5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0" name="任意多边形: 形状 909">
                <a:extLst>
                  <a:ext uri="{FF2B5EF4-FFF2-40B4-BE49-F238E27FC236}">
                    <a16:creationId xmlns:a16="http://schemas.microsoft.com/office/drawing/2014/main" id="{AB0B6F0E-2FA4-46C3-A14A-53C02D92161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8" y="2399"/>
                <a:ext cx="21" cy="27"/>
              </a:xfrm>
              <a:custGeom>
                <a:avLst/>
                <a:gdLst>
                  <a:gd name="T0" fmla="*/ 6 w 10"/>
                  <a:gd name="T1" fmla="*/ 13 h 13"/>
                  <a:gd name="T2" fmla="*/ 7 w 10"/>
                  <a:gd name="T3" fmla="*/ 8 h 13"/>
                  <a:gd name="T4" fmla="*/ 0 w 10"/>
                  <a:gd name="T5" fmla="*/ 6 h 13"/>
                  <a:gd name="T6" fmla="*/ 6 w 10"/>
                  <a:gd name="T7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3">
                    <a:moveTo>
                      <a:pt x="6" y="13"/>
                    </a:moveTo>
                    <a:cubicBezTo>
                      <a:pt x="4" y="11"/>
                      <a:pt x="10" y="9"/>
                      <a:pt x="7" y="8"/>
                    </a:cubicBezTo>
                    <a:cubicBezTo>
                      <a:pt x="4" y="13"/>
                      <a:pt x="0" y="0"/>
                      <a:pt x="0" y="6"/>
                    </a:cubicBezTo>
                    <a:cubicBezTo>
                      <a:pt x="3" y="7"/>
                      <a:pt x="2" y="12"/>
                      <a:pt x="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1" name="任意多边形: 形状 910">
                <a:extLst>
                  <a:ext uri="{FF2B5EF4-FFF2-40B4-BE49-F238E27FC236}">
                    <a16:creationId xmlns:a16="http://schemas.microsoft.com/office/drawing/2014/main" id="{B7BBD87E-43D6-499D-AFA0-326EA9D54B8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1" y="2430"/>
                <a:ext cx="12" cy="12"/>
              </a:xfrm>
              <a:custGeom>
                <a:avLst/>
                <a:gdLst>
                  <a:gd name="T0" fmla="*/ 6 w 6"/>
                  <a:gd name="T1" fmla="*/ 5 h 6"/>
                  <a:gd name="T2" fmla="*/ 0 w 6"/>
                  <a:gd name="T3" fmla="*/ 1 h 6"/>
                  <a:gd name="T4" fmla="*/ 6 w 6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6" y="5"/>
                    </a:moveTo>
                    <a:cubicBezTo>
                      <a:pt x="4" y="3"/>
                      <a:pt x="2" y="0"/>
                      <a:pt x="0" y="1"/>
                    </a:cubicBezTo>
                    <a:cubicBezTo>
                      <a:pt x="2" y="5"/>
                      <a:pt x="4" y="6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2" name="任意多边形: 形状 911">
                <a:extLst>
                  <a:ext uri="{FF2B5EF4-FFF2-40B4-BE49-F238E27FC236}">
                    <a16:creationId xmlns:a16="http://schemas.microsoft.com/office/drawing/2014/main" id="{8183F6C7-1D1E-4CE4-A595-B6BC63C68B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83" y="2413"/>
                <a:ext cx="21" cy="15"/>
              </a:xfrm>
              <a:custGeom>
                <a:avLst/>
                <a:gdLst>
                  <a:gd name="T0" fmla="*/ 10 w 10"/>
                  <a:gd name="T1" fmla="*/ 4 h 7"/>
                  <a:gd name="T2" fmla="*/ 10 w 10"/>
                  <a:gd name="T3" fmla="*/ 0 h 7"/>
                  <a:gd name="T4" fmla="*/ 2 w 10"/>
                  <a:gd name="T5" fmla="*/ 7 h 7"/>
                  <a:gd name="T6" fmla="*/ 10 w 10"/>
                  <a:gd name="T7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10" y="4"/>
                    </a:moveTo>
                    <a:cubicBezTo>
                      <a:pt x="9" y="2"/>
                      <a:pt x="10" y="1"/>
                      <a:pt x="10" y="0"/>
                    </a:cubicBezTo>
                    <a:cubicBezTo>
                      <a:pt x="7" y="2"/>
                      <a:pt x="0" y="3"/>
                      <a:pt x="2" y="7"/>
                    </a:cubicBezTo>
                    <a:cubicBezTo>
                      <a:pt x="6" y="6"/>
                      <a:pt x="6" y="4"/>
                      <a:pt x="1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3" name="任意多边形: 形状 912">
                <a:extLst>
                  <a:ext uri="{FF2B5EF4-FFF2-40B4-BE49-F238E27FC236}">
                    <a16:creationId xmlns:a16="http://schemas.microsoft.com/office/drawing/2014/main" id="{2447BA3C-1BCC-4291-8E9F-3177E1A32C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27" y="2482"/>
                <a:ext cx="18" cy="14"/>
              </a:xfrm>
              <a:custGeom>
                <a:avLst/>
                <a:gdLst>
                  <a:gd name="T0" fmla="*/ 9 w 9"/>
                  <a:gd name="T1" fmla="*/ 3 h 7"/>
                  <a:gd name="T2" fmla="*/ 3 w 9"/>
                  <a:gd name="T3" fmla="*/ 6 h 7"/>
                  <a:gd name="T4" fmla="*/ 9 w 9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9" y="3"/>
                    </a:moveTo>
                    <a:cubicBezTo>
                      <a:pt x="6" y="4"/>
                      <a:pt x="0" y="0"/>
                      <a:pt x="3" y="6"/>
                    </a:cubicBezTo>
                    <a:cubicBezTo>
                      <a:pt x="5" y="3"/>
                      <a:pt x="9" y="7"/>
                      <a:pt x="9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4" name="任意多边形: 形状 913">
                <a:extLst>
                  <a:ext uri="{FF2B5EF4-FFF2-40B4-BE49-F238E27FC236}">
                    <a16:creationId xmlns:a16="http://schemas.microsoft.com/office/drawing/2014/main" id="{20D59731-20D7-4059-A7DA-A8F5A1D897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81" y="1973"/>
                <a:ext cx="23" cy="17"/>
              </a:xfrm>
              <a:custGeom>
                <a:avLst/>
                <a:gdLst>
                  <a:gd name="T0" fmla="*/ 3 w 11"/>
                  <a:gd name="T1" fmla="*/ 8 h 8"/>
                  <a:gd name="T2" fmla="*/ 11 w 11"/>
                  <a:gd name="T3" fmla="*/ 4 h 8"/>
                  <a:gd name="T4" fmla="*/ 3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3" y="8"/>
                    </a:moveTo>
                    <a:cubicBezTo>
                      <a:pt x="7" y="6"/>
                      <a:pt x="7" y="5"/>
                      <a:pt x="11" y="4"/>
                    </a:cubicBezTo>
                    <a:cubicBezTo>
                      <a:pt x="9" y="0"/>
                      <a:pt x="0" y="8"/>
                      <a:pt x="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5" name="任意多边形: 形状 914">
                <a:extLst>
                  <a:ext uri="{FF2B5EF4-FFF2-40B4-BE49-F238E27FC236}">
                    <a16:creationId xmlns:a16="http://schemas.microsoft.com/office/drawing/2014/main" id="{2712EF92-FD2C-447C-AE0E-00D1CFEE4E0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01" y="2328"/>
                <a:ext cx="31" cy="25"/>
              </a:xfrm>
              <a:custGeom>
                <a:avLst/>
                <a:gdLst>
                  <a:gd name="T0" fmla="*/ 10 w 15"/>
                  <a:gd name="T1" fmla="*/ 3 h 12"/>
                  <a:gd name="T2" fmla="*/ 9 w 15"/>
                  <a:gd name="T3" fmla="*/ 3 h 12"/>
                  <a:gd name="T4" fmla="*/ 3 w 15"/>
                  <a:gd name="T5" fmla="*/ 1 h 12"/>
                  <a:gd name="T6" fmla="*/ 3 w 15"/>
                  <a:gd name="T7" fmla="*/ 1 h 12"/>
                  <a:gd name="T8" fmla="*/ 0 w 15"/>
                  <a:gd name="T9" fmla="*/ 7 h 12"/>
                  <a:gd name="T10" fmla="*/ 2 w 15"/>
                  <a:gd name="T11" fmla="*/ 12 h 12"/>
                  <a:gd name="T12" fmla="*/ 5 w 15"/>
                  <a:gd name="T13" fmla="*/ 10 h 12"/>
                  <a:gd name="T14" fmla="*/ 1 w 15"/>
                  <a:gd name="T15" fmla="*/ 5 h 12"/>
                  <a:gd name="T16" fmla="*/ 3 w 15"/>
                  <a:gd name="T17" fmla="*/ 4 h 12"/>
                  <a:gd name="T18" fmla="*/ 8 w 15"/>
                  <a:gd name="T19" fmla="*/ 12 h 12"/>
                  <a:gd name="T20" fmla="*/ 9 w 15"/>
                  <a:gd name="T21" fmla="*/ 8 h 12"/>
                  <a:gd name="T22" fmla="*/ 14 w 15"/>
                  <a:gd name="T23" fmla="*/ 11 h 12"/>
                  <a:gd name="T24" fmla="*/ 11 w 15"/>
                  <a:gd name="T25" fmla="*/ 8 h 12"/>
                  <a:gd name="T26" fmla="*/ 12 w 15"/>
                  <a:gd name="T27" fmla="*/ 3 h 12"/>
                  <a:gd name="T28" fmla="*/ 10 w 15"/>
                  <a:gd name="T29" fmla="*/ 4 h 12"/>
                  <a:gd name="T30" fmla="*/ 10 w 15"/>
                  <a:gd name="T3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5" h="12">
                    <a:moveTo>
                      <a:pt x="10" y="3"/>
                    </a:moveTo>
                    <a:cubicBezTo>
                      <a:pt x="9" y="3"/>
                      <a:pt x="9" y="3"/>
                      <a:pt x="9" y="3"/>
                    </a:cubicBezTo>
                    <a:cubicBezTo>
                      <a:pt x="7" y="2"/>
                      <a:pt x="5" y="0"/>
                      <a:pt x="3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1" y="2"/>
                      <a:pt x="0" y="4"/>
                      <a:pt x="0" y="7"/>
                    </a:cubicBezTo>
                    <a:cubicBezTo>
                      <a:pt x="3" y="7"/>
                      <a:pt x="1" y="10"/>
                      <a:pt x="2" y="12"/>
                    </a:cubicBezTo>
                    <a:cubicBezTo>
                      <a:pt x="5" y="10"/>
                      <a:pt x="5" y="10"/>
                      <a:pt x="5" y="10"/>
                    </a:cubicBezTo>
                    <a:cubicBezTo>
                      <a:pt x="4" y="7"/>
                      <a:pt x="2" y="8"/>
                      <a:pt x="1" y="5"/>
                    </a:cubicBezTo>
                    <a:cubicBezTo>
                      <a:pt x="2" y="4"/>
                      <a:pt x="3" y="4"/>
                      <a:pt x="3" y="4"/>
                    </a:cubicBezTo>
                    <a:cubicBezTo>
                      <a:pt x="8" y="5"/>
                      <a:pt x="5" y="11"/>
                      <a:pt x="8" y="12"/>
                    </a:cubicBezTo>
                    <a:cubicBezTo>
                      <a:pt x="8" y="10"/>
                      <a:pt x="8" y="9"/>
                      <a:pt x="9" y="8"/>
                    </a:cubicBezTo>
                    <a:cubicBezTo>
                      <a:pt x="11" y="10"/>
                      <a:pt x="12" y="12"/>
                      <a:pt x="14" y="11"/>
                    </a:cubicBezTo>
                    <a:cubicBezTo>
                      <a:pt x="13" y="9"/>
                      <a:pt x="12" y="8"/>
                      <a:pt x="11" y="8"/>
                    </a:cubicBezTo>
                    <a:cubicBezTo>
                      <a:pt x="13" y="7"/>
                      <a:pt x="15" y="7"/>
                      <a:pt x="12" y="3"/>
                    </a:cubicBezTo>
                    <a:cubicBezTo>
                      <a:pt x="12" y="4"/>
                      <a:pt x="11" y="4"/>
                      <a:pt x="10" y="4"/>
                    </a:cubicBezTo>
                    <a:cubicBezTo>
                      <a:pt x="10" y="3"/>
                      <a:pt x="10" y="3"/>
                      <a:pt x="1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6" name="任意多边形: 形状 915">
                <a:extLst>
                  <a:ext uri="{FF2B5EF4-FFF2-40B4-BE49-F238E27FC236}">
                    <a16:creationId xmlns:a16="http://schemas.microsoft.com/office/drawing/2014/main" id="{0A6B1A73-D26B-45AB-AB68-43A1055001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43" y="2002"/>
                <a:ext cx="23" cy="11"/>
              </a:xfrm>
              <a:custGeom>
                <a:avLst/>
                <a:gdLst>
                  <a:gd name="T0" fmla="*/ 11 w 11"/>
                  <a:gd name="T1" fmla="*/ 2 h 5"/>
                  <a:gd name="T2" fmla="*/ 2 w 11"/>
                  <a:gd name="T3" fmla="*/ 5 h 5"/>
                  <a:gd name="T4" fmla="*/ 11 w 11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11" y="2"/>
                    </a:moveTo>
                    <a:cubicBezTo>
                      <a:pt x="9" y="0"/>
                      <a:pt x="0" y="2"/>
                      <a:pt x="2" y="5"/>
                    </a:cubicBezTo>
                    <a:cubicBezTo>
                      <a:pt x="5" y="3"/>
                      <a:pt x="8" y="4"/>
                      <a:pt x="1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7" name="任意多边形: 形状 916">
                <a:extLst>
                  <a:ext uri="{FF2B5EF4-FFF2-40B4-BE49-F238E27FC236}">
                    <a16:creationId xmlns:a16="http://schemas.microsoft.com/office/drawing/2014/main" id="{CC946A9F-2889-46A3-9069-ECF6A3FD8B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0" y="2040"/>
                <a:ext cx="8" cy="14"/>
              </a:xfrm>
              <a:custGeom>
                <a:avLst/>
                <a:gdLst>
                  <a:gd name="T0" fmla="*/ 0 w 4"/>
                  <a:gd name="T1" fmla="*/ 3 h 7"/>
                  <a:gd name="T2" fmla="*/ 2 w 4"/>
                  <a:gd name="T3" fmla="*/ 7 h 7"/>
                  <a:gd name="T4" fmla="*/ 1 w 4"/>
                  <a:gd name="T5" fmla="*/ 0 h 7"/>
                  <a:gd name="T6" fmla="*/ 0 w 4"/>
                  <a:gd name="T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7">
                    <a:moveTo>
                      <a:pt x="0" y="3"/>
                    </a:moveTo>
                    <a:cubicBezTo>
                      <a:pt x="2" y="7"/>
                      <a:pt x="2" y="7"/>
                      <a:pt x="2" y="7"/>
                    </a:cubicBezTo>
                    <a:cubicBezTo>
                      <a:pt x="4" y="6"/>
                      <a:pt x="4" y="0"/>
                      <a:pt x="1" y="0"/>
                    </a:cubicBezTo>
                    <a:cubicBezTo>
                      <a:pt x="2" y="2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8" name="任意多边形: 形状 917">
                <a:extLst>
                  <a:ext uri="{FF2B5EF4-FFF2-40B4-BE49-F238E27FC236}">
                    <a16:creationId xmlns:a16="http://schemas.microsoft.com/office/drawing/2014/main" id="{901AF6E4-BBB3-4F8F-BB6F-8893EF5FCFB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93" y="2000"/>
                <a:ext cx="15" cy="21"/>
              </a:xfrm>
              <a:custGeom>
                <a:avLst/>
                <a:gdLst>
                  <a:gd name="T0" fmla="*/ 3 w 7"/>
                  <a:gd name="T1" fmla="*/ 7 h 10"/>
                  <a:gd name="T2" fmla="*/ 7 w 7"/>
                  <a:gd name="T3" fmla="*/ 6 h 10"/>
                  <a:gd name="T4" fmla="*/ 4 w 7"/>
                  <a:gd name="T5" fmla="*/ 0 h 10"/>
                  <a:gd name="T6" fmla="*/ 0 w 7"/>
                  <a:gd name="T7" fmla="*/ 4 h 10"/>
                  <a:gd name="T8" fmla="*/ 1 w 7"/>
                  <a:gd name="T9" fmla="*/ 7 h 10"/>
                  <a:gd name="T10" fmla="*/ 3 w 7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10">
                    <a:moveTo>
                      <a:pt x="3" y="7"/>
                    </a:moveTo>
                    <a:cubicBezTo>
                      <a:pt x="2" y="2"/>
                      <a:pt x="6" y="10"/>
                      <a:pt x="7" y="6"/>
                    </a:cubicBezTo>
                    <a:cubicBezTo>
                      <a:pt x="5" y="4"/>
                      <a:pt x="7" y="0"/>
                      <a:pt x="4" y="0"/>
                    </a:cubicBezTo>
                    <a:cubicBezTo>
                      <a:pt x="4" y="3"/>
                      <a:pt x="2" y="5"/>
                      <a:pt x="0" y="4"/>
                    </a:cubicBezTo>
                    <a:cubicBezTo>
                      <a:pt x="1" y="7"/>
                      <a:pt x="1" y="7"/>
                      <a:pt x="1" y="7"/>
                    </a:cubicBezTo>
                    <a:cubicBezTo>
                      <a:pt x="2" y="7"/>
                      <a:pt x="2" y="8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19" name="任意多边形: 形状 918">
                <a:extLst>
                  <a:ext uri="{FF2B5EF4-FFF2-40B4-BE49-F238E27FC236}">
                    <a16:creationId xmlns:a16="http://schemas.microsoft.com/office/drawing/2014/main" id="{7286572A-F42A-4CBA-9D2E-819DC633FC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23" y="1658"/>
                <a:ext cx="29" cy="16"/>
              </a:xfrm>
              <a:custGeom>
                <a:avLst/>
                <a:gdLst>
                  <a:gd name="T0" fmla="*/ 14 w 14"/>
                  <a:gd name="T1" fmla="*/ 0 h 8"/>
                  <a:gd name="T2" fmla="*/ 0 w 14"/>
                  <a:gd name="T3" fmla="*/ 4 h 8"/>
                  <a:gd name="T4" fmla="*/ 14 w 14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8">
                    <a:moveTo>
                      <a:pt x="14" y="0"/>
                    </a:moveTo>
                    <a:cubicBezTo>
                      <a:pt x="8" y="2"/>
                      <a:pt x="3" y="4"/>
                      <a:pt x="0" y="4"/>
                    </a:cubicBezTo>
                    <a:cubicBezTo>
                      <a:pt x="4" y="8"/>
                      <a:pt x="12" y="3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0" name="任意多边形: 形状 919">
                <a:extLst>
                  <a:ext uri="{FF2B5EF4-FFF2-40B4-BE49-F238E27FC236}">
                    <a16:creationId xmlns:a16="http://schemas.microsoft.com/office/drawing/2014/main" id="{BA8508EA-2A0A-4B5B-8FD6-2A85114483D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45" y="1979"/>
                <a:ext cx="19" cy="9"/>
              </a:xfrm>
              <a:custGeom>
                <a:avLst/>
                <a:gdLst>
                  <a:gd name="T0" fmla="*/ 8 w 9"/>
                  <a:gd name="T1" fmla="*/ 0 h 4"/>
                  <a:gd name="T2" fmla="*/ 2 w 9"/>
                  <a:gd name="T3" fmla="*/ 4 h 4"/>
                  <a:gd name="T4" fmla="*/ 8 w 9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4">
                    <a:moveTo>
                      <a:pt x="8" y="0"/>
                    </a:moveTo>
                    <a:cubicBezTo>
                      <a:pt x="6" y="1"/>
                      <a:pt x="0" y="0"/>
                      <a:pt x="2" y="4"/>
                    </a:cubicBezTo>
                    <a:cubicBezTo>
                      <a:pt x="3" y="2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1" name="任意多边形: 形状 920">
                <a:extLst>
                  <a:ext uri="{FF2B5EF4-FFF2-40B4-BE49-F238E27FC236}">
                    <a16:creationId xmlns:a16="http://schemas.microsoft.com/office/drawing/2014/main" id="{0881F2CA-90AA-481E-8ABF-8B3706CC1F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26" y="2031"/>
                <a:ext cx="15" cy="13"/>
              </a:xfrm>
              <a:custGeom>
                <a:avLst/>
                <a:gdLst>
                  <a:gd name="T0" fmla="*/ 6 w 7"/>
                  <a:gd name="T1" fmla="*/ 1 h 6"/>
                  <a:gd name="T2" fmla="*/ 0 w 7"/>
                  <a:gd name="T3" fmla="*/ 2 h 6"/>
                  <a:gd name="T4" fmla="*/ 6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6" y="1"/>
                    </a:moveTo>
                    <a:cubicBezTo>
                      <a:pt x="4" y="0"/>
                      <a:pt x="2" y="3"/>
                      <a:pt x="0" y="2"/>
                    </a:cubicBezTo>
                    <a:cubicBezTo>
                      <a:pt x="2" y="6"/>
                      <a:pt x="7" y="6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2" name="任意多边形: 形状 921">
                <a:extLst>
                  <a:ext uri="{FF2B5EF4-FFF2-40B4-BE49-F238E27FC236}">
                    <a16:creationId xmlns:a16="http://schemas.microsoft.com/office/drawing/2014/main" id="{518E3B88-2969-4E2A-A1AC-27BA99656A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65" y="2262"/>
                <a:ext cx="27" cy="23"/>
              </a:xfrm>
              <a:custGeom>
                <a:avLst/>
                <a:gdLst>
                  <a:gd name="T0" fmla="*/ 1 w 13"/>
                  <a:gd name="T1" fmla="*/ 5 h 11"/>
                  <a:gd name="T2" fmla="*/ 5 w 13"/>
                  <a:gd name="T3" fmla="*/ 7 h 11"/>
                  <a:gd name="T4" fmla="*/ 13 w 13"/>
                  <a:gd name="T5" fmla="*/ 6 h 11"/>
                  <a:gd name="T6" fmla="*/ 1 w 1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1">
                    <a:moveTo>
                      <a:pt x="1" y="5"/>
                    </a:moveTo>
                    <a:cubicBezTo>
                      <a:pt x="2" y="3"/>
                      <a:pt x="4" y="4"/>
                      <a:pt x="5" y="7"/>
                    </a:cubicBezTo>
                    <a:cubicBezTo>
                      <a:pt x="6" y="2"/>
                      <a:pt x="12" y="11"/>
                      <a:pt x="13" y="6"/>
                    </a:cubicBezTo>
                    <a:cubicBezTo>
                      <a:pt x="10" y="1"/>
                      <a:pt x="0" y="0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3" name="任意多边形: 形状 922">
                <a:extLst>
                  <a:ext uri="{FF2B5EF4-FFF2-40B4-BE49-F238E27FC236}">
                    <a16:creationId xmlns:a16="http://schemas.microsoft.com/office/drawing/2014/main" id="{EFFBEFD0-1D36-4C2C-9068-E841F0FED9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1944"/>
                <a:ext cx="50" cy="33"/>
              </a:xfrm>
              <a:custGeom>
                <a:avLst/>
                <a:gdLst>
                  <a:gd name="T0" fmla="*/ 12 w 24"/>
                  <a:gd name="T1" fmla="*/ 9 h 16"/>
                  <a:gd name="T2" fmla="*/ 16 w 24"/>
                  <a:gd name="T3" fmla="*/ 12 h 16"/>
                  <a:gd name="T4" fmla="*/ 18 w 24"/>
                  <a:gd name="T5" fmla="*/ 10 h 16"/>
                  <a:gd name="T6" fmla="*/ 18 w 24"/>
                  <a:gd name="T7" fmla="*/ 5 h 16"/>
                  <a:gd name="T8" fmla="*/ 24 w 24"/>
                  <a:gd name="T9" fmla="*/ 5 h 16"/>
                  <a:gd name="T10" fmla="*/ 22 w 24"/>
                  <a:gd name="T11" fmla="*/ 0 h 16"/>
                  <a:gd name="T12" fmla="*/ 7 w 24"/>
                  <a:gd name="T13" fmla="*/ 6 h 16"/>
                  <a:gd name="T14" fmla="*/ 1 w 24"/>
                  <a:gd name="T15" fmla="*/ 16 h 16"/>
                  <a:gd name="T16" fmla="*/ 12 w 24"/>
                  <a:gd name="T17" fmla="*/ 9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6">
                    <a:moveTo>
                      <a:pt x="12" y="9"/>
                    </a:moveTo>
                    <a:cubicBezTo>
                      <a:pt x="15" y="9"/>
                      <a:pt x="13" y="14"/>
                      <a:pt x="16" y="12"/>
                    </a:cubicBezTo>
                    <a:cubicBezTo>
                      <a:pt x="15" y="10"/>
                      <a:pt x="17" y="4"/>
                      <a:pt x="18" y="10"/>
                    </a:cubicBezTo>
                    <a:cubicBezTo>
                      <a:pt x="21" y="10"/>
                      <a:pt x="16" y="6"/>
                      <a:pt x="18" y="5"/>
                    </a:cubicBezTo>
                    <a:cubicBezTo>
                      <a:pt x="22" y="9"/>
                      <a:pt x="20" y="1"/>
                      <a:pt x="24" y="5"/>
                    </a:cubicBezTo>
                    <a:cubicBezTo>
                      <a:pt x="22" y="3"/>
                      <a:pt x="23" y="2"/>
                      <a:pt x="22" y="0"/>
                    </a:cubicBezTo>
                    <a:cubicBezTo>
                      <a:pt x="16" y="3"/>
                      <a:pt x="13" y="8"/>
                      <a:pt x="7" y="6"/>
                    </a:cubicBezTo>
                    <a:cubicBezTo>
                      <a:pt x="7" y="10"/>
                      <a:pt x="0" y="11"/>
                      <a:pt x="1" y="16"/>
                    </a:cubicBezTo>
                    <a:cubicBezTo>
                      <a:pt x="4" y="14"/>
                      <a:pt x="9" y="13"/>
                      <a:pt x="1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4" name="任意多边形: 形状 923">
                <a:extLst>
                  <a:ext uri="{FF2B5EF4-FFF2-40B4-BE49-F238E27FC236}">
                    <a16:creationId xmlns:a16="http://schemas.microsoft.com/office/drawing/2014/main" id="{8F6551F5-1119-4858-9AD3-F43E9E9C8D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2158"/>
                <a:ext cx="14" cy="10"/>
              </a:xfrm>
              <a:custGeom>
                <a:avLst/>
                <a:gdLst>
                  <a:gd name="T0" fmla="*/ 1 w 7"/>
                  <a:gd name="T1" fmla="*/ 5 h 5"/>
                  <a:gd name="T2" fmla="*/ 6 w 7"/>
                  <a:gd name="T3" fmla="*/ 2 h 5"/>
                  <a:gd name="T4" fmla="*/ 0 w 7"/>
                  <a:gd name="T5" fmla="*/ 0 h 5"/>
                  <a:gd name="T6" fmla="*/ 1 w 7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5"/>
                    </a:moveTo>
                    <a:cubicBezTo>
                      <a:pt x="2" y="5"/>
                      <a:pt x="7" y="4"/>
                      <a:pt x="6" y="2"/>
                    </a:cubicBezTo>
                    <a:cubicBezTo>
                      <a:pt x="4" y="4"/>
                      <a:pt x="2" y="1"/>
                      <a:pt x="0" y="0"/>
                    </a:cubicBezTo>
                    <a:cubicBezTo>
                      <a:pt x="2" y="3"/>
                      <a:pt x="0" y="3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5" name="任意多边形: 形状 924">
                <a:extLst>
                  <a:ext uri="{FF2B5EF4-FFF2-40B4-BE49-F238E27FC236}">
                    <a16:creationId xmlns:a16="http://schemas.microsoft.com/office/drawing/2014/main" id="{CD34F9AD-143D-48D5-A33C-DF5DF8BFC4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0" y="2011"/>
                <a:ext cx="16" cy="18"/>
              </a:xfrm>
              <a:custGeom>
                <a:avLst/>
                <a:gdLst>
                  <a:gd name="T0" fmla="*/ 2 w 8"/>
                  <a:gd name="T1" fmla="*/ 9 h 9"/>
                  <a:gd name="T2" fmla="*/ 6 w 8"/>
                  <a:gd name="T3" fmla="*/ 0 h 9"/>
                  <a:gd name="T4" fmla="*/ 2 w 8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1" y="5"/>
                      <a:pt x="8" y="5"/>
                      <a:pt x="6" y="0"/>
                    </a:cubicBezTo>
                    <a:cubicBezTo>
                      <a:pt x="4" y="2"/>
                      <a:pt x="0" y="3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6" name="任意多边形: 形状 925">
                <a:extLst>
                  <a:ext uri="{FF2B5EF4-FFF2-40B4-BE49-F238E27FC236}">
                    <a16:creationId xmlns:a16="http://schemas.microsoft.com/office/drawing/2014/main" id="{A73A1FE9-2714-45B2-8CE2-851A13934F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8" y="2112"/>
                <a:ext cx="14" cy="11"/>
              </a:xfrm>
              <a:custGeom>
                <a:avLst/>
                <a:gdLst>
                  <a:gd name="T0" fmla="*/ 1 w 7"/>
                  <a:gd name="T1" fmla="*/ 4 h 5"/>
                  <a:gd name="T2" fmla="*/ 7 w 7"/>
                  <a:gd name="T3" fmla="*/ 5 h 5"/>
                  <a:gd name="T4" fmla="*/ 6 w 7"/>
                  <a:gd name="T5" fmla="*/ 1 h 5"/>
                  <a:gd name="T6" fmla="*/ 1 w 7"/>
                  <a:gd name="T7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5">
                    <a:moveTo>
                      <a:pt x="1" y="4"/>
                    </a:moveTo>
                    <a:cubicBezTo>
                      <a:pt x="3" y="2"/>
                      <a:pt x="5" y="5"/>
                      <a:pt x="7" y="5"/>
                    </a:cubicBezTo>
                    <a:cubicBezTo>
                      <a:pt x="6" y="3"/>
                      <a:pt x="6" y="2"/>
                      <a:pt x="6" y="1"/>
                    </a:cubicBezTo>
                    <a:cubicBezTo>
                      <a:pt x="4" y="3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7" name="任意多边形: 形状 926">
                <a:extLst>
                  <a:ext uri="{FF2B5EF4-FFF2-40B4-BE49-F238E27FC236}">
                    <a16:creationId xmlns:a16="http://schemas.microsoft.com/office/drawing/2014/main" id="{6D08D729-0D02-4DA5-9EC8-B9FD0754B1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1911"/>
                <a:ext cx="12" cy="12"/>
              </a:xfrm>
              <a:custGeom>
                <a:avLst/>
                <a:gdLst>
                  <a:gd name="T0" fmla="*/ 5 w 6"/>
                  <a:gd name="T1" fmla="*/ 2 h 6"/>
                  <a:gd name="T2" fmla="*/ 3 w 6"/>
                  <a:gd name="T3" fmla="*/ 0 h 6"/>
                  <a:gd name="T4" fmla="*/ 1 w 6"/>
                  <a:gd name="T5" fmla="*/ 4 h 6"/>
                  <a:gd name="T6" fmla="*/ 5 w 6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5" y="2"/>
                    </a:moveTo>
                    <a:cubicBezTo>
                      <a:pt x="4" y="2"/>
                      <a:pt x="4" y="1"/>
                      <a:pt x="3" y="0"/>
                    </a:cubicBezTo>
                    <a:cubicBezTo>
                      <a:pt x="1" y="1"/>
                      <a:pt x="0" y="2"/>
                      <a:pt x="1" y="4"/>
                    </a:cubicBezTo>
                    <a:cubicBezTo>
                      <a:pt x="2" y="2"/>
                      <a:pt x="6" y="6"/>
                      <a:pt x="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8" name="任意多边形: 形状 927">
                <a:extLst>
                  <a:ext uri="{FF2B5EF4-FFF2-40B4-BE49-F238E27FC236}">
                    <a16:creationId xmlns:a16="http://schemas.microsoft.com/office/drawing/2014/main" id="{E81A8BC8-6DCA-43CE-9F58-35138E9B75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82" y="1928"/>
                <a:ext cx="11" cy="20"/>
              </a:xfrm>
              <a:custGeom>
                <a:avLst/>
                <a:gdLst>
                  <a:gd name="T0" fmla="*/ 5 w 5"/>
                  <a:gd name="T1" fmla="*/ 3 h 10"/>
                  <a:gd name="T2" fmla="*/ 0 w 5"/>
                  <a:gd name="T3" fmla="*/ 1 h 10"/>
                  <a:gd name="T4" fmla="*/ 2 w 5"/>
                  <a:gd name="T5" fmla="*/ 10 h 10"/>
                  <a:gd name="T6" fmla="*/ 5 w 5"/>
                  <a:gd name="T7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0">
                    <a:moveTo>
                      <a:pt x="5" y="3"/>
                    </a:moveTo>
                    <a:cubicBezTo>
                      <a:pt x="3" y="4"/>
                      <a:pt x="2" y="0"/>
                      <a:pt x="0" y="1"/>
                    </a:cubicBezTo>
                    <a:cubicBezTo>
                      <a:pt x="2" y="5"/>
                      <a:pt x="0" y="6"/>
                      <a:pt x="2" y="10"/>
                    </a:cubicBezTo>
                    <a:cubicBezTo>
                      <a:pt x="4" y="8"/>
                      <a:pt x="5" y="6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29" name="任意多边形: 形状 928">
                <a:extLst>
                  <a:ext uri="{FF2B5EF4-FFF2-40B4-BE49-F238E27FC236}">
                    <a16:creationId xmlns:a16="http://schemas.microsoft.com/office/drawing/2014/main" id="{28144919-3D10-4E64-935D-81628320FE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2121"/>
                <a:ext cx="12" cy="22"/>
              </a:xfrm>
              <a:custGeom>
                <a:avLst/>
                <a:gdLst>
                  <a:gd name="T0" fmla="*/ 1 w 6"/>
                  <a:gd name="T1" fmla="*/ 6 h 11"/>
                  <a:gd name="T2" fmla="*/ 6 w 6"/>
                  <a:gd name="T3" fmla="*/ 6 h 11"/>
                  <a:gd name="T4" fmla="*/ 2 w 6"/>
                  <a:gd name="T5" fmla="*/ 2 h 11"/>
                  <a:gd name="T6" fmla="*/ 1 w 6"/>
                  <a:gd name="T7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1">
                    <a:moveTo>
                      <a:pt x="1" y="6"/>
                    </a:moveTo>
                    <a:cubicBezTo>
                      <a:pt x="2" y="3"/>
                      <a:pt x="6" y="11"/>
                      <a:pt x="6" y="6"/>
                    </a:cubicBezTo>
                    <a:cubicBezTo>
                      <a:pt x="4" y="8"/>
                      <a:pt x="3" y="0"/>
                      <a:pt x="2" y="2"/>
                    </a:cubicBezTo>
                    <a:cubicBezTo>
                      <a:pt x="3" y="4"/>
                      <a:pt x="0" y="4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0" name="任意多边形: 形状 929">
                <a:extLst>
                  <a:ext uri="{FF2B5EF4-FFF2-40B4-BE49-F238E27FC236}">
                    <a16:creationId xmlns:a16="http://schemas.microsoft.com/office/drawing/2014/main" id="{2E0C39A3-7F74-46B4-875F-E0202F17D0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36" y="1988"/>
                <a:ext cx="31" cy="25"/>
              </a:xfrm>
              <a:custGeom>
                <a:avLst/>
                <a:gdLst>
                  <a:gd name="T0" fmla="*/ 15 w 15"/>
                  <a:gd name="T1" fmla="*/ 2 h 12"/>
                  <a:gd name="T2" fmla="*/ 8 w 15"/>
                  <a:gd name="T3" fmla="*/ 8 h 12"/>
                  <a:gd name="T4" fmla="*/ 6 w 15"/>
                  <a:gd name="T5" fmla="*/ 5 h 12"/>
                  <a:gd name="T6" fmla="*/ 1 w 15"/>
                  <a:gd name="T7" fmla="*/ 12 h 12"/>
                  <a:gd name="T8" fmla="*/ 15 w 15"/>
                  <a:gd name="T9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2">
                    <a:moveTo>
                      <a:pt x="15" y="2"/>
                    </a:moveTo>
                    <a:cubicBezTo>
                      <a:pt x="11" y="0"/>
                      <a:pt x="11" y="7"/>
                      <a:pt x="8" y="8"/>
                    </a:cubicBezTo>
                    <a:cubicBezTo>
                      <a:pt x="7" y="7"/>
                      <a:pt x="7" y="5"/>
                      <a:pt x="6" y="5"/>
                    </a:cubicBezTo>
                    <a:cubicBezTo>
                      <a:pt x="8" y="9"/>
                      <a:pt x="0" y="9"/>
                      <a:pt x="1" y="12"/>
                    </a:cubicBezTo>
                    <a:cubicBezTo>
                      <a:pt x="6" y="12"/>
                      <a:pt x="15" y="9"/>
                      <a:pt x="15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1" name="任意多边形: 形状 930">
                <a:extLst>
                  <a:ext uri="{FF2B5EF4-FFF2-40B4-BE49-F238E27FC236}">
                    <a16:creationId xmlns:a16="http://schemas.microsoft.com/office/drawing/2014/main" id="{CF22BC04-B580-4E73-BDF3-BB4ED9C7C7B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0" y="2071"/>
                <a:ext cx="17" cy="12"/>
              </a:xfrm>
              <a:custGeom>
                <a:avLst/>
                <a:gdLst>
                  <a:gd name="T0" fmla="*/ 8 w 8"/>
                  <a:gd name="T1" fmla="*/ 4 h 6"/>
                  <a:gd name="T2" fmla="*/ 2 w 8"/>
                  <a:gd name="T3" fmla="*/ 4 h 6"/>
                  <a:gd name="T4" fmla="*/ 8 w 8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8" y="4"/>
                    </a:moveTo>
                    <a:cubicBezTo>
                      <a:pt x="6" y="2"/>
                      <a:pt x="0" y="0"/>
                      <a:pt x="2" y="4"/>
                    </a:cubicBezTo>
                    <a:cubicBezTo>
                      <a:pt x="4" y="4"/>
                      <a:pt x="6" y="6"/>
                      <a:pt x="8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2" name="任意多边形: 形状 931">
                <a:extLst>
                  <a:ext uri="{FF2B5EF4-FFF2-40B4-BE49-F238E27FC236}">
                    <a16:creationId xmlns:a16="http://schemas.microsoft.com/office/drawing/2014/main" id="{B323C6B8-F5FD-4665-90ED-AA24F3560F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26" y="1953"/>
                <a:ext cx="10" cy="12"/>
              </a:xfrm>
              <a:custGeom>
                <a:avLst/>
                <a:gdLst>
                  <a:gd name="T0" fmla="*/ 4 w 5"/>
                  <a:gd name="T1" fmla="*/ 0 h 6"/>
                  <a:gd name="T2" fmla="*/ 0 w 5"/>
                  <a:gd name="T3" fmla="*/ 5 h 6"/>
                  <a:gd name="T4" fmla="*/ 4 w 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0"/>
                    </a:moveTo>
                    <a:cubicBezTo>
                      <a:pt x="2" y="1"/>
                      <a:pt x="0" y="3"/>
                      <a:pt x="0" y="5"/>
                    </a:cubicBezTo>
                    <a:cubicBezTo>
                      <a:pt x="3" y="6"/>
                      <a:pt x="5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3" name="任意多边形: 形状 932">
                <a:extLst>
                  <a:ext uri="{FF2B5EF4-FFF2-40B4-BE49-F238E27FC236}">
                    <a16:creationId xmlns:a16="http://schemas.microsoft.com/office/drawing/2014/main" id="{8B4C961F-854E-425E-A869-B4E291A6A4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3" y="1928"/>
                <a:ext cx="10" cy="14"/>
              </a:xfrm>
              <a:custGeom>
                <a:avLst/>
                <a:gdLst>
                  <a:gd name="T0" fmla="*/ 0 w 5"/>
                  <a:gd name="T1" fmla="*/ 1 h 7"/>
                  <a:gd name="T2" fmla="*/ 2 w 5"/>
                  <a:gd name="T3" fmla="*/ 7 h 7"/>
                  <a:gd name="T4" fmla="*/ 0 w 5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1"/>
                    </a:moveTo>
                    <a:cubicBezTo>
                      <a:pt x="2" y="4"/>
                      <a:pt x="0" y="4"/>
                      <a:pt x="2" y="7"/>
                    </a:cubicBezTo>
                    <a:cubicBezTo>
                      <a:pt x="5" y="6"/>
                      <a:pt x="2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4" name="任意多边形: 形状 933">
                <a:extLst>
                  <a:ext uri="{FF2B5EF4-FFF2-40B4-BE49-F238E27FC236}">
                    <a16:creationId xmlns:a16="http://schemas.microsoft.com/office/drawing/2014/main" id="{E551FCB2-B387-460F-9F25-4908D4877FA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62" y="1585"/>
                <a:ext cx="14" cy="15"/>
              </a:xfrm>
              <a:custGeom>
                <a:avLst/>
                <a:gdLst>
                  <a:gd name="T0" fmla="*/ 7 w 7"/>
                  <a:gd name="T1" fmla="*/ 5 h 7"/>
                  <a:gd name="T2" fmla="*/ 1 w 7"/>
                  <a:gd name="T3" fmla="*/ 6 h 7"/>
                  <a:gd name="T4" fmla="*/ 7 w 7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7" y="5"/>
                    </a:moveTo>
                    <a:cubicBezTo>
                      <a:pt x="4" y="0"/>
                      <a:pt x="0" y="3"/>
                      <a:pt x="1" y="6"/>
                    </a:cubicBezTo>
                    <a:cubicBezTo>
                      <a:pt x="3" y="3"/>
                      <a:pt x="5" y="7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5" name="任意多边形: 形状 934">
                <a:extLst>
                  <a:ext uri="{FF2B5EF4-FFF2-40B4-BE49-F238E27FC236}">
                    <a16:creationId xmlns:a16="http://schemas.microsoft.com/office/drawing/2014/main" id="{5AAF7A3D-DB1C-424A-80D3-92EC9EE17E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2" y="1967"/>
                <a:ext cx="17" cy="15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0 h 7"/>
                  <a:gd name="T4" fmla="*/ 0 w 8"/>
                  <a:gd name="T5" fmla="*/ 3 h 7"/>
                  <a:gd name="T6" fmla="*/ 1 w 8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4" y="4"/>
                      <a:pt x="5" y="3"/>
                      <a:pt x="8" y="0"/>
                    </a:cubicBezTo>
                    <a:cubicBezTo>
                      <a:pt x="5" y="2"/>
                      <a:pt x="3" y="1"/>
                      <a:pt x="0" y="3"/>
                    </a:cubicBezTo>
                    <a:cubicBezTo>
                      <a:pt x="1" y="5"/>
                      <a:pt x="0" y="6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6" name="任意多边形: 形状 935">
                <a:extLst>
                  <a:ext uri="{FF2B5EF4-FFF2-40B4-BE49-F238E27FC236}">
                    <a16:creationId xmlns:a16="http://schemas.microsoft.com/office/drawing/2014/main" id="{F0B57EEB-5248-4629-88D0-F4CE55DBE6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59" y="1901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2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2" y="5"/>
                      <a:pt x="5" y="4"/>
                      <a:pt x="2" y="0"/>
                    </a:cubicBezTo>
                    <a:cubicBezTo>
                      <a:pt x="1" y="1"/>
                      <a:pt x="0" y="4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7" name="任意多边形: 形状 936">
                <a:extLst>
                  <a:ext uri="{FF2B5EF4-FFF2-40B4-BE49-F238E27FC236}">
                    <a16:creationId xmlns:a16="http://schemas.microsoft.com/office/drawing/2014/main" id="{5A81B770-9B45-46D1-8ABF-04328BB921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48" y="2036"/>
                <a:ext cx="17" cy="14"/>
              </a:xfrm>
              <a:custGeom>
                <a:avLst/>
                <a:gdLst>
                  <a:gd name="T0" fmla="*/ 0 w 8"/>
                  <a:gd name="T1" fmla="*/ 4 h 7"/>
                  <a:gd name="T2" fmla="*/ 8 w 8"/>
                  <a:gd name="T3" fmla="*/ 2 h 7"/>
                  <a:gd name="T4" fmla="*/ 0 w 8"/>
                  <a:gd name="T5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0" y="4"/>
                    </a:moveTo>
                    <a:cubicBezTo>
                      <a:pt x="2" y="7"/>
                      <a:pt x="8" y="6"/>
                      <a:pt x="8" y="2"/>
                    </a:cubicBezTo>
                    <a:cubicBezTo>
                      <a:pt x="6" y="4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8" name="任意多边形: 形状 937">
                <a:extLst>
                  <a:ext uri="{FF2B5EF4-FFF2-40B4-BE49-F238E27FC236}">
                    <a16:creationId xmlns:a16="http://schemas.microsoft.com/office/drawing/2014/main" id="{8C5A2940-8548-4C22-A81B-E3775587FA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1969"/>
                <a:ext cx="19" cy="17"/>
              </a:xfrm>
              <a:custGeom>
                <a:avLst/>
                <a:gdLst>
                  <a:gd name="T0" fmla="*/ 0 w 9"/>
                  <a:gd name="T1" fmla="*/ 4 h 8"/>
                  <a:gd name="T2" fmla="*/ 6 w 9"/>
                  <a:gd name="T3" fmla="*/ 0 h 8"/>
                  <a:gd name="T4" fmla="*/ 0 w 9"/>
                  <a:gd name="T5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8">
                    <a:moveTo>
                      <a:pt x="0" y="4"/>
                    </a:moveTo>
                    <a:cubicBezTo>
                      <a:pt x="3" y="8"/>
                      <a:pt x="9" y="5"/>
                      <a:pt x="6" y="0"/>
                    </a:cubicBezTo>
                    <a:lnTo>
                      <a:pt x="0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39" name="任意多边形: 形状 938">
                <a:extLst>
                  <a:ext uri="{FF2B5EF4-FFF2-40B4-BE49-F238E27FC236}">
                    <a16:creationId xmlns:a16="http://schemas.microsoft.com/office/drawing/2014/main" id="{4D3423C8-08B8-4118-BF35-8CC79BEF55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4" y="1909"/>
                <a:ext cx="17" cy="23"/>
              </a:xfrm>
              <a:custGeom>
                <a:avLst/>
                <a:gdLst>
                  <a:gd name="T0" fmla="*/ 7 w 8"/>
                  <a:gd name="T1" fmla="*/ 0 h 11"/>
                  <a:gd name="T2" fmla="*/ 2 w 8"/>
                  <a:gd name="T3" fmla="*/ 11 h 11"/>
                  <a:gd name="T4" fmla="*/ 7 w 8"/>
                  <a:gd name="T5" fmla="*/ 7 h 11"/>
                  <a:gd name="T6" fmla="*/ 7 w 8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7" y="0"/>
                    </a:moveTo>
                    <a:cubicBezTo>
                      <a:pt x="4" y="3"/>
                      <a:pt x="0" y="6"/>
                      <a:pt x="2" y="11"/>
                    </a:cubicBezTo>
                    <a:cubicBezTo>
                      <a:pt x="6" y="10"/>
                      <a:pt x="3" y="3"/>
                      <a:pt x="7" y="7"/>
                    </a:cubicBezTo>
                    <a:cubicBezTo>
                      <a:pt x="6" y="4"/>
                      <a:pt x="8" y="3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0" name="任意多边形: 形状 939">
                <a:extLst>
                  <a:ext uri="{FF2B5EF4-FFF2-40B4-BE49-F238E27FC236}">
                    <a16:creationId xmlns:a16="http://schemas.microsoft.com/office/drawing/2014/main" id="{BC8ACB31-4324-41CE-814A-CF1420AF38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93" y="1575"/>
                <a:ext cx="19" cy="12"/>
              </a:xfrm>
              <a:custGeom>
                <a:avLst/>
                <a:gdLst>
                  <a:gd name="T0" fmla="*/ 3 w 9"/>
                  <a:gd name="T1" fmla="*/ 6 h 6"/>
                  <a:gd name="T2" fmla="*/ 9 w 9"/>
                  <a:gd name="T3" fmla="*/ 4 h 6"/>
                  <a:gd name="T4" fmla="*/ 3 w 9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3" y="6"/>
                    </a:moveTo>
                    <a:cubicBezTo>
                      <a:pt x="5" y="4"/>
                      <a:pt x="7" y="5"/>
                      <a:pt x="9" y="4"/>
                    </a:cubicBezTo>
                    <a:cubicBezTo>
                      <a:pt x="8" y="0"/>
                      <a:pt x="0" y="2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1" name="任意多边形: 形状 940">
                <a:extLst>
                  <a:ext uri="{FF2B5EF4-FFF2-40B4-BE49-F238E27FC236}">
                    <a16:creationId xmlns:a16="http://schemas.microsoft.com/office/drawing/2014/main" id="{E3C41DBC-8C73-4659-B96D-7D7F71BE42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8" y="1869"/>
                <a:ext cx="16" cy="23"/>
              </a:xfrm>
              <a:custGeom>
                <a:avLst/>
                <a:gdLst>
                  <a:gd name="T0" fmla="*/ 0 w 8"/>
                  <a:gd name="T1" fmla="*/ 9 h 11"/>
                  <a:gd name="T2" fmla="*/ 8 w 8"/>
                  <a:gd name="T3" fmla="*/ 6 h 11"/>
                  <a:gd name="T4" fmla="*/ 7 w 8"/>
                  <a:gd name="T5" fmla="*/ 0 h 11"/>
                  <a:gd name="T6" fmla="*/ 0 w 8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0" y="9"/>
                    </a:moveTo>
                    <a:cubicBezTo>
                      <a:pt x="4" y="11"/>
                      <a:pt x="4" y="4"/>
                      <a:pt x="8" y="6"/>
                    </a:cubicBezTo>
                    <a:cubicBezTo>
                      <a:pt x="5" y="3"/>
                      <a:pt x="8" y="3"/>
                      <a:pt x="7" y="0"/>
                    </a:cubicBezTo>
                    <a:cubicBezTo>
                      <a:pt x="4" y="5"/>
                      <a:pt x="1" y="3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2" name="任意多边形: 形状 941">
                <a:extLst>
                  <a:ext uri="{FF2B5EF4-FFF2-40B4-BE49-F238E27FC236}">
                    <a16:creationId xmlns:a16="http://schemas.microsoft.com/office/drawing/2014/main" id="{FFC41BCB-20E2-4437-A0A5-7466A42348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3" y="1899"/>
                <a:ext cx="18" cy="18"/>
              </a:xfrm>
              <a:custGeom>
                <a:avLst/>
                <a:gdLst>
                  <a:gd name="T0" fmla="*/ 1 w 9"/>
                  <a:gd name="T1" fmla="*/ 7 h 9"/>
                  <a:gd name="T2" fmla="*/ 3 w 9"/>
                  <a:gd name="T3" fmla="*/ 8 h 9"/>
                  <a:gd name="T4" fmla="*/ 7 w 9"/>
                  <a:gd name="T5" fmla="*/ 9 h 9"/>
                  <a:gd name="T6" fmla="*/ 9 w 9"/>
                  <a:gd name="T7" fmla="*/ 3 h 9"/>
                  <a:gd name="T8" fmla="*/ 3 w 9"/>
                  <a:gd name="T9" fmla="*/ 1 h 9"/>
                  <a:gd name="T10" fmla="*/ 1 w 9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9">
                    <a:moveTo>
                      <a:pt x="1" y="7"/>
                    </a:moveTo>
                    <a:cubicBezTo>
                      <a:pt x="2" y="7"/>
                      <a:pt x="3" y="7"/>
                      <a:pt x="3" y="8"/>
                    </a:cubicBezTo>
                    <a:cubicBezTo>
                      <a:pt x="6" y="4"/>
                      <a:pt x="4" y="9"/>
                      <a:pt x="7" y="9"/>
                    </a:cubicBezTo>
                    <a:cubicBezTo>
                      <a:pt x="8" y="5"/>
                      <a:pt x="4" y="3"/>
                      <a:pt x="9" y="3"/>
                    </a:cubicBezTo>
                    <a:cubicBezTo>
                      <a:pt x="7" y="0"/>
                      <a:pt x="5" y="3"/>
                      <a:pt x="3" y="1"/>
                    </a:cubicBezTo>
                    <a:cubicBezTo>
                      <a:pt x="4" y="4"/>
                      <a:pt x="0" y="4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3" name="任意多边形: 形状 942">
                <a:extLst>
                  <a:ext uri="{FF2B5EF4-FFF2-40B4-BE49-F238E27FC236}">
                    <a16:creationId xmlns:a16="http://schemas.microsoft.com/office/drawing/2014/main" id="{7321FA62-7739-441B-87FA-9EE7945F50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2036"/>
                <a:ext cx="13" cy="18"/>
              </a:xfrm>
              <a:custGeom>
                <a:avLst/>
                <a:gdLst>
                  <a:gd name="T0" fmla="*/ 1 w 6"/>
                  <a:gd name="T1" fmla="*/ 9 h 9"/>
                  <a:gd name="T2" fmla="*/ 6 w 6"/>
                  <a:gd name="T3" fmla="*/ 3 h 9"/>
                  <a:gd name="T4" fmla="*/ 1 w 6"/>
                  <a:gd name="T5" fmla="*/ 3 h 9"/>
                  <a:gd name="T6" fmla="*/ 3 w 6"/>
                  <a:gd name="T7" fmla="*/ 7 h 9"/>
                  <a:gd name="T8" fmla="*/ 1 w 6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9">
                    <a:moveTo>
                      <a:pt x="1" y="9"/>
                    </a:moveTo>
                    <a:cubicBezTo>
                      <a:pt x="4" y="9"/>
                      <a:pt x="5" y="6"/>
                      <a:pt x="6" y="3"/>
                    </a:cubicBezTo>
                    <a:cubicBezTo>
                      <a:pt x="4" y="3"/>
                      <a:pt x="3" y="0"/>
                      <a:pt x="1" y="3"/>
                    </a:cubicBezTo>
                    <a:cubicBezTo>
                      <a:pt x="2" y="4"/>
                      <a:pt x="3" y="6"/>
                      <a:pt x="3" y="7"/>
                    </a:cubicBezTo>
                    <a:cubicBezTo>
                      <a:pt x="2" y="7"/>
                      <a:pt x="0" y="8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4" name="任意多边形: 形状 943">
                <a:extLst>
                  <a:ext uri="{FF2B5EF4-FFF2-40B4-BE49-F238E27FC236}">
                    <a16:creationId xmlns:a16="http://schemas.microsoft.com/office/drawing/2014/main" id="{BE6F5136-BB0E-48C9-A9A4-915AD2E9DD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7" y="1886"/>
                <a:ext cx="17" cy="23"/>
              </a:xfrm>
              <a:custGeom>
                <a:avLst/>
                <a:gdLst>
                  <a:gd name="T0" fmla="*/ 5 w 8"/>
                  <a:gd name="T1" fmla="*/ 0 h 11"/>
                  <a:gd name="T2" fmla="*/ 0 w 8"/>
                  <a:gd name="T3" fmla="*/ 3 h 11"/>
                  <a:gd name="T4" fmla="*/ 2 w 8"/>
                  <a:gd name="T5" fmla="*/ 8 h 11"/>
                  <a:gd name="T6" fmla="*/ 7 w 8"/>
                  <a:gd name="T7" fmla="*/ 6 h 11"/>
                  <a:gd name="T8" fmla="*/ 3 w 8"/>
                  <a:gd name="T9" fmla="*/ 4 h 11"/>
                  <a:gd name="T10" fmla="*/ 5 w 8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1">
                    <a:moveTo>
                      <a:pt x="5" y="0"/>
                    </a:moveTo>
                    <a:cubicBezTo>
                      <a:pt x="2" y="1"/>
                      <a:pt x="3" y="4"/>
                      <a:pt x="0" y="3"/>
                    </a:cubicBezTo>
                    <a:cubicBezTo>
                      <a:pt x="2" y="5"/>
                      <a:pt x="1" y="6"/>
                      <a:pt x="2" y="8"/>
                    </a:cubicBezTo>
                    <a:cubicBezTo>
                      <a:pt x="4" y="4"/>
                      <a:pt x="8" y="11"/>
                      <a:pt x="7" y="6"/>
                    </a:cubicBezTo>
                    <a:cubicBezTo>
                      <a:pt x="6" y="6"/>
                      <a:pt x="4" y="5"/>
                      <a:pt x="3" y="4"/>
                    </a:cubicBezTo>
                    <a:cubicBezTo>
                      <a:pt x="5" y="4"/>
                      <a:pt x="6" y="2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5" name="任意多边形: 形状 944">
                <a:extLst>
                  <a:ext uri="{FF2B5EF4-FFF2-40B4-BE49-F238E27FC236}">
                    <a16:creationId xmlns:a16="http://schemas.microsoft.com/office/drawing/2014/main" id="{9AEEF49D-5644-4FEF-A490-8F1AE81080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6" y="1896"/>
                <a:ext cx="15" cy="17"/>
              </a:xfrm>
              <a:custGeom>
                <a:avLst/>
                <a:gdLst>
                  <a:gd name="T0" fmla="*/ 6 w 7"/>
                  <a:gd name="T1" fmla="*/ 4 h 8"/>
                  <a:gd name="T2" fmla="*/ 0 w 7"/>
                  <a:gd name="T3" fmla="*/ 3 h 8"/>
                  <a:gd name="T4" fmla="*/ 3 w 7"/>
                  <a:gd name="T5" fmla="*/ 7 h 8"/>
                  <a:gd name="T6" fmla="*/ 3 w 7"/>
                  <a:gd name="T7" fmla="*/ 4 h 8"/>
                  <a:gd name="T8" fmla="*/ 6 w 7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6" y="4"/>
                    </a:moveTo>
                    <a:cubicBezTo>
                      <a:pt x="4" y="4"/>
                      <a:pt x="2" y="0"/>
                      <a:pt x="0" y="3"/>
                    </a:cubicBezTo>
                    <a:cubicBezTo>
                      <a:pt x="1" y="5"/>
                      <a:pt x="2" y="7"/>
                      <a:pt x="3" y="7"/>
                    </a:cubicBezTo>
                    <a:cubicBezTo>
                      <a:pt x="3" y="6"/>
                      <a:pt x="2" y="5"/>
                      <a:pt x="3" y="4"/>
                    </a:cubicBezTo>
                    <a:cubicBezTo>
                      <a:pt x="4" y="4"/>
                      <a:pt x="7" y="8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6" name="任意多边形: 形状 945">
                <a:extLst>
                  <a:ext uri="{FF2B5EF4-FFF2-40B4-BE49-F238E27FC236}">
                    <a16:creationId xmlns:a16="http://schemas.microsoft.com/office/drawing/2014/main" id="{3D1688E1-7BA1-47C9-9025-51943067D6D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1" y="1863"/>
                <a:ext cx="13" cy="11"/>
              </a:xfrm>
              <a:custGeom>
                <a:avLst/>
                <a:gdLst>
                  <a:gd name="T0" fmla="*/ 2 w 6"/>
                  <a:gd name="T1" fmla="*/ 0 h 5"/>
                  <a:gd name="T2" fmla="*/ 0 w 6"/>
                  <a:gd name="T3" fmla="*/ 2 h 5"/>
                  <a:gd name="T4" fmla="*/ 6 w 6"/>
                  <a:gd name="T5" fmla="*/ 5 h 5"/>
                  <a:gd name="T6" fmla="*/ 2 w 6"/>
                  <a:gd name="T7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2" y="0"/>
                    </a:moveTo>
                    <a:cubicBezTo>
                      <a:pt x="1" y="0"/>
                      <a:pt x="0" y="1"/>
                      <a:pt x="0" y="2"/>
                    </a:cubicBezTo>
                    <a:cubicBezTo>
                      <a:pt x="2" y="1"/>
                      <a:pt x="4" y="4"/>
                      <a:pt x="6" y="5"/>
                    </a:cubicBezTo>
                    <a:cubicBezTo>
                      <a:pt x="5" y="2"/>
                      <a:pt x="3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7" name="任意多边形: 形状 946">
                <a:extLst>
                  <a:ext uri="{FF2B5EF4-FFF2-40B4-BE49-F238E27FC236}">
                    <a16:creationId xmlns:a16="http://schemas.microsoft.com/office/drawing/2014/main" id="{5746EAD0-1D02-4CC8-A30B-AA5DBB9A2F4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48" y="1896"/>
                <a:ext cx="15" cy="15"/>
              </a:xfrm>
              <a:custGeom>
                <a:avLst/>
                <a:gdLst>
                  <a:gd name="T0" fmla="*/ 1 w 7"/>
                  <a:gd name="T1" fmla="*/ 0 h 7"/>
                  <a:gd name="T2" fmla="*/ 2 w 7"/>
                  <a:gd name="T3" fmla="*/ 7 h 7"/>
                  <a:gd name="T4" fmla="*/ 6 w 7"/>
                  <a:gd name="T5" fmla="*/ 3 h 7"/>
                  <a:gd name="T6" fmla="*/ 1 w 7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7">
                    <a:moveTo>
                      <a:pt x="1" y="0"/>
                    </a:moveTo>
                    <a:cubicBezTo>
                      <a:pt x="5" y="4"/>
                      <a:pt x="0" y="4"/>
                      <a:pt x="2" y="7"/>
                    </a:cubicBezTo>
                    <a:cubicBezTo>
                      <a:pt x="3" y="6"/>
                      <a:pt x="7" y="6"/>
                      <a:pt x="6" y="3"/>
                    </a:cubicBezTo>
                    <a:cubicBezTo>
                      <a:pt x="4" y="4"/>
                      <a:pt x="3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8" name="任意多边形: 形状 947">
                <a:extLst>
                  <a:ext uri="{FF2B5EF4-FFF2-40B4-BE49-F238E27FC236}">
                    <a16:creationId xmlns:a16="http://schemas.microsoft.com/office/drawing/2014/main" id="{55C9498E-FBEE-43EB-9705-D80310917C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8" y="1946"/>
                <a:ext cx="16" cy="17"/>
              </a:xfrm>
              <a:custGeom>
                <a:avLst/>
                <a:gdLst>
                  <a:gd name="T0" fmla="*/ 8 w 8"/>
                  <a:gd name="T1" fmla="*/ 6 h 8"/>
                  <a:gd name="T2" fmla="*/ 5 w 8"/>
                  <a:gd name="T3" fmla="*/ 8 h 8"/>
                  <a:gd name="T4" fmla="*/ 8 w 8"/>
                  <a:gd name="T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8" y="6"/>
                    </a:moveTo>
                    <a:cubicBezTo>
                      <a:pt x="5" y="0"/>
                      <a:pt x="0" y="7"/>
                      <a:pt x="5" y="8"/>
                    </a:cubicBezTo>
                    <a:cubicBezTo>
                      <a:pt x="3" y="5"/>
                      <a:pt x="7" y="6"/>
                      <a:pt x="8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49" name="任意多边形: 形状 948">
                <a:extLst>
                  <a:ext uri="{FF2B5EF4-FFF2-40B4-BE49-F238E27FC236}">
                    <a16:creationId xmlns:a16="http://schemas.microsoft.com/office/drawing/2014/main" id="{B5B3DB47-47F8-4960-B567-1537D4950B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1" y="1882"/>
                <a:ext cx="10" cy="23"/>
              </a:xfrm>
              <a:custGeom>
                <a:avLst/>
                <a:gdLst>
                  <a:gd name="T0" fmla="*/ 5 w 5"/>
                  <a:gd name="T1" fmla="*/ 6 h 11"/>
                  <a:gd name="T2" fmla="*/ 3 w 5"/>
                  <a:gd name="T3" fmla="*/ 5 h 11"/>
                  <a:gd name="T4" fmla="*/ 5 w 5"/>
                  <a:gd name="T5" fmla="*/ 3 h 11"/>
                  <a:gd name="T6" fmla="*/ 1 w 5"/>
                  <a:gd name="T7" fmla="*/ 0 h 11"/>
                  <a:gd name="T8" fmla="*/ 5 w 5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11">
                    <a:moveTo>
                      <a:pt x="5" y="6"/>
                    </a:moveTo>
                    <a:cubicBezTo>
                      <a:pt x="4" y="6"/>
                      <a:pt x="4" y="6"/>
                      <a:pt x="3" y="5"/>
                    </a:cubicBezTo>
                    <a:cubicBezTo>
                      <a:pt x="4" y="5"/>
                      <a:pt x="5" y="4"/>
                      <a:pt x="5" y="3"/>
                    </a:cubicBezTo>
                    <a:cubicBezTo>
                      <a:pt x="4" y="4"/>
                      <a:pt x="3" y="0"/>
                      <a:pt x="1" y="0"/>
                    </a:cubicBezTo>
                    <a:cubicBezTo>
                      <a:pt x="0" y="2"/>
                      <a:pt x="5" y="11"/>
                      <a:pt x="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0" name="任意多边形: 形状 949">
                <a:extLst>
                  <a:ext uri="{FF2B5EF4-FFF2-40B4-BE49-F238E27FC236}">
                    <a16:creationId xmlns:a16="http://schemas.microsoft.com/office/drawing/2014/main" id="{2ED36D2F-E302-4C34-8E4F-E6059327C0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4" y="1930"/>
                <a:ext cx="18" cy="20"/>
              </a:xfrm>
              <a:custGeom>
                <a:avLst/>
                <a:gdLst>
                  <a:gd name="T0" fmla="*/ 6 w 9"/>
                  <a:gd name="T1" fmla="*/ 7 h 10"/>
                  <a:gd name="T2" fmla="*/ 9 w 9"/>
                  <a:gd name="T3" fmla="*/ 8 h 10"/>
                  <a:gd name="T4" fmla="*/ 7 w 9"/>
                  <a:gd name="T5" fmla="*/ 1 h 10"/>
                  <a:gd name="T6" fmla="*/ 0 w 9"/>
                  <a:gd name="T7" fmla="*/ 0 h 10"/>
                  <a:gd name="T8" fmla="*/ 3 w 9"/>
                  <a:gd name="T9" fmla="*/ 9 h 10"/>
                  <a:gd name="T10" fmla="*/ 6 w 9"/>
                  <a:gd name="T11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0">
                    <a:moveTo>
                      <a:pt x="6" y="7"/>
                    </a:moveTo>
                    <a:cubicBezTo>
                      <a:pt x="7" y="8"/>
                      <a:pt x="8" y="10"/>
                      <a:pt x="9" y="8"/>
                    </a:cubicBezTo>
                    <a:cubicBezTo>
                      <a:pt x="5" y="4"/>
                      <a:pt x="5" y="5"/>
                      <a:pt x="7" y="1"/>
                    </a:cubicBezTo>
                    <a:cubicBezTo>
                      <a:pt x="4" y="2"/>
                      <a:pt x="4" y="2"/>
                      <a:pt x="0" y="0"/>
                    </a:cubicBezTo>
                    <a:cubicBezTo>
                      <a:pt x="1" y="4"/>
                      <a:pt x="3" y="5"/>
                      <a:pt x="3" y="9"/>
                    </a:cubicBezTo>
                    <a:cubicBezTo>
                      <a:pt x="5" y="10"/>
                      <a:pt x="6" y="9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1" name="任意多边形: 形状 950">
                <a:extLst>
                  <a:ext uri="{FF2B5EF4-FFF2-40B4-BE49-F238E27FC236}">
                    <a16:creationId xmlns:a16="http://schemas.microsoft.com/office/drawing/2014/main" id="{9594954A-740B-4F95-B216-236522F2164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886"/>
                <a:ext cx="12" cy="10"/>
              </a:xfrm>
              <a:custGeom>
                <a:avLst/>
                <a:gdLst>
                  <a:gd name="T0" fmla="*/ 2 w 6"/>
                  <a:gd name="T1" fmla="*/ 5 h 5"/>
                  <a:gd name="T2" fmla="*/ 6 w 6"/>
                  <a:gd name="T3" fmla="*/ 4 h 5"/>
                  <a:gd name="T4" fmla="*/ 0 w 6"/>
                  <a:gd name="T5" fmla="*/ 0 h 5"/>
                  <a:gd name="T6" fmla="*/ 2 w 6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3" y="4"/>
                      <a:pt x="4" y="5"/>
                      <a:pt x="6" y="4"/>
                    </a:cubicBezTo>
                    <a:cubicBezTo>
                      <a:pt x="4" y="1"/>
                      <a:pt x="2" y="0"/>
                      <a:pt x="0" y="0"/>
                    </a:cubicBezTo>
                    <a:cubicBezTo>
                      <a:pt x="1" y="2"/>
                      <a:pt x="2" y="4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2" name="任意多边形: 形状 951">
                <a:extLst>
                  <a:ext uri="{FF2B5EF4-FFF2-40B4-BE49-F238E27FC236}">
                    <a16:creationId xmlns:a16="http://schemas.microsoft.com/office/drawing/2014/main" id="{ECAC0BA5-0C25-4F59-A347-CBABA88AD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4" y="2098"/>
                <a:ext cx="10" cy="18"/>
              </a:xfrm>
              <a:custGeom>
                <a:avLst/>
                <a:gdLst>
                  <a:gd name="T0" fmla="*/ 5 w 5"/>
                  <a:gd name="T1" fmla="*/ 9 h 9"/>
                  <a:gd name="T2" fmla="*/ 3 w 5"/>
                  <a:gd name="T3" fmla="*/ 0 h 9"/>
                  <a:gd name="T4" fmla="*/ 5 w 5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5" y="9"/>
                    </a:moveTo>
                    <a:cubicBezTo>
                      <a:pt x="4" y="6"/>
                      <a:pt x="3" y="3"/>
                      <a:pt x="3" y="0"/>
                    </a:cubicBezTo>
                    <a:cubicBezTo>
                      <a:pt x="0" y="1"/>
                      <a:pt x="3" y="8"/>
                      <a:pt x="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3" name="任意多边形: 形状 952">
                <a:extLst>
                  <a:ext uri="{FF2B5EF4-FFF2-40B4-BE49-F238E27FC236}">
                    <a16:creationId xmlns:a16="http://schemas.microsoft.com/office/drawing/2014/main" id="{4D68E80F-A585-4934-A5F3-1C7CA73F394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0" y="1708"/>
                <a:ext cx="14" cy="10"/>
              </a:xfrm>
              <a:custGeom>
                <a:avLst/>
                <a:gdLst>
                  <a:gd name="T0" fmla="*/ 7 w 7"/>
                  <a:gd name="T1" fmla="*/ 2 h 5"/>
                  <a:gd name="T2" fmla="*/ 0 w 7"/>
                  <a:gd name="T3" fmla="*/ 1 h 5"/>
                  <a:gd name="T4" fmla="*/ 7 w 7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7" y="2"/>
                    </a:moveTo>
                    <a:cubicBezTo>
                      <a:pt x="5" y="2"/>
                      <a:pt x="3" y="0"/>
                      <a:pt x="0" y="1"/>
                    </a:cubicBezTo>
                    <a:cubicBezTo>
                      <a:pt x="2" y="4"/>
                      <a:pt x="7" y="5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4" name="任意多边形: 形状 953">
                <a:extLst>
                  <a:ext uri="{FF2B5EF4-FFF2-40B4-BE49-F238E27FC236}">
                    <a16:creationId xmlns:a16="http://schemas.microsoft.com/office/drawing/2014/main" id="{FE8A7737-83D6-4F7D-957F-783909BFC87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838"/>
                <a:ext cx="11" cy="17"/>
              </a:xfrm>
              <a:custGeom>
                <a:avLst/>
                <a:gdLst>
                  <a:gd name="T0" fmla="*/ 3 w 5"/>
                  <a:gd name="T1" fmla="*/ 0 h 8"/>
                  <a:gd name="T2" fmla="*/ 0 w 5"/>
                  <a:gd name="T3" fmla="*/ 6 h 8"/>
                  <a:gd name="T4" fmla="*/ 3 w 5"/>
                  <a:gd name="T5" fmla="*/ 7 h 8"/>
                  <a:gd name="T6" fmla="*/ 3 w 5"/>
                  <a:gd name="T7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3" y="0"/>
                    </a:moveTo>
                    <a:cubicBezTo>
                      <a:pt x="1" y="2"/>
                      <a:pt x="0" y="4"/>
                      <a:pt x="0" y="6"/>
                    </a:cubicBezTo>
                    <a:cubicBezTo>
                      <a:pt x="1" y="5"/>
                      <a:pt x="2" y="8"/>
                      <a:pt x="3" y="7"/>
                    </a:cubicBezTo>
                    <a:cubicBezTo>
                      <a:pt x="1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5" name="任意多边形: 形状 954">
                <a:extLst>
                  <a:ext uri="{FF2B5EF4-FFF2-40B4-BE49-F238E27FC236}">
                    <a16:creationId xmlns:a16="http://schemas.microsoft.com/office/drawing/2014/main" id="{5CE94B4B-A780-49C6-8E06-C5506F6709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1699"/>
                <a:ext cx="14" cy="11"/>
              </a:xfrm>
              <a:custGeom>
                <a:avLst/>
                <a:gdLst>
                  <a:gd name="T0" fmla="*/ 0 w 7"/>
                  <a:gd name="T1" fmla="*/ 3 h 5"/>
                  <a:gd name="T2" fmla="*/ 1 w 7"/>
                  <a:gd name="T3" fmla="*/ 5 h 5"/>
                  <a:gd name="T4" fmla="*/ 5 w 7"/>
                  <a:gd name="T5" fmla="*/ 0 h 5"/>
                  <a:gd name="T6" fmla="*/ 0 w 7"/>
                  <a:gd name="T7" fmla="*/ 1 h 5"/>
                  <a:gd name="T8" fmla="*/ 0 w 7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cubicBezTo>
                      <a:pt x="1" y="5"/>
                      <a:pt x="1" y="5"/>
                      <a:pt x="1" y="5"/>
                    </a:cubicBezTo>
                    <a:cubicBezTo>
                      <a:pt x="4" y="3"/>
                      <a:pt x="7" y="5"/>
                      <a:pt x="5" y="0"/>
                    </a:cubicBezTo>
                    <a:cubicBezTo>
                      <a:pt x="2" y="1"/>
                      <a:pt x="3" y="4"/>
                      <a:pt x="0" y="1"/>
                    </a:cubicBezTo>
                    <a:cubicBezTo>
                      <a:pt x="0" y="2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6" name="任意多边形: 形状 955">
                <a:extLst>
                  <a:ext uri="{FF2B5EF4-FFF2-40B4-BE49-F238E27FC236}">
                    <a16:creationId xmlns:a16="http://schemas.microsoft.com/office/drawing/2014/main" id="{DC515903-A9DA-4BC3-9312-9D5FAE6B60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2054"/>
                <a:ext cx="27" cy="15"/>
              </a:xfrm>
              <a:custGeom>
                <a:avLst/>
                <a:gdLst>
                  <a:gd name="T0" fmla="*/ 12 w 13"/>
                  <a:gd name="T1" fmla="*/ 0 h 7"/>
                  <a:gd name="T2" fmla="*/ 0 w 13"/>
                  <a:gd name="T3" fmla="*/ 3 h 7"/>
                  <a:gd name="T4" fmla="*/ 6 w 13"/>
                  <a:gd name="T5" fmla="*/ 6 h 7"/>
                  <a:gd name="T6" fmla="*/ 12 w 13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7">
                    <a:moveTo>
                      <a:pt x="12" y="0"/>
                    </a:moveTo>
                    <a:cubicBezTo>
                      <a:pt x="7" y="1"/>
                      <a:pt x="3" y="2"/>
                      <a:pt x="0" y="3"/>
                    </a:cubicBezTo>
                    <a:cubicBezTo>
                      <a:pt x="2" y="6"/>
                      <a:pt x="4" y="7"/>
                      <a:pt x="6" y="6"/>
                    </a:cubicBezTo>
                    <a:cubicBezTo>
                      <a:pt x="4" y="1"/>
                      <a:pt x="13" y="5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7" name="任意多边形: 形状 956">
                <a:extLst>
                  <a:ext uri="{FF2B5EF4-FFF2-40B4-BE49-F238E27FC236}">
                    <a16:creationId xmlns:a16="http://schemas.microsoft.com/office/drawing/2014/main" id="{414D11B0-19E9-4B3B-8107-2537D91AB1E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09" y="1689"/>
                <a:ext cx="23" cy="23"/>
              </a:xfrm>
              <a:custGeom>
                <a:avLst/>
                <a:gdLst>
                  <a:gd name="T0" fmla="*/ 7 w 11"/>
                  <a:gd name="T1" fmla="*/ 11 h 11"/>
                  <a:gd name="T2" fmla="*/ 11 w 11"/>
                  <a:gd name="T3" fmla="*/ 4 h 11"/>
                  <a:gd name="T4" fmla="*/ 5 w 11"/>
                  <a:gd name="T5" fmla="*/ 2 h 11"/>
                  <a:gd name="T6" fmla="*/ 5 w 11"/>
                  <a:gd name="T7" fmla="*/ 8 h 11"/>
                  <a:gd name="T8" fmla="*/ 4 w 11"/>
                  <a:gd name="T9" fmla="*/ 3 h 11"/>
                  <a:gd name="T10" fmla="*/ 7 w 11"/>
                  <a:gd name="T11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11">
                    <a:moveTo>
                      <a:pt x="7" y="11"/>
                    </a:moveTo>
                    <a:cubicBezTo>
                      <a:pt x="6" y="7"/>
                      <a:pt x="8" y="5"/>
                      <a:pt x="11" y="4"/>
                    </a:cubicBezTo>
                    <a:cubicBezTo>
                      <a:pt x="9" y="0"/>
                      <a:pt x="7" y="5"/>
                      <a:pt x="5" y="2"/>
                    </a:cubicBezTo>
                    <a:cubicBezTo>
                      <a:pt x="5" y="4"/>
                      <a:pt x="7" y="7"/>
                      <a:pt x="5" y="8"/>
                    </a:cubicBezTo>
                    <a:cubicBezTo>
                      <a:pt x="3" y="5"/>
                      <a:pt x="5" y="5"/>
                      <a:pt x="4" y="3"/>
                    </a:cubicBezTo>
                    <a:cubicBezTo>
                      <a:pt x="0" y="5"/>
                      <a:pt x="4" y="10"/>
                      <a:pt x="7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8" name="任意多边形: 形状 957">
                <a:extLst>
                  <a:ext uri="{FF2B5EF4-FFF2-40B4-BE49-F238E27FC236}">
                    <a16:creationId xmlns:a16="http://schemas.microsoft.com/office/drawing/2014/main" id="{FA9FFFAD-6D0A-4898-A0B2-9C25571D72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2" y="1813"/>
                <a:ext cx="17" cy="19"/>
              </a:xfrm>
              <a:custGeom>
                <a:avLst/>
                <a:gdLst>
                  <a:gd name="T0" fmla="*/ 0 w 8"/>
                  <a:gd name="T1" fmla="*/ 5 h 9"/>
                  <a:gd name="T2" fmla="*/ 7 w 8"/>
                  <a:gd name="T3" fmla="*/ 5 h 9"/>
                  <a:gd name="T4" fmla="*/ 0 w 8"/>
                  <a:gd name="T5" fmla="*/ 5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5"/>
                    </a:moveTo>
                    <a:cubicBezTo>
                      <a:pt x="3" y="2"/>
                      <a:pt x="8" y="9"/>
                      <a:pt x="7" y="5"/>
                    </a:cubicBezTo>
                    <a:cubicBezTo>
                      <a:pt x="6" y="4"/>
                      <a:pt x="0" y="0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59" name="任意多边形: 形状 958">
                <a:extLst>
                  <a:ext uri="{FF2B5EF4-FFF2-40B4-BE49-F238E27FC236}">
                    <a16:creationId xmlns:a16="http://schemas.microsoft.com/office/drawing/2014/main" id="{BB115B5B-6FCF-46AF-A484-D1FFB5766E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2013"/>
                <a:ext cx="16" cy="31"/>
              </a:xfrm>
              <a:custGeom>
                <a:avLst/>
                <a:gdLst>
                  <a:gd name="T0" fmla="*/ 0 w 8"/>
                  <a:gd name="T1" fmla="*/ 10 h 15"/>
                  <a:gd name="T2" fmla="*/ 6 w 8"/>
                  <a:gd name="T3" fmla="*/ 12 h 15"/>
                  <a:gd name="T4" fmla="*/ 8 w 8"/>
                  <a:gd name="T5" fmla="*/ 5 h 15"/>
                  <a:gd name="T6" fmla="*/ 4 w 8"/>
                  <a:gd name="T7" fmla="*/ 0 h 15"/>
                  <a:gd name="T8" fmla="*/ 0 w 8"/>
                  <a:gd name="T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5">
                    <a:moveTo>
                      <a:pt x="0" y="10"/>
                    </a:moveTo>
                    <a:cubicBezTo>
                      <a:pt x="2" y="9"/>
                      <a:pt x="4" y="15"/>
                      <a:pt x="6" y="12"/>
                    </a:cubicBezTo>
                    <a:cubicBezTo>
                      <a:pt x="2" y="8"/>
                      <a:pt x="7" y="8"/>
                      <a:pt x="8" y="5"/>
                    </a:cubicBezTo>
                    <a:cubicBezTo>
                      <a:pt x="5" y="2"/>
                      <a:pt x="6" y="3"/>
                      <a:pt x="4" y="0"/>
                    </a:cubicBezTo>
                    <a:cubicBezTo>
                      <a:pt x="6" y="7"/>
                      <a:pt x="1" y="7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0" name="任意多边形: 形状 959">
                <a:extLst>
                  <a:ext uri="{FF2B5EF4-FFF2-40B4-BE49-F238E27FC236}">
                    <a16:creationId xmlns:a16="http://schemas.microsoft.com/office/drawing/2014/main" id="{703B8428-20CD-4431-B985-A46419D2196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27" y="2029"/>
                <a:ext cx="19" cy="15"/>
              </a:xfrm>
              <a:custGeom>
                <a:avLst/>
                <a:gdLst>
                  <a:gd name="T0" fmla="*/ 1 w 9"/>
                  <a:gd name="T1" fmla="*/ 2 h 7"/>
                  <a:gd name="T2" fmla="*/ 1 w 9"/>
                  <a:gd name="T3" fmla="*/ 7 h 7"/>
                  <a:gd name="T4" fmla="*/ 9 w 9"/>
                  <a:gd name="T5" fmla="*/ 3 h 7"/>
                  <a:gd name="T6" fmla="*/ 1 w 9"/>
                  <a:gd name="T7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1" y="2"/>
                    </a:moveTo>
                    <a:cubicBezTo>
                      <a:pt x="1" y="4"/>
                      <a:pt x="0" y="5"/>
                      <a:pt x="1" y="7"/>
                    </a:cubicBezTo>
                    <a:cubicBezTo>
                      <a:pt x="3" y="3"/>
                      <a:pt x="5" y="4"/>
                      <a:pt x="9" y="3"/>
                    </a:cubicBezTo>
                    <a:cubicBezTo>
                      <a:pt x="6" y="0"/>
                      <a:pt x="3" y="0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1" name="任意多边形: 形状 960">
                <a:extLst>
                  <a:ext uri="{FF2B5EF4-FFF2-40B4-BE49-F238E27FC236}">
                    <a16:creationId xmlns:a16="http://schemas.microsoft.com/office/drawing/2014/main" id="{B91A877E-C4EC-459D-A6B0-40C1C01168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7" y="2110"/>
                <a:ext cx="9" cy="17"/>
              </a:xfrm>
              <a:custGeom>
                <a:avLst/>
                <a:gdLst>
                  <a:gd name="T0" fmla="*/ 1 w 4"/>
                  <a:gd name="T1" fmla="*/ 8 h 8"/>
                  <a:gd name="T2" fmla="*/ 3 w 4"/>
                  <a:gd name="T3" fmla="*/ 2 h 8"/>
                  <a:gd name="T4" fmla="*/ 1 w 4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8">
                    <a:moveTo>
                      <a:pt x="1" y="8"/>
                    </a:moveTo>
                    <a:cubicBezTo>
                      <a:pt x="4" y="7"/>
                      <a:pt x="3" y="4"/>
                      <a:pt x="3" y="2"/>
                    </a:cubicBezTo>
                    <a:cubicBezTo>
                      <a:pt x="0" y="0"/>
                      <a:pt x="1" y="5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2" name="任意多边形: 形状 961">
                <a:extLst>
                  <a:ext uri="{FF2B5EF4-FFF2-40B4-BE49-F238E27FC236}">
                    <a16:creationId xmlns:a16="http://schemas.microsoft.com/office/drawing/2014/main" id="{C0BD6246-481C-4830-BE02-AE2644D3822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2" y="1950"/>
                <a:ext cx="14" cy="13"/>
              </a:xfrm>
              <a:custGeom>
                <a:avLst/>
                <a:gdLst>
                  <a:gd name="T0" fmla="*/ 1 w 7"/>
                  <a:gd name="T1" fmla="*/ 3 h 6"/>
                  <a:gd name="T2" fmla="*/ 4 w 7"/>
                  <a:gd name="T3" fmla="*/ 3 h 6"/>
                  <a:gd name="T4" fmla="*/ 6 w 7"/>
                  <a:gd name="T5" fmla="*/ 5 h 6"/>
                  <a:gd name="T6" fmla="*/ 2 w 7"/>
                  <a:gd name="T7" fmla="*/ 0 h 6"/>
                  <a:gd name="T8" fmla="*/ 1 w 7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6">
                    <a:moveTo>
                      <a:pt x="1" y="3"/>
                    </a:moveTo>
                    <a:cubicBezTo>
                      <a:pt x="2" y="3"/>
                      <a:pt x="3" y="2"/>
                      <a:pt x="4" y="3"/>
                    </a:cubicBezTo>
                    <a:cubicBezTo>
                      <a:pt x="5" y="5"/>
                      <a:pt x="4" y="6"/>
                      <a:pt x="6" y="5"/>
                    </a:cubicBezTo>
                    <a:cubicBezTo>
                      <a:pt x="7" y="5"/>
                      <a:pt x="3" y="0"/>
                      <a:pt x="2" y="0"/>
                    </a:cubicBezTo>
                    <a:cubicBezTo>
                      <a:pt x="3" y="2"/>
                      <a:pt x="0" y="2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3" name="任意多边形: 形状 962">
                <a:extLst>
                  <a:ext uri="{FF2B5EF4-FFF2-40B4-BE49-F238E27FC236}">
                    <a16:creationId xmlns:a16="http://schemas.microsoft.com/office/drawing/2014/main" id="{CBB50403-9BB9-4CDC-8731-368B8B54399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5" y="2019"/>
                <a:ext cx="19" cy="12"/>
              </a:xfrm>
              <a:custGeom>
                <a:avLst/>
                <a:gdLst>
                  <a:gd name="T0" fmla="*/ 2 w 9"/>
                  <a:gd name="T1" fmla="*/ 5 h 6"/>
                  <a:gd name="T2" fmla="*/ 5 w 9"/>
                  <a:gd name="T3" fmla="*/ 0 h 6"/>
                  <a:gd name="T4" fmla="*/ 2 w 9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2" y="5"/>
                    </a:moveTo>
                    <a:cubicBezTo>
                      <a:pt x="5" y="6"/>
                      <a:pt x="9" y="2"/>
                      <a:pt x="5" y="0"/>
                    </a:cubicBezTo>
                    <a:cubicBezTo>
                      <a:pt x="6" y="4"/>
                      <a:pt x="0" y="0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4" name="任意多边形: 形状 963">
                <a:extLst>
                  <a:ext uri="{FF2B5EF4-FFF2-40B4-BE49-F238E27FC236}">
                    <a16:creationId xmlns:a16="http://schemas.microsoft.com/office/drawing/2014/main" id="{45E455F8-7424-4ACF-B58F-26DC243F27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851"/>
                <a:ext cx="10" cy="12"/>
              </a:xfrm>
              <a:custGeom>
                <a:avLst/>
                <a:gdLst>
                  <a:gd name="T0" fmla="*/ 1 w 5"/>
                  <a:gd name="T1" fmla="*/ 6 h 6"/>
                  <a:gd name="T2" fmla="*/ 3 w 5"/>
                  <a:gd name="T3" fmla="*/ 0 h 6"/>
                  <a:gd name="T4" fmla="*/ 1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3" y="5"/>
                      <a:pt x="5" y="3"/>
                      <a:pt x="3" y="0"/>
                    </a:cubicBezTo>
                    <a:cubicBezTo>
                      <a:pt x="0" y="1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5" name="任意多边形: 形状 964">
                <a:extLst>
                  <a:ext uri="{FF2B5EF4-FFF2-40B4-BE49-F238E27FC236}">
                    <a16:creationId xmlns:a16="http://schemas.microsoft.com/office/drawing/2014/main" id="{239E9273-EA07-4410-B844-6FEAC9A6A34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1776"/>
                <a:ext cx="15" cy="13"/>
              </a:xfrm>
              <a:custGeom>
                <a:avLst/>
                <a:gdLst>
                  <a:gd name="T0" fmla="*/ 7 w 7"/>
                  <a:gd name="T1" fmla="*/ 2 h 6"/>
                  <a:gd name="T2" fmla="*/ 5 w 7"/>
                  <a:gd name="T3" fmla="*/ 0 h 6"/>
                  <a:gd name="T4" fmla="*/ 1 w 7"/>
                  <a:gd name="T5" fmla="*/ 4 h 6"/>
                  <a:gd name="T6" fmla="*/ 7 w 7"/>
                  <a:gd name="T7" fmla="*/ 2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7" y="2"/>
                    </a:moveTo>
                    <a:cubicBezTo>
                      <a:pt x="5" y="2"/>
                      <a:pt x="5" y="2"/>
                      <a:pt x="5" y="0"/>
                    </a:cubicBezTo>
                    <a:cubicBezTo>
                      <a:pt x="4" y="1"/>
                      <a:pt x="0" y="1"/>
                      <a:pt x="1" y="4"/>
                    </a:cubicBezTo>
                    <a:cubicBezTo>
                      <a:pt x="3" y="0"/>
                      <a:pt x="7" y="6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6" name="任意多边形: 形状 965">
                <a:extLst>
                  <a:ext uri="{FF2B5EF4-FFF2-40B4-BE49-F238E27FC236}">
                    <a16:creationId xmlns:a16="http://schemas.microsoft.com/office/drawing/2014/main" id="{103F6673-D0D0-47FF-B27E-B4F78E450F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710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5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3" y="4"/>
                      <a:pt x="5" y="3"/>
                      <a:pt x="5" y="0"/>
                    </a:cubicBezTo>
                    <a:cubicBezTo>
                      <a:pt x="2" y="3"/>
                      <a:pt x="0" y="1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7" name="任意多边形: 形状 966">
                <a:extLst>
                  <a:ext uri="{FF2B5EF4-FFF2-40B4-BE49-F238E27FC236}">
                    <a16:creationId xmlns:a16="http://schemas.microsoft.com/office/drawing/2014/main" id="{DFAEF571-7C01-41DE-923C-A8B6AFBE07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697"/>
                <a:ext cx="8" cy="15"/>
              </a:xfrm>
              <a:custGeom>
                <a:avLst/>
                <a:gdLst>
                  <a:gd name="T0" fmla="*/ 1 w 4"/>
                  <a:gd name="T1" fmla="*/ 0 h 7"/>
                  <a:gd name="T2" fmla="*/ 0 w 4"/>
                  <a:gd name="T3" fmla="*/ 7 h 7"/>
                  <a:gd name="T4" fmla="*/ 1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1" y="0"/>
                    </a:moveTo>
                    <a:cubicBezTo>
                      <a:pt x="3" y="3"/>
                      <a:pt x="0" y="5"/>
                      <a:pt x="0" y="7"/>
                    </a:cubicBezTo>
                    <a:cubicBezTo>
                      <a:pt x="4" y="7"/>
                      <a:pt x="3" y="0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8" name="任意多边形: 形状 967">
                <a:extLst>
                  <a:ext uri="{FF2B5EF4-FFF2-40B4-BE49-F238E27FC236}">
                    <a16:creationId xmlns:a16="http://schemas.microsoft.com/office/drawing/2014/main" id="{E78393F8-2CCA-4522-AACC-20DBB7AE22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4" y="1677"/>
                <a:ext cx="21" cy="37"/>
              </a:xfrm>
              <a:custGeom>
                <a:avLst/>
                <a:gdLst>
                  <a:gd name="T0" fmla="*/ 0 w 10"/>
                  <a:gd name="T1" fmla="*/ 13 h 18"/>
                  <a:gd name="T2" fmla="*/ 2 w 10"/>
                  <a:gd name="T3" fmla="*/ 17 h 18"/>
                  <a:gd name="T4" fmla="*/ 7 w 10"/>
                  <a:gd name="T5" fmla="*/ 13 h 18"/>
                  <a:gd name="T6" fmla="*/ 10 w 10"/>
                  <a:gd name="T7" fmla="*/ 4 h 18"/>
                  <a:gd name="T8" fmla="*/ 7 w 10"/>
                  <a:gd name="T9" fmla="*/ 0 h 18"/>
                  <a:gd name="T10" fmla="*/ 3 w 10"/>
                  <a:gd name="T11" fmla="*/ 10 h 18"/>
                  <a:gd name="T12" fmla="*/ 0 w 10"/>
                  <a:gd name="T13" fmla="*/ 1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8">
                    <a:moveTo>
                      <a:pt x="0" y="13"/>
                    </a:moveTo>
                    <a:cubicBezTo>
                      <a:pt x="1" y="14"/>
                      <a:pt x="2" y="15"/>
                      <a:pt x="2" y="17"/>
                    </a:cubicBezTo>
                    <a:cubicBezTo>
                      <a:pt x="4" y="18"/>
                      <a:pt x="4" y="14"/>
                      <a:pt x="7" y="13"/>
                    </a:cubicBezTo>
                    <a:cubicBezTo>
                      <a:pt x="4" y="8"/>
                      <a:pt x="10" y="8"/>
                      <a:pt x="10" y="4"/>
                    </a:cubicBezTo>
                    <a:cubicBezTo>
                      <a:pt x="9" y="2"/>
                      <a:pt x="8" y="0"/>
                      <a:pt x="7" y="0"/>
                    </a:cubicBezTo>
                    <a:cubicBezTo>
                      <a:pt x="10" y="5"/>
                      <a:pt x="3" y="6"/>
                      <a:pt x="3" y="10"/>
                    </a:cubicBezTo>
                    <a:cubicBezTo>
                      <a:pt x="6" y="9"/>
                      <a:pt x="3" y="16"/>
                      <a:pt x="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69" name="任意多边形: 形状 968">
                <a:extLst>
                  <a:ext uri="{FF2B5EF4-FFF2-40B4-BE49-F238E27FC236}">
                    <a16:creationId xmlns:a16="http://schemas.microsoft.com/office/drawing/2014/main" id="{32264165-943B-4C45-B49B-FD7A65A47CC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3" y="1652"/>
                <a:ext cx="19" cy="20"/>
              </a:xfrm>
              <a:custGeom>
                <a:avLst/>
                <a:gdLst>
                  <a:gd name="T0" fmla="*/ 8 w 9"/>
                  <a:gd name="T1" fmla="*/ 0 h 10"/>
                  <a:gd name="T2" fmla="*/ 2 w 9"/>
                  <a:gd name="T3" fmla="*/ 10 h 10"/>
                  <a:gd name="T4" fmla="*/ 8 w 9"/>
                  <a:gd name="T5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0">
                    <a:moveTo>
                      <a:pt x="8" y="0"/>
                    </a:moveTo>
                    <a:cubicBezTo>
                      <a:pt x="6" y="4"/>
                      <a:pt x="0" y="5"/>
                      <a:pt x="2" y="10"/>
                    </a:cubicBezTo>
                    <a:cubicBezTo>
                      <a:pt x="3" y="4"/>
                      <a:pt x="9" y="8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0" name="任意多边形: 形状 969">
                <a:extLst>
                  <a:ext uri="{FF2B5EF4-FFF2-40B4-BE49-F238E27FC236}">
                    <a16:creationId xmlns:a16="http://schemas.microsoft.com/office/drawing/2014/main" id="{577C66D0-2BF2-4818-9170-5EA27183DE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0" y="1780"/>
                <a:ext cx="16" cy="19"/>
              </a:xfrm>
              <a:custGeom>
                <a:avLst/>
                <a:gdLst>
                  <a:gd name="T0" fmla="*/ 8 w 8"/>
                  <a:gd name="T1" fmla="*/ 9 h 9"/>
                  <a:gd name="T2" fmla="*/ 6 w 8"/>
                  <a:gd name="T3" fmla="*/ 0 h 9"/>
                  <a:gd name="T4" fmla="*/ 1 w 8"/>
                  <a:gd name="T5" fmla="*/ 9 h 9"/>
                  <a:gd name="T6" fmla="*/ 8 w 8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9">
                    <a:moveTo>
                      <a:pt x="8" y="9"/>
                    </a:moveTo>
                    <a:cubicBezTo>
                      <a:pt x="5" y="5"/>
                      <a:pt x="8" y="4"/>
                      <a:pt x="6" y="0"/>
                    </a:cubicBezTo>
                    <a:cubicBezTo>
                      <a:pt x="6" y="5"/>
                      <a:pt x="0" y="6"/>
                      <a:pt x="1" y="9"/>
                    </a:cubicBezTo>
                    <a:cubicBezTo>
                      <a:pt x="4" y="6"/>
                      <a:pt x="5" y="9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1" name="任意多边形: 形状 970">
                <a:extLst>
                  <a:ext uri="{FF2B5EF4-FFF2-40B4-BE49-F238E27FC236}">
                    <a16:creationId xmlns:a16="http://schemas.microsoft.com/office/drawing/2014/main" id="{F28FF665-961C-4CFB-9AB0-19309BC4AB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4" y="1764"/>
                <a:ext cx="10" cy="16"/>
              </a:xfrm>
              <a:custGeom>
                <a:avLst/>
                <a:gdLst>
                  <a:gd name="T0" fmla="*/ 3 w 5"/>
                  <a:gd name="T1" fmla="*/ 0 h 8"/>
                  <a:gd name="T2" fmla="*/ 3 w 5"/>
                  <a:gd name="T3" fmla="*/ 8 h 8"/>
                  <a:gd name="T4" fmla="*/ 3 w 5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8">
                    <a:moveTo>
                      <a:pt x="3" y="0"/>
                    </a:moveTo>
                    <a:cubicBezTo>
                      <a:pt x="0" y="1"/>
                      <a:pt x="3" y="5"/>
                      <a:pt x="3" y="8"/>
                    </a:cubicBezTo>
                    <a:cubicBezTo>
                      <a:pt x="5" y="6"/>
                      <a:pt x="4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2" name="任意多边形: 形状 971">
                <a:extLst>
                  <a:ext uri="{FF2B5EF4-FFF2-40B4-BE49-F238E27FC236}">
                    <a16:creationId xmlns:a16="http://schemas.microsoft.com/office/drawing/2014/main" id="{25907D54-E788-48D4-8611-08E7E5D5EC3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3" y="2025"/>
                <a:ext cx="19" cy="15"/>
              </a:xfrm>
              <a:custGeom>
                <a:avLst/>
                <a:gdLst>
                  <a:gd name="T0" fmla="*/ 3 w 9"/>
                  <a:gd name="T1" fmla="*/ 6 h 7"/>
                  <a:gd name="T2" fmla="*/ 8 w 9"/>
                  <a:gd name="T3" fmla="*/ 3 h 7"/>
                  <a:gd name="T4" fmla="*/ 3 w 9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3" y="6"/>
                    </a:moveTo>
                    <a:cubicBezTo>
                      <a:pt x="4" y="4"/>
                      <a:pt x="9" y="7"/>
                      <a:pt x="8" y="3"/>
                    </a:cubicBezTo>
                    <a:cubicBezTo>
                      <a:pt x="7" y="6"/>
                      <a:pt x="0" y="0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3" name="任意多边形: 形状 972">
                <a:extLst>
                  <a:ext uri="{FF2B5EF4-FFF2-40B4-BE49-F238E27FC236}">
                    <a16:creationId xmlns:a16="http://schemas.microsoft.com/office/drawing/2014/main" id="{2256A092-E9A2-4906-BCEB-BE4A5D2873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3" y="1836"/>
                <a:ext cx="15" cy="13"/>
              </a:xfrm>
              <a:custGeom>
                <a:avLst/>
                <a:gdLst>
                  <a:gd name="T0" fmla="*/ 2 w 7"/>
                  <a:gd name="T1" fmla="*/ 6 h 6"/>
                  <a:gd name="T2" fmla="*/ 4 w 7"/>
                  <a:gd name="T3" fmla="*/ 0 h 6"/>
                  <a:gd name="T4" fmla="*/ 2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2" y="6"/>
                    </a:moveTo>
                    <a:cubicBezTo>
                      <a:pt x="2" y="2"/>
                      <a:pt x="7" y="5"/>
                      <a:pt x="4" y="0"/>
                    </a:cubicBezTo>
                    <a:cubicBezTo>
                      <a:pt x="3" y="2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4" name="任意多边形: 形状 973">
                <a:extLst>
                  <a:ext uri="{FF2B5EF4-FFF2-40B4-BE49-F238E27FC236}">
                    <a16:creationId xmlns:a16="http://schemas.microsoft.com/office/drawing/2014/main" id="{30FC1CD3-2E74-4B49-8F8D-FB7E7B50A27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94" y="2000"/>
                <a:ext cx="12" cy="11"/>
              </a:xfrm>
              <a:custGeom>
                <a:avLst/>
                <a:gdLst>
                  <a:gd name="T0" fmla="*/ 4 w 6"/>
                  <a:gd name="T1" fmla="*/ 5 h 5"/>
                  <a:gd name="T2" fmla="*/ 6 w 6"/>
                  <a:gd name="T3" fmla="*/ 1 h 5"/>
                  <a:gd name="T4" fmla="*/ 0 w 6"/>
                  <a:gd name="T5" fmla="*/ 0 h 5"/>
                  <a:gd name="T6" fmla="*/ 2 w 6"/>
                  <a:gd name="T7" fmla="*/ 4 h 5"/>
                  <a:gd name="T8" fmla="*/ 4 w 6"/>
                  <a:gd name="T9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5">
                    <a:moveTo>
                      <a:pt x="4" y="5"/>
                    </a:moveTo>
                    <a:cubicBezTo>
                      <a:pt x="6" y="4"/>
                      <a:pt x="6" y="3"/>
                      <a:pt x="6" y="1"/>
                    </a:cubicBezTo>
                    <a:cubicBezTo>
                      <a:pt x="4" y="1"/>
                      <a:pt x="2" y="0"/>
                      <a:pt x="0" y="0"/>
                    </a:cubicBezTo>
                    <a:cubicBezTo>
                      <a:pt x="1" y="1"/>
                      <a:pt x="2" y="2"/>
                      <a:pt x="2" y="4"/>
                    </a:cubicBezTo>
                    <a:cubicBezTo>
                      <a:pt x="3" y="3"/>
                      <a:pt x="4" y="3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5" name="任意多边形: 形状 974">
                <a:extLst>
                  <a:ext uri="{FF2B5EF4-FFF2-40B4-BE49-F238E27FC236}">
                    <a16:creationId xmlns:a16="http://schemas.microsoft.com/office/drawing/2014/main" id="{3D71B9DB-8381-4B60-87D3-A66134597E9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743"/>
                <a:ext cx="15" cy="10"/>
              </a:xfrm>
              <a:custGeom>
                <a:avLst/>
                <a:gdLst>
                  <a:gd name="T0" fmla="*/ 0 w 7"/>
                  <a:gd name="T1" fmla="*/ 0 h 5"/>
                  <a:gd name="T2" fmla="*/ 7 w 7"/>
                  <a:gd name="T3" fmla="*/ 4 h 5"/>
                  <a:gd name="T4" fmla="*/ 0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0"/>
                    </a:moveTo>
                    <a:cubicBezTo>
                      <a:pt x="2" y="4"/>
                      <a:pt x="4" y="5"/>
                      <a:pt x="7" y="4"/>
                    </a:cubicBezTo>
                    <a:cubicBezTo>
                      <a:pt x="5" y="1"/>
                      <a:pt x="2" y="1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6" name="任意多边形: 形状 975">
                <a:extLst>
                  <a:ext uri="{FF2B5EF4-FFF2-40B4-BE49-F238E27FC236}">
                    <a16:creationId xmlns:a16="http://schemas.microsoft.com/office/drawing/2014/main" id="{77C05B3E-7D4E-4B8E-B67C-8F8CCE0607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6" y="1627"/>
                <a:ext cx="21" cy="14"/>
              </a:xfrm>
              <a:custGeom>
                <a:avLst/>
                <a:gdLst>
                  <a:gd name="T0" fmla="*/ 8 w 10"/>
                  <a:gd name="T1" fmla="*/ 0 h 7"/>
                  <a:gd name="T2" fmla="*/ 1 w 10"/>
                  <a:gd name="T3" fmla="*/ 7 h 7"/>
                  <a:gd name="T4" fmla="*/ 8 w 10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7">
                    <a:moveTo>
                      <a:pt x="8" y="0"/>
                    </a:moveTo>
                    <a:cubicBezTo>
                      <a:pt x="6" y="4"/>
                      <a:pt x="0" y="3"/>
                      <a:pt x="1" y="7"/>
                    </a:cubicBezTo>
                    <a:cubicBezTo>
                      <a:pt x="4" y="4"/>
                      <a:pt x="10" y="6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7" name="任意多边形: 形状 976">
                <a:extLst>
                  <a:ext uri="{FF2B5EF4-FFF2-40B4-BE49-F238E27FC236}">
                    <a16:creationId xmlns:a16="http://schemas.microsoft.com/office/drawing/2014/main" id="{35A73D1A-2A43-476C-AD6D-5312425F86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0" y="1797"/>
                <a:ext cx="15" cy="19"/>
              </a:xfrm>
              <a:custGeom>
                <a:avLst/>
                <a:gdLst>
                  <a:gd name="T0" fmla="*/ 7 w 7"/>
                  <a:gd name="T1" fmla="*/ 0 h 9"/>
                  <a:gd name="T2" fmla="*/ 0 w 7"/>
                  <a:gd name="T3" fmla="*/ 3 h 9"/>
                  <a:gd name="T4" fmla="*/ 7 w 7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9">
                    <a:moveTo>
                      <a:pt x="7" y="0"/>
                    </a:moveTo>
                    <a:cubicBezTo>
                      <a:pt x="4" y="3"/>
                      <a:pt x="2" y="1"/>
                      <a:pt x="0" y="3"/>
                    </a:cubicBezTo>
                    <a:cubicBezTo>
                      <a:pt x="3" y="9"/>
                      <a:pt x="7" y="4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8" name="任意多边形: 形状 977">
                <a:extLst>
                  <a:ext uri="{FF2B5EF4-FFF2-40B4-BE49-F238E27FC236}">
                    <a16:creationId xmlns:a16="http://schemas.microsoft.com/office/drawing/2014/main" id="{CE233FBA-7127-4782-80D6-3FDE48565E6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67" y="1706"/>
                <a:ext cx="23" cy="12"/>
              </a:xfrm>
              <a:custGeom>
                <a:avLst/>
                <a:gdLst>
                  <a:gd name="T0" fmla="*/ 2 w 11"/>
                  <a:gd name="T1" fmla="*/ 6 h 6"/>
                  <a:gd name="T2" fmla="*/ 10 w 11"/>
                  <a:gd name="T3" fmla="*/ 0 h 6"/>
                  <a:gd name="T4" fmla="*/ 2 w 1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2" y="6"/>
                    </a:moveTo>
                    <a:cubicBezTo>
                      <a:pt x="5" y="3"/>
                      <a:pt x="11" y="6"/>
                      <a:pt x="10" y="0"/>
                    </a:cubicBezTo>
                    <a:cubicBezTo>
                      <a:pt x="8" y="3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79" name="任意多边形: 形状 978">
                <a:extLst>
                  <a:ext uri="{FF2B5EF4-FFF2-40B4-BE49-F238E27FC236}">
                    <a16:creationId xmlns:a16="http://schemas.microsoft.com/office/drawing/2014/main" id="{4B6C8A3B-17CE-4086-AC89-F27DFFFADF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83" y="1878"/>
                <a:ext cx="8" cy="14"/>
              </a:xfrm>
              <a:custGeom>
                <a:avLst/>
                <a:gdLst>
                  <a:gd name="T0" fmla="*/ 2 w 4"/>
                  <a:gd name="T1" fmla="*/ 0 h 7"/>
                  <a:gd name="T2" fmla="*/ 0 w 4"/>
                  <a:gd name="T3" fmla="*/ 7 h 7"/>
                  <a:gd name="T4" fmla="*/ 2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cubicBezTo>
                      <a:pt x="1" y="2"/>
                      <a:pt x="0" y="4"/>
                      <a:pt x="0" y="7"/>
                    </a:cubicBezTo>
                    <a:cubicBezTo>
                      <a:pt x="3" y="6"/>
                      <a:pt x="4" y="4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0" name="任意多边形: 形状 979">
                <a:extLst>
                  <a:ext uri="{FF2B5EF4-FFF2-40B4-BE49-F238E27FC236}">
                    <a16:creationId xmlns:a16="http://schemas.microsoft.com/office/drawing/2014/main" id="{F40747F7-4599-4A99-8C41-582396C34D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6" y="1703"/>
                <a:ext cx="10" cy="13"/>
              </a:xfrm>
              <a:custGeom>
                <a:avLst/>
                <a:gdLst>
                  <a:gd name="T0" fmla="*/ 1 w 5"/>
                  <a:gd name="T1" fmla="*/ 6 h 6"/>
                  <a:gd name="T2" fmla="*/ 5 w 5"/>
                  <a:gd name="T3" fmla="*/ 0 h 6"/>
                  <a:gd name="T4" fmla="*/ 1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1" y="6"/>
                    </a:moveTo>
                    <a:cubicBezTo>
                      <a:pt x="3" y="4"/>
                      <a:pt x="5" y="3"/>
                      <a:pt x="5" y="0"/>
                    </a:cubicBezTo>
                    <a:cubicBezTo>
                      <a:pt x="3" y="0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1" name="任意多边形: 形状 980">
                <a:extLst>
                  <a:ext uri="{FF2B5EF4-FFF2-40B4-BE49-F238E27FC236}">
                    <a16:creationId xmlns:a16="http://schemas.microsoft.com/office/drawing/2014/main" id="{711CAEF2-9CDB-4595-B329-6968E66648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10" y="1874"/>
                <a:ext cx="13" cy="10"/>
              </a:xfrm>
              <a:custGeom>
                <a:avLst/>
                <a:gdLst>
                  <a:gd name="T0" fmla="*/ 2 w 6"/>
                  <a:gd name="T1" fmla="*/ 5 h 5"/>
                  <a:gd name="T2" fmla="*/ 6 w 6"/>
                  <a:gd name="T3" fmla="*/ 1 h 5"/>
                  <a:gd name="T4" fmla="*/ 2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2" y="1"/>
                      <a:pt x="6" y="4"/>
                      <a:pt x="6" y="1"/>
                    </a:cubicBezTo>
                    <a:cubicBezTo>
                      <a:pt x="4" y="0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2" name="任意多边形: 形状 981">
                <a:extLst>
                  <a:ext uri="{FF2B5EF4-FFF2-40B4-BE49-F238E27FC236}">
                    <a16:creationId xmlns:a16="http://schemas.microsoft.com/office/drawing/2014/main" id="{34621EA4-EF98-4C91-AEB0-9736983A56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8" y="2048"/>
                <a:ext cx="11" cy="12"/>
              </a:xfrm>
              <a:custGeom>
                <a:avLst/>
                <a:gdLst>
                  <a:gd name="T0" fmla="*/ 0 w 5"/>
                  <a:gd name="T1" fmla="*/ 6 h 6"/>
                  <a:gd name="T2" fmla="*/ 3 w 5"/>
                  <a:gd name="T3" fmla="*/ 0 h 6"/>
                  <a:gd name="T4" fmla="*/ 0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0" y="6"/>
                    </a:moveTo>
                    <a:cubicBezTo>
                      <a:pt x="2" y="4"/>
                      <a:pt x="5" y="4"/>
                      <a:pt x="3" y="0"/>
                    </a:cubicBezTo>
                    <a:cubicBezTo>
                      <a:pt x="1" y="2"/>
                      <a:pt x="0" y="3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3" name="任意多边形: 形状 982">
                <a:extLst>
                  <a:ext uri="{FF2B5EF4-FFF2-40B4-BE49-F238E27FC236}">
                    <a16:creationId xmlns:a16="http://schemas.microsoft.com/office/drawing/2014/main" id="{E61C627B-B021-449E-82BF-F3CFDBB697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0" y="2017"/>
                <a:ext cx="23" cy="25"/>
              </a:xfrm>
              <a:custGeom>
                <a:avLst/>
                <a:gdLst>
                  <a:gd name="T0" fmla="*/ 11 w 11"/>
                  <a:gd name="T1" fmla="*/ 12 h 12"/>
                  <a:gd name="T2" fmla="*/ 9 w 11"/>
                  <a:gd name="T3" fmla="*/ 7 h 12"/>
                  <a:gd name="T4" fmla="*/ 5 w 11"/>
                  <a:gd name="T5" fmla="*/ 1 h 12"/>
                  <a:gd name="T6" fmla="*/ 0 w 11"/>
                  <a:gd name="T7" fmla="*/ 0 h 12"/>
                  <a:gd name="T8" fmla="*/ 11 w 11"/>
                  <a:gd name="T9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2">
                    <a:moveTo>
                      <a:pt x="11" y="12"/>
                    </a:moveTo>
                    <a:cubicBezTo>
                      <a:pt x="10" y="10"/>
                      <a:pt x="9" y="8"/>
                      <a:pt x="9" y="7"/>
                    </a:cubicBezTo>
                    <a:cubicBezTo>
                      <a:pt x="7" y="9"/>
                      <a:pt x="7" y="3"/>
                      <a:pt x="5" y="1"/>
                    </a:cubicBezTo>
                    <a:cubicBezTo>
                      <a:pt x="3" y="2"/>
                      <a:pt x="2" y="1"/>
                      <a:pt x="0" y="0"/>
                    </a:cubicBezTo>
                    <a:cubicBezTo>
                      <a:pt x="4" y="3"/>
                      <a:pt x="7" y="11"/>
                      <a:pt x="11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4" name="任意多边形: 形状 983">
                <a:extLst>
                  <a:ext uri="{FF2B5EF4-FFF2-40B4-BE49-F238E27FC236}">
                    <a16:creationId xmlns:a16="http://schemas.microsoft.com/office/drawing/2014/main" id="{9256AD6E-A12E-447B-9F1A-7EED2D99D4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43" y="1857"/>
                <a:ext cx="15" cy="15"/>
              </a:xfrm>
              <a:custGeom>
                <a:avLst/>
                <a:gdLst>
                  <a:gd name="T0" fmla="*/ 4 w 7"/>
                  <a:gd name="T1" fmla="*/ 0 h 7"/>
                  <a:gd name="T2" fmla="*/ 3 w 7"/>
                  <a:gd name="T3" fmla="*/ 7 h 7"/>
                  <a:gd name="T4" fmla="*/ 4 w 7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0"/>
                    </a:moveTo>
                    <a:cubicBezTo>
                      <a:pt x="2" y="1"/>
                      <a:pt x="0" y="6"/>
                      <a:pt x="3" y="7"/>
                    </a:cubicBezTo>
                    <a:cubicBezTo>
                      <a:pt x="0" y="3"/>
                      <a:pt x="7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5" name="任意多边形: 形状 984">
                <a:extLst>
                  <a:ext uri="{FF2B5EF4-FFF2-40B4-BE49-F238E27FC236}">
                    <a16:creationId xmlns:a16="http://schemas.microsoft.com/office/drawing/2014/main" id="{D4EDC862-C4EF-41C6-9D7C-BA1F1BC178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4" y="1706"/>
                <a:ext cx="15" cy="8"/>
              </a:xfrm>
              <a:custGeom>
                <a:avLst/>
                <a:gdLst>
                  <a:gd name="T0" fmla="*/ 7 w 7"/>
                  <a:gd name="T1" fmla="*/ 4 h 4"/>
                  <a:gd name="T2" fmla="*/ 3 w 7"/>
                  <a:gd name="T3" fmla="*/ 0 h 4"/>
                  <a:gd name="T4" fmla="*/ 1 w 7"/>
                  <a:gd name="T5" fmla="*/ 4 h 4"/>
                  <a:gd name="T6" fmla="*/ 7 w 7"/>
                  <a:gd name="T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4">
                    <a:moveTo>
                      <a:pt x="7" y="4"/>
                    </a:moveTo>
                    <a:cubicBezTo>
                      <a:pt x="6" y="2"/>
                      <a:pt x="5" y="0"/>
                      <a:pt x="3" y="0"/>
                    </a:cubicBezTo>
                    <a:cubicBezTo>
                      <a:pt x="2" y="1"/>
                      <a:pt x="0" y="2"/>
                      <a:pt x="1" y="4"/>
                    </a:cubicBezTo>
                    <a:cubicBezTo>
                      <a:pt x="3" y="2"/>
                      <a:pt x="5" y="4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6" name="任意多边形: 形状 985">
                <a:extLst>
                  <a:ext uri="{FF2B5EF4-FFF2-40B4-BE49-F238E27FC236}">
                    <a16:creationId xmlns:a16="http://schemas.microsoft.com/office/drawing/2014/main" id="{80372741-AAB2-4283-B1E6-3D4812C35DA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9" y="2004"/>
                <a:ext cx="17" cy="36"/>
              </a:xfrm>
              <a:custGeom>
                <a:avLst/>
                <a:gdLst>
                  <a:gd name="T0" fmla="*/ 8 w 8"/>
                  <a:gd name="T1" fmla="*/ 12 h 17"/>
                  <a:gd name="T2" fmla="*/ 4 w 8"/>
                  <a:gd name="T3" fmla="*/ 0 h 17"/>
                  <a:gd name="T4" fmla="*/ 2 w 8"/>
                  <a:gd name="T5" fmla="*/ 1 h 17"/>
                  <a:gd name="T6" fmla="*/ 3 w 8"/>
                  <a:gd name="T7" fmla="*/ 11 h 17"/>
                  <a:gd name="T8" fmla="*/ 1 w 8"/>
                  <a:gd name="T9" fmla="*/ 17 h 17"/>
                  <a:gd name="T10" fmla="*/ 8 w 8"/>
                  <a:gd name="T11" fmla="*/ 12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8" h="17">
                    <a:moveTo>
                      <a:pt x="8" y="12"/>
                    </a:moveTo>
                    <a:cubicBezTo>
                      <a:pt x="7" y="9"/>
                      <a:pt x="3" y="3"/>
                      <a:pt x="4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5"/>
                      <a:pt x="4" y="8"/>
                      <a:pt x="3" y="11"/>
                    </a:cubicBezTo>
                    <a:cubicBezTo>
                      <a:pt x="0" y="7"/>
                      <a:pt x="0" y="14"/>
                      <a:pt x="1" y="17"/>
                    </a:cubicBezTo>
                    <a:cubicBezTo>
                      <a:pt x="4" y="14"/>
                      <a:pt x="4" y="8"/>
                      <a:pt x="8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7" name="任意多边形: 形状 986">
                <a:extLst>
                  <a:ext uri="{FF2B5EF4-FFF2-40B4-BE49-F238E27FC236}">
                    <a16:creationId xmlns:a16="http://schemas.microsoft.com/office/drawing/2014/main" id="{0BAE8498-E6AE-4B13-838B-E7F79989AB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12" y="1963"/>
                <a:ext cx="12" cy="14"/>
              </a:xfrm>
              <a:custGeom>
                <a:avLst/>
                <a:gdLst>
                  <a:gd name="T0" fmla="*/ 5 w 6"/>
                  <a:gd name="T1" fmla="*/ 3 h 7"/>
                  <a:gd name="T2" fmla="*/ 0 w 6"/>
                  <a:gd name="T3" fmla="*/ 3 h 7"/>
                  <a:gd name="T4" fmla="*/ 5 w 6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5" y="3"/>
                    </a:moveTo>
                    <a:cubicBezTo>
                      <a:pt x="3" y="3"/>
                      <a:pt x="2" y="0"/>
                      <a:pt x="0" y="3"/>
                    </a:cubicBezTo>
                    <a:cubicBezTo>
                      <a:pt x="1" y="7"/>
                      <a:pt x="6" y="6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8" name="任意多边形: 形状 987">
                <a:extLst>
                  <a:ext uri="{FF2B5EF4-FFF2-40B4-BE49-F238E27FC236}">
                    <a16:creationId xmlns:a16="http://schemas.microsoft.com/office/drawing/2014/main" id="{F71C9ED6-C19B-4DC4-9DC9-0DB548BF44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86" y="1577"/>
                <a:ext cx="16" cy="12"/>
              </a:xfrm>
              <a:custGeom>
                <a:avLst/>
                <a:gdLst>
                  <a:gd name="T0" fmla="*/ 5 w 8"/>
                  <a:gd name="T1" fmla="*/ 0 h 6"/>
                  <a:gd name="T2" fmla="*/ 2 w 8"/>
                  <a:gd name="T3" fmla="*/ 4 h 6"/>
                  <a:gd name="T4" fmla="*/ 5 w 8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5" y="0"/>
                    </a:moveTo>
                    <a:cubicBezTo>
                      <a:pt x="4" y="2"/>
                      <a:pt x="0" y="1"/>
                      <a:pt x="2" y="4"/>
                    </a:cubicBezTo>
                    <a:cubicBezTo>
                      <a:pt x="4" y="4"/>
                      <a:pt x="8" y="6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89" name="任意多边形: 形状 988">
                <a:extLst>
                  <a:ext uri="{FF2B5EF4-FFF2-40B4-BE49-F238E27FC236}">
                    <a16:creationId xmlns:a16="http://schemas.microsoft.com/office/drawing/2014/main" id="{552BFDEC-61B4-4CA7-B4D1-15CA52D427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27" y="1459"/>
                <a:ext cx="19" cy="14"/>
              </a:xfrm>
              <a:custGeom>
                <a:avLst/>
                <a:gdLst>
                  <a:gd name="T0" fmla="*/ 5 w 9"/>
                  <a:gd name="T1" fmla="*/ 0 h 7"/>
                  <a:gd name="T2" fmla="*/ 0 w 9"/>
                  <a:gd name="T3" fmla="*/ 3 h 7"/>
                  <a:gd name="T4" fmla="*/ 1 w 9"/>
                  <a:gd name="T5" fmla="*/ 7 h 7"/>
                  <a:gd name="T6" fmla="*/ 5 w 9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7">
                    <a:moveTo>
                      <a:pt x="5" y="0"/>
                    </a:moveTo>
                    <a:cubicBezTo>
                      <a:pt x="6" y="4"/>
                      <a:pt x="1" y="3"/>
                      <a:pt x="0" y="3"/>
                    </a:cubicBezTo>
                    <a:cubicBezTo>
                      <a:pt x="1" y="5"/>
                      <a:pt x="1" y="6"/>
                      <a:pt x="1" y="7"/>
                    </a:cubicBezTo>
                    <a:cubicBezTo>
                      <a:pt x="3" y="4"/>
                      <a:pt x="9" y="4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0" name="任意多边形: 形状 989">
                <a:extLst>
                  <a:ext uri="{FF2B5EF4-FFF2-40B4-BE49-F238E27FC236}">
                    <a16:creationId xmlns:a16="http://schemas.microsoft.com/office/drawing/2014/main" id="{3C5EEF2A-6F7F-4BC7-A31D-0B08D4EDABF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73" y="1714"/>
                <a:ext cx="12" cy="12"/>
              </a:xfrm>
              <a:custGeom>
                <a:avLst/>
                <a:gdLst>
                  <a:gd name="T0" fmla="*/ 3 w 6"/>
                  <a:gd name="T1" fmla="*/ 0 h 6"/>
                  <a:gd name="T2" fmla="*/ 2 w 6"/>
                  <a:gd name="T3" fmla="*/ 6 h 6"/>
                  <a:gd name="T4" fmla="*/ 3 w 6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cubicBezTo>
                      <a:pt x="0" y="1"/>
                      <a:pt x="0" y="3"/>
                      <a:pt x="2" y="6"/>
                    </a:cubicBezTo>
                    <a:cubicBezTo>
                      <a:pt x="6" y="6"/>
                      <a:pt x="2" y="2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1" name="任意多边形: 形状 990">
                <a:extLst>
                  <a:ext uri="{FF2B5EF4-FFF2-40B4-BE49-F238E27FC236}">
                    <a16:creationId xmlns:a16="http://schemas.microsoft.com/office/drawing/2014/main" id="{24732B36-8641-458F-A13B-C10D35CF39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96" y="1747"/>
                <a:ext cx="10" cy="19"/>
              </a:xfrm>
              <a:custGeom>
                <a:avLst/>
                <a:gdLst>
                  <a:gd name="T0" fmla="*/ 2 w 5"/>
                  <a:gd name="T1" fmla="*/ 6 h 9"/>
                  <a:gd name="T2" fmla="*/ 3 w 5"/>
                  <a:gd name="T3" fmla="*/ 0 h 9"/>
                  <a:gd name="T4" fmla="*/ 3 w 5"/>
                  <a:gd name="T5" fmla="*/ 4 h 9"/>
                  <a:gd name="T6" fmla="*/ 2 w 5"/>
                  <a:gd name="T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6"/>
                    </a:moveTo>
                    <a:cubicBezTo>
                      <a:pt x="5" y="9"/>
                      <a:pt x="5" y="0"/>
                      <a:pt x="3" y="0"/>
                    </a:cubicBezTo>
                    <a:cubicBezTo>
                      <a:pt x="4" y="2"/>
                      <a:pt x="0" y="2"/>
                      <a:pt x="3" y="4"/>
                    </a:cubicBezTo>
                    <a:cubicBezTo>
                      <a:pt x="3" y="5"/>
                      <a:pt x="1" y="5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2" name="任意多边形: 形状 991">
                <a:extLst>
                  <a:ext uri="{FF2B5EF4-FFF2-40B4-BE49-F238E27FC236}">
                    <a16:creationId xmlns:a16="http://schemas.microsoft.com/office/drawing/2014/main" id="{EA3280B5-4584-4163-8D50-0974DB29EA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1" y="1973"/>
                <a:ext cx="15" cy="13"/>
              </a:xfrm>
              <a:custGeom>
                <a:avLst/>
                <a:gdLst>
                  <a:gd name="T0" fmla="*/ 5 w 7"/>
                  <a:gd name="T1" fmla="*/ 0 h 6"/>
                  <a:gd name="T2" fmla="*/ 3 w 7"/>
                  <a:gd name="T3" fmla="*/ 6 h 6"/>
                  <a:gd name="T4" fmla="*/ 5 w 7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5" y="0"/>
                    </a:moveTo>
                    <a:cubicBezTo>
                      <a:pt x="3" y="1"/>
                      <a:pt x="0" y="3"/>
                      <a:pt x="3" y="6"/>
                    </a:cubicBezTo>
                    <a:cubicBezTo>
                      <a:pt x="3" y="4"/>
                      <a:pt x="7" y="3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3" name="任意多边形: 形状 992">
                <a:extLst>
                  <a:ext uri="{FF2B5EF4-FFF2-40B4-BE49-F238E27FC236}">
                    <a16:creationId xmlns:a16="http://schemas.microsoft.com/office/drawing/2014/main" id="{0BD42BE6-C39C-4445-9AFA-5CA8920A4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31" y="1946"/>
                <a:ext cx="10" cy="17"/>
              </a:xfrm>
              <a:custGeom>
                <a:avLst/>
                <a:gdLst>
                  <a:gd name="T0" fmla="*/ 3 w 5"/>
                  <a:gd name="T1" fmla="*/ 8 h 8"/>
                  <a:gd name="T2" fmla="*/ 5 w 5"/>
                  <a:gd name="T3" fmla="*/ 5 h 8"/>
                  <a:gd name="T4" fmla="*/ 4 w 5"/>
                  <a:gd name="T5" fmla="*/ 0 h 8"/>
                  <a:gd name="T6" fmla="*/ 3 w 5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8">
                    <a:moveTo>
                      <a:pt x="3" y="8"/>
                    </a:moveTo>
                    <a:cubicBezTo>
                      <a:pt x="2" y="6"/>
                      <a:pt x="4" y="6"/>
                      <a:pt x="5" y="5"/>
                    </a:cubicBezTo>
                    <a:cubicBezTo>
                      <a:pt x="4" y="3"/>
                      <a:pt x="4" y="1"/>
                      <a:pt x="4" y="0"/>
                    </a:cubicBezTo>
                    <a:cubicBezTo>
                      <a:pt x="3" y="2"/>
                      <a:pt x="0" y="7"/>
                      <a:pt x="3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4" name="任意多边形: 形状 993">
                <a:extLst>
                  <a:ext uri="{FF2B5EF4-FFF2-40B4-BE49-F238E27FC236}">
                    <a16:creationId xmlns:a16="http://schemas.microsoft.com/office/drawing/2014/main" id="{035A7547-9C9F-48F6-ADE7-6626CA8546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41" y="1782"/>
                <a:ext cx="19" cy="17"/>
              </a:xfrm>
              <a:custGeom>
                <a:avLst/>
                <a:gdLst>
                  <a:gd name="T0" fmla="*/ 7 w 9"/>
                  <a:gd name="T1" fmla="*/ 1 h 8"/>
                  <a:gd name="T2" fmla="*/ 6 w 9"/>
                  <a:gd name="T3" fmla="*/ 1 h 8"/>
                  <a:gd name="T4" fmla="*/ 0 w 9"/>
                  <a:gd name="T5" fmla="*/ 4 h 8"/>
                  <a:gd name="T6" fmla="*/ 9 w 9"/>
                  <a:gd name="T7" fmla="*/ 7 h 8"/>
                  <a:gd name="T8" fmla="*/ 9 w 9"/>
                  <a:gd name="T9" fmla="*/ 4 h 8"/>
                  <a:gd name="T10" fmla="*/ 7 w 9"/>
                  <a:gd name="T11" fmla="*/ 1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7" y="1"/>
                    </a:moveTo>
                    <a:cubicBezTo>
                      <a:pt x="7" y="1"/>
                      <a:pt x="7" y="0"/>
                      <a:pt x="6" y="1"/>
                    </a:cubicBezTo>
                    <a:cubicBezTo>
                      <a:pt x="7" y="4"/>
                      <a:pt x="2" y="4"/>
                      <a:pt x="0" y="4"/>
                    </a:cubicBezTo>
                    <a:cubicBezTo>
                      <a:pt x="3" y="8"/>
                      <a:pt x="6" y="5"/>
                      <a:pt x="9" y="7"/>
                    </a:cubicBezTo>
                    <a:cubicBezTo>
                      <a:pt x="6" y="3"/>
                      <a:pt x="6" y="5"/>
                      <a:pt x="9" y="4"/>
                    </a:cubicBezTo>
                    <a:lnTo>
                      <a:pt x="7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5" name="任意多边形: 形状 994">
                <a:extLst>
                  <a:ext uri="{FF2B5EF4-FFF2-40B4-BE49-F238E27FC236}">
                    <a16:creationId xmlns:a16="http://schemas.microsoft.com/office/drawing/2014/main" id="{73B5A0EE-0759-47F8-85EC-ECBF5CB40CC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" y="1963"/>
                <a:ext cx="10" cy="10"/>
              </a:xfrm>
              <a:custGeom>
                <a:avLst/>
                <a:gdLst>
                  <a:gd name="T0" fmla="*/ 0 w 5"/>
                  <a:gd name="T1" fmla="*/ 1 h 5"/>
                  <a:gd name="T2" fmla="*/ 1 w 5"/>
                  <a:gd name="T3" fmla="*/ 5 h 5"/>
                  <a:gd name="T4" fmla="*/ 5 w 5"/>
                  <a:gd name="T5" fmla="*/ 4 h 5"/>
                  <a:gd name="T6" fmla="*/ 0 w 5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1"/>
                    </a:moveTo>
                    <a:cubicBezTo>
                      <a:pt x="0" y="2"/>
                      <a:pt x="1" y="4"/>
                      <a:pt x="1" y="5"/>
                    </a:cubicBezTo>
                    <a:cubicBezTo>
                      <a:pt x="2" y="2"/>
                      <a:pt x="4" y="5"/>
                      <a:pt x="5" y="4"/>
                    </a:cubicBezTo>
                    <a:cubicBezTo>
                      <a:pt x="3" y="1"/>
                      <a:pt x="1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6" name="任意多边形: 形状 995">
                <a:extLst>
                  <a:ext uri="{FF2B5EF4-FFF2-40B4-BE49-F238E27FC236}">
                    <a16:creationId xmlns:a16="http://schemas.microsoft.com/office/drawing/2014/main" id="{DCEC9998-D9D4-4040-98C8-65822D2B99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3" y="1992"/>
                <a:ext cx="17" cy="19"/>
              </a:xfrm>
              <a:custGeom>
                <a:avLst/>
                <a:gdLst>
                  <a:gd name="T0" fmla="*/ 2 w 8"/>
                  <a:gd name="T1" fmla="*/ 9 h 9"/>
                  <a:gd name="T2" fmla="*/ 5 w 8"/>
                  <a:gd name="T3" fmla="*/ 8 h 9"/>
                  <a:gd name="T4" fmla="*/ 3 w 8"/>
                  <a:gd name="T5" fmla="*/ 4 h 9"/>
                  <a:gd name="T6" fmla="*/ 4 w 8"/>
                  <a:gd name="T7" fmla="*/ 3 h 9"/>
                  <a:gd name="T8" fmla="*/ 8 w 8"/>
                  <a:gd name="T9" fmla="*/ 5 h 9"/>
                  <a:gd name="T10" fmla="*/ 2 w 8"/>
                  <a:gd name="T11" fmla="*/ 0 h 9"/>
                  <a:gd name="T12" fmla="*/ 0 w 8"/>
                  <a:gd name="T13" fmla="*/ 3 h 9"/>
                  <a:gd name="T14" fmla="*/ 2 w 8"/>
                  <a:gd name="T1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" h="9">
                    <a:moveTo>
                      <a:pt x="2" y="9"/>
                    </a:moveTo>
                    <a:cubicBezTo>
                      <a:pt x="5" y="8"/>
                      <a:pt x="5" y="8"/>
                      <a:pt x="5" y="8"/>
                    </a:cubicBezTo>
                    <a:cubicBezTo>
                      <a:pt x="4" y="6"/>
                      <a:pt x="2" y="5"/>
                      <a:pt x="3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6"/>
                      <a:pt x="6" y="7"/>
                      <a:pt x="8" y="5"/>
                    </a:cubicBezTo>
                    <a:cubicBezTo>
                      <a:pt x="6" y="3"/>
                      <a:pt x="4" y="2"/>
                      <a:pt x="2" y="0"/>
                    </a:cubicBezTo>
                    <a:cubicBezTo>
                      <a:pt x="3" y="2"/>
                      <a:pt x="1" y="2"/>
                      <a:pt x="0" y="3"/>
                    </a:cubicBezTo>
                    <a:cubicBezTo>
                      <a:pt x="0" y="5"/>
                      <a:pt x="2" y="8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7" name="任意多边形: 形状 996">
                <a:extLst>
                  <a:ext uri="{FF2B5EF4-FFF2-40B4-BE49-F238E27FC236}">
                    <a16:creationId xmlns:a16="http://schemas.microsoft.com/office/drawing/2014/main" id="{DE054071-4FC0-4D5A-9B3F-8A05A66D32A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2" y="1488"/>
                <a:ext cx="13" cy="12"/>
              </a:xfrm>
              <a:custGeom>
                <a:avLst/>
                <a:gdLst>
                  <a:gd name="T0" fmla="*/ 0 w 6"/>
                  <a:gd name="T1" fmla="*/ 0 h 6"/>
                  <a:gd name="T2" fmla="*/ 3 w 6"/>
                  <a:gd name="T3" fmla="*/ 6 h 6"/>
                  <a:gd name="T4" fmla="*/ 0 w 6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2" y="3"/>
                      <a:pt x="1" y="4"/>
                      <a:pt x="3" y="6"/>
                    </a:cubicBezTo>
                    <a:cubicBezTo>
                      <a:pt x="6" y="5"/>
                      <a:pt x="3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8" name="任意多边形: 形状 997">
                <a:extLst>
                  <a:ext uri="{FF2B5EF4-FFF2-40B4-BE49-F238E27FC236}">
                    <a16:creationId xmlns:a16="http://schemas.microsoft.com/office/drawing/2014/main" id="{761D8D82-7CB8-4549-B4A7-5FF700903E5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3" y="1965"/>
                <a:ext cx="10" cy="12"/>
              </a:xfrm>
              <a:custGeom>
                <a:avLst/>
                <a:gdLst>
                  <a:gd name="T0" fmla="*/ 4 w 5"/>
                  <a:gd name="T1" fmla="*/ 6 h 6"/>
                  <a:gd name="T2" fmla="*/ 3 w 5"/>
                  <a:gd name="T3" fmla="*/ 0 h 6"/>
                  <a:gd name="T4" fmla="*/ 4 w 5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4" y="6"/>
                    </a:moveTo>
                    <a:cubicBezTo>
                      <a:pt x="1" y="3"/>
                      <a:pt x="5" y="3"/>
                      <a:pt x="3" y="0"/>
                    </a:cubicBezTo>
                    <a:cubicBezTo>
                      <a:pt x="0" y="1"/>
                      <a:pt x="0" y="6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999" name="任意多边形: 形状 998">
                <a:extLst>
                  <a:ext uri="{FF2B5EF4-FFF2-40B4-BE49-F238E27FC236}">
                    <a16:creationId xmlns:a16="http://schemas.microsoft.com/office/drawing/2014/main" id="{775DA006-4839-43F5-A34E-292BFD2BFDD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4" y="1529"/>
                <a:ext cx="14" cy="13"/>
              </a:xfrm>
              <a:custGeom>
                <a:avLst/>
                <a:gdLst>
                  <a:gd name="T0" fmla="*/ 7 w 7"/>
                  <a:gd name="T1" fmla="*/ 4 h 6"/>
                  <a:gd name="T2" fmla="*/ 2 w 7"/>
                  <a:gd name="T3" fmla="*/ 4 h 6"/>
                  <a:gd name="T4" fmla="*/ 7 w 7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7" y="4"/>
                    </a:moveTo>
                    <a:cubicBezTo>
                      <a:pt x="5" y="0"/>
                      <a:pt x="0" y="0"/>
                      <a:pt x="2" y="4"/>
                    </a:cubicBezTo>
                    <a:cubicBezTo>
                      <a:pt x="4" y="2"/>
                      <a:pt x="5" y="6"/>
                      <a:pt x="7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0" name="任意多边形: 形状 999">
                <a:extLst>
                  <a:ext uri="{FF2B5EF4-FFF2-40B4-BE49-F238E27FC236}">
                    <a16:creationId xmlns:a16="http://schemas.microsoft.com/office/drawing/2014/main" id="{743F5BB8-75D5-4295-A99E-27FB8EC601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59" y="1948"/>
                <a:ext cx="17" cy="23"/>
              </a:xfrm>
              <a:custGeom>
                <a:avLst/>
                <a:gdLst>
                  <a:gd name="T0" fmla="*/ 0 w 8"/>
                  <a:gd name="T1" fmla="*/ 6 h 11"/>
                  <a:gd name="T2" fmla="*/ 8 w 8"/>
                  <a:gd name="T3" fmla="*/ 6 h 11"/>
                  <a:gd name="T4" fmla="*/ 0 w 8"/>
                  <a:gd name="T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1">
                    <a:moveTo>
                      <a:pt x="0" y="6"/>
                    </a:moveTo>
                    <a:cubicBezTo>
                      <a:pt x="2" y="11"/>
                      <a:pt x="5" y="7"/>
                      <a:pt x="8" y="6"/>
                    </a:cubicBezTo>
                    <a:cubicBezTo>
                      <a:pt x="4" y="0"/>
                      <a:pt x="4" y="6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1" name="任意多边形: 形状 1000">
                <a:extLst>
                  <a:ext uri="{FF2B5EF4-FFF2-40B4-BE49-F238E27FC236}">
                    <a16:creationId xmlns:a16="http://schemas.microsoft.com/office/drawing/2014/main" id="{006E3536-F8A8-40F9-A6F7-4108ED7A07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9" y="1247"/>
                <a:ext cx="37" cy="27"/>
              </a:xfrm>
              <a:custGeom>
                <a:avLst/>
                <a:gdLst>
                  <a:gd name="T0" fmla="*/ 15 w 18"/>
                  <a:gd name="T1" fmla="*/ 7 h 13"/>
                  <a:gd name="T2" fmla="*/ 15 w 18"/>
                  <a:gd name="T3" fmla="*/ 0 h 13"/>
                  <a:gd name="T4" fmla="*/ 0 w 18"/>
                  <a:gd name="T5" fmla="*/ 6 h 13"/>
                  <a:gd name="T6" fmla="*/ 2 w 18"/>
                  <a:gd name="T7" fmla="*/ 13 h 13"/>
                  <a:gd name="T8" fmla="*/ 15 w 18"/>
                  <a:gd name="T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3">
                    <a:moveTo>
                      <a:pt x="15" y="7"/>
                    </a:moveTo>
                    <a:cubicBezTo>
                      <a:pt x="12" y="3"/>
                      <a:pt x="18" y="4"/>
                      <a:pt x="15" y="0"/>
                    </a:cubicBezTo>
                    <a:cubicBezTo>
                      <a:pt x="11" y="8"/>
                      <a:pt x="8" y="6"/>
                      <a:pt x="0" y="6"/>
                    </a:cubicBezTo>
                    <a:cubicBezTo>
                      <a:pt x="2" y="9"/>
                      <a:pt x="2" y="11"/>
                      <a:pt x="2" y="13"/>
                    </a:cubicBezTo>
                    <a:cubicBezTo>
                      <a:pt x="7" y="12"/>
                      <a:pt x="9" y="6"/>
                      <a:pt x="1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2" name="任意多边形: 形状 1001">
                <a:extLst>
                  <a:ext uri="{FF2B5EF4-FFF2-40B4-BE49-F238E27FC236}">
                    <a16:creationId xmlns:a16="http://schemas.microsoft.com/office/drawing/2014/main" id="{EB1E32D6-0D9A-46B8-B526-D77518BDA0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47" y="1888"/>
                <a:ext cx="21" cy="31"/>
              </a:xfrm>
              <a:custGeom>
                <a:avLst/>
                <a:gdLst>
                  <a:gd name="T0" fmla="*/ 0 w 10"/>
                  <a:gd name="T1" fmla="*/ 2 h 15"/>
                  <a:gd name="T2" fmla="*/ 7 w 10"/>
                  <a:gd name="T3" fmla="*/ 14 h 15"/>
                  <a:gd name="T4" fmla="*/ 10 w 10"/>
                  <a:gd name="T5" fmla="*/ 13 h 15"/>
                  <a:gd name="T6" fmla="*/ 5 w 10"/>
                  <a:gd name="T7" fmla="*/ 4 h 15"/>
                  <a:gd name="T8" fmla="*/ 0 w 10"/>
                  <a:gd name="T9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5">
                    <a:moveTo>
                      <a:pt x="0" y="2"/>
                    </a:moveTo>
                    <a:cubicBezTo>
                      <a:pt x="4" y="6"/>
                      <a:pt x="3" y="12"/>
                      <a:pt x="7" y="14"/>
                    </a:cubicBezTo>
                    <a:cubicBezTo>
                      <a:pt x="5" y="11"/>
                      <a:pt x="9" y="15"/>
                      <a:pt x="10" y="13"/>
                    </a:cubicBezTo>
                    <a:cubicBezTo>
                      <a:pt x="7" y="9"/>
                      <a:pt x="3" y="8"/>
                      <a:pt x="5" y="4"/>
                    </a:cubicBezTo>
                    <a:cubicBezTo>
                      <a:pt x="3" y="5"/>
                      <a:pt x="1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3" name="任意多边形: 形状 1002">
                <a:extLst>
                  <a:ext uri="{FF2B5EF4-FFF2-40B4-BE49-F238E27FC236}">
                    <a16:creationId xmlns:a16="http://schemas.microsoft.com/office/drawing/2014/main" id="{FB66A8AB-4296-4AFC-B34A-1193320E9A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6" y="1950"/>
                <a:ext cx="15" cy="9"/>
              </a:xfrm>
              <a:custGeom>
                <a:avLst/>
                <a:gdLst>
                  <a:gd name="T0" fmla="*/ 3 w 7"/>
                  <a:gd name="T1" fmla="*/ 4 h 4"/>
                  <a:gd name="T2" fmla="*/ 7 w 7"/>
                  <a:gd name="T3" fmla="*/ 0 h 4"/>
                  <a:gd name="T4" fmla="*/ 3 w 7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3" y="4"/>
                    </a:moveTo>
                    <a:cubicBezTo>
                      <a:pt x="4" y="1"/>
                      <a:pt x="7" y="4"/>
                      <a:pt x="7" y="0"/>
                    </a:cubicBezTo>
                    <a:cubicBezTo>
                      <a:pt x="6" y="0"/>
                      <a:pt x="0" y="0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4" name="任意多边形: 形状 1003">
                <a:extLst>
                  <a:ext uri="{FF2B5EF4-FFF2-40B4-BE49-F238E27FC236}">
                    <a16:creationId xmlns:a16="http://schemas.microsoft.com/office/drawing/2014/main" id="{4C1E7DDF-415F-4FF6-B253-A81B4A7184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2" y="1911"/>
                <a:ext cx="23" cy="21"/>
              </a:xfrm>
              <a:custGeom>
                <a:avLst/>
                <a:gdLst>
                  <a:gd name="T0" fmla="*/ 11 w 11"/>
                  <a:gd name="T1" fmla="*/ 4 h 10"/>
                  <a:gd name="T2" fmla="*/ 5 w 11"/>
                  <a:gd name="T3" fmla="*/ 7 h 10"/>
                  <a:gd name="T4" fmla="*/ 1 w 11"/>
                  <a:gd name="T5" fmla="*/ 1 h 10"/>
                  <a:gd name="T6" fmla="*/ 2 w 11"/>
                  <a:gd name="T7" fmla="*/ 10 h 10"/>
                  <a:gd name="T8" fmla="*/ 11 w 11"/>
                  <a:gd name="T9" fmla="*/ 4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11" y="4"/>
                    </a:moveTo>
                    <a:cubicBezTo>
                      <a:pt x="9" y="6"/>
                      <a:pt x="7" y="4"/>
                      <a:pt x="5" y="7"/>
                    </a:cubicBezTo>
                    <a:cubicBezTo>
                      <a:pt x="3" y="5"/>
                      <a:pt x="2" y="0"/>
                      <a:pt x="1" y="1"/>
                    </a:cubicBezTo>
                    <a:cubicBezTo>
                      <a:pt x="4" y="6"/>
                      <a:pt x="0" y="7"/>
                      <a:pt x="2" y="10"/>
                    </a:cubicBezTo>
                    <a:cubicBezTo>
                      <a:pt x="6" y="7"/>
                      <a:pt x="11" y="10"/>
                      <a:pt x="1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5" name="任意多边形: 形状 1004">
                <a:extLst>
                  <a:ext uri="{FF2B5EF4-FFF2-40B4-BE49-F238E27FC236}">
                    <a16:creationId xmlns:a16="http://schemas.microsoft.com/office/drawing/2014/main" id="{3B0F6CFA-FE9D-4319-8D6B-B942FE60C8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15" y="1291"/>
                <a:ext cx="22" cy="10"/>
              </a:xfrm>
              <a:custGeom>
                <a:avLst/>
                <a:gdLst>
                  <a:gd name="T0" fmla="*/ 3 w 11"/>
                  <a:gd name="T1" fmla="*/ 5 h 5"/>
                  <a:gd name="T2" fmla="*/ 8 w 11"/>
                  <a:gd name="T3" fmla="*/ 0 h 5"/>
                  <a:gd name="T4" fmla="*/ 3 w 11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3" y="5"/>
                    </a:moveTo>
                    <a:cubicBezTo>
                      <a:pt x="4" y="4"/>
                      <a:pt x="11" y="1"/>
                      <a:pt x="8" y="0"/>
                    </a:cubicBezTo>
                    <a:cubicBezTo>
                      <a:pt x="7" y="2"/>
                      <a:pt x="0" y="4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6" name="任意多边形: 形状 1005">
                <a:extLst>
                  <a:ext uri="{FF2B5EF4-FFF2-40B4-BE49-F238E27FC236}">
                    <a16:creationId xmlns:a16="http://schemas.microsoft.com/office/drawing/2014/main" id="{858E0773-E724-476D-9E88-5549AB2385B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43" y="1853"/>
                <a:ext cx="14" cy="12"/>
              </a:xfrm>
              <a:custGeom>
                <a:avLst/>
                <a:gdLst>
                  <a:gd name="T0" fmla="*/ 0 w 7"/>
                  <a:gd name="T1" fmla="*/ 1 h 6"/>
                  <a:gd name="T2" fmla="*/ 7 w 7"/>
                  <a:gd name="T3" fmla="*/ 5 h 6"/>
                  <a:gd name="T4" fmla="*/ 0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0" y="1"/>
                    </a:moveTo>
                    <a:cubicBezTo>
                      <a:pt x="2" y="6"/>
                      <a:pt x="5" y="5"/>
                      <a:pt x="7" y="5"/>
                    </a:cubicBezTo>
                    <a:cubicBezTo>
                      <a:pt x="5" y="0"/>
                      <a:pt x="2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7" name="任意多边形: 形状 1006">
                <a:extLst>
                  <a:ext uri="{FF2B5EF4-FFF2-40B4-BE49-F238E27FC236}">
                    <a16:creationId xmlns:a16="http://schemas.microsoft.com/office/drawing/2014/main" id="{B51E39D5-45C9-4992-B0B3-F5D8811954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1" y="1452"/>
                <a:ext cx="12" cy="13"/>
              </a:xfrm>
              <a:custGeom>
                <a:avLst/>
                <a:gdLst>
                  <a:gd name="T0" fmla="*/ 2 w 6"/>
                  <a:gd name="T1" fmla="*/ 6 h 6"/>
                  <a:gd name="T2" fmla="*/ 5 w 6"/>
                  <a:gd name="T3" fmla="*/ 1 h 6"/>
                  <a:gd name="T4" fmla="*/ 2 w 6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6">
                    <a:moveTo>
                      <a:pt x="2" y="6"/>
                    </a:moveTo>
                    <a:cubicBezTo>
                      <a:pt x="4" y="5"/>
                      <a:pt x="6" y="3"/>
                      <a:pt x="5" y="1"/>
                    </a:cubicBezTo>
                    <a:cubicBezTo>
                      <a:pt x="4" y="0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8" name="任意多边形: 形状 1007">
                <a:extLst>
                  <a:ext uri="{FF2B5EF4-FFF2-40B4-BE49-F238E27FC236}">
                    <a16:creationId xmlns:a16="http://schemas.microsoft.com/office/drawing/2014/main" id="{290C7CBA-DFA4-446C-8AE7-17E07831A0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8" y="1226"/>
                <a:ext cx="15" cy="17"/>
              </a:xfrm>
              <a:custGeom>
                <a:avLst/>
                <a:gdLst>
                  <a:gd name="T0" fmla="*/ 7 w 7"/>
                  <a:gd name="T1" fmla="*/ 6 h 8"/>
                  <a:gd name="T2" fmla="*/ 2 w 7"/>
                  <a:gd name="T3" fmla="*/ 8 h 8"/>
                  <a:gd name="T4" fmla="*/ 7 w 7"/>
                  <a:gd name="T5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8">
                    <a:moveTo>
                      <a:pt x="7" y="6"/>
                    </a:moveTo>
                    <a:cubicBezTo>
                      <a:pt x="5" y="0"/>
                      <a:pt x="0" y="4"/>
                      <a:pt x="2" y="8"/>
                    </a:cubicBezTo>
                    <a:cubicBezTo>
                      <a:pt x="4" y="7"/>
                      <a:pt x="5" y="6"/>
                      <a:pt x="7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09" name="任意多边形: 形状 1008">
                <a:extLst>
                  <a:ext uri="{FF2B5EF4-FFF2-40B4-BE49-F238E27FC236}">
                    <a16:creationId xmlns:a16="http://schemas.microsoft.com/office/drawing/2014/main" id="{B6BCF539-886A-434D-A605-EF39456319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27" y="1434"/>
                <a:ext cx="16" cy="8"/>
              </a:xfrm>
              <a:custGeom>
                <a:avLst/>
                <a:gdLst>
                  <a:gd name="T0" fmla="*/ 3 w 8"/>
                  <a:gd name="T1" fmla="*/ 4 h 4"/>
                  <a:gd name="T2" fmla="*/ 5 w 8"/>
                  <a:gd name="T3" fmla="*/ 0 h 4"/>
                  <a:gd name="T4" fmla="*/ 3 w 8"/>
                  <a:gd name="T5" fmla="*/ 3 h 4"/>
                  <a:gd name="T6" fmla="*/ 0 w 8"/>
                  <a:gd name="T7" fmla="*/ 0 h 4"/>
                  <a:gd name="T8" fmla="*/ 3 w 8"/>
                  <a:gd name="T9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">
                    <a:moveTo>
                      <a:pt x="3" y="4"/>
                    </a:moveTo>
                    <a:cubicBezTo>
                      <a:pt x="4" y="3"/>
                      <a:pt x="8" y="3"/>
                      <a:pt x="5" y="0"/>
                    </a:cubicBezTo>
                    <a:cubicBezTo>
                      <a:pt x="4" y="1"/>
                      <a:pt x="4" y="2"/>
                      <a:pt x="3" y="3"/>
                    </a:cubicBezTo>
                    <a:cubicBezTo>
                      <a:pt x="2" y="2"/>
                      <a:pt x="1" y="1"/>
                      <a:pt x="0" y="0"/>
                    </a:cubicBezTo>
                    <a:cubicBezTo>
                      <a:pt x="1" y="2"/>
                      <a:pt x="2" y="4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0" name="任意多边形: 形状 1009">
                <a:extLst>
                  <a:ext uri="{FF2B5EF4-FFF2-40B4-BE49-F238E27FC236}">
                    <a16:creationId xmlns:a16="http://schemas.microsoft.com/office/drawing/2014/main" id="{1C53467B-99E5-42C2-B435-C2A400F530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2" y="1430"/>
                <a:ext cx="10" cy="10"/>
              </a:xfrm>
              <a:custGeom>
                <a:avLst/>
                <a:gdLst>
                  <a:gd name="T0" fmla="*/ 5 w 5"/>
                  <a:gd name="T1" fmla="*/ 1 h 5"/>
                  <a:gd name="T2" fmla="*/ 2 w 5"/>
                  <a:gd name="T3" fmla="*/ 5 h 5"/>
                  <a:gd name="T4" fmla="*/ 5 w 5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5" y="1"/>
                    </a:moveTo>
                    <a:cubicBezTo>
                      <a:pt x="3" y="0"/>
                      <a:pt x="0" y="2"/>
                      <a:pt x="2" y="5"/>
                    </a:cubicBezTo>
                    <a:cubicBezTo>
                      <a:pt x="4" y="4"/>
                      <a:pt x="5" y="3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1" name="任意多边形: 形状 1010">
                <a:extLst>
                  <a:ext uri="{FF2B5EF4-FFF2-40B4-BE49-F238E27FC236}">
                    <a16:creationId xmlns:a16="http://schemas.microsoft.com/office/drawing/2014/main" id="{6844B642-D8D3-4EBF-897C-31096AA5205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75" y="1415"/>
                <a:ext cx="37" cy="35"/>
              </a:xfrm>
              <a:custGeom>
                <a:avLst/>
                <a:gdLst>
                  <a:gd name="T0" fmla="*/ 0 w 18"/>
                  <a:gd name="T1" fmla="*/ 16 h 17"/>
                  <a:gd name="T2" fmla="*/ 3 w 18"/>
                  <a:gd name="T3" fmla="*/ 16 h 17"/>
                  <a:gd name="T4" fmla="*/ 13 w 18"/>
                  <a:gd name="T5" fmla="*/ 11 h 17"/>
                  <a:gd name="T6" fmla="*/ 18 w 18"/>
                  <a:gd name="T7" fmla="*/ 6 h 17"/>
                  <a:gd name="T8" fmla="*/ 17 w 18"/>
                  <a:gd name="T9" fmla="*/ 0 h 17"/>
                  <a:gd name="T10" fmla="*/ 16 w 18"/>
                  <a:gd name="T11" fmla="*/ 5 h 17"/>
                  <a:gd name="T12" fmla="*/ 0 w 18"/>
                  <a:gd name="T13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" h="17">
                    <a:moveTo>
                      <a:pt x="0" y="16"/>
                    </a:moveTo>
                    <a:cubicBezTo>
                      <a:pt x="1" y="15"/>
                      <a:pt x="2" y="17"/>
                      <a:pt x="3" y="16"/>
                    </a:cubicBezTo>
                    <a:cubicBezTo>
                      <a:pt x="2" y="13"/>
                      <a:pt x="9" y="7"/>
                      <a:pt x="13" y="11"/>
                    </a:cubicBezTo>
                    <a:cubicBezTo>
                      <a:pt x="16" y="10"/>
                      <a:pt x="15" y="5"/>
                      <a:pt x="18" y="6"/>
                    </a:cubicBezTo>
                    <a:cubicBezTo>
                      <a:pt x="18" y="3"/>
                      <a:pt x="15" y="3"/>
                      <a:pt x="17" y="0"/>
                    </a:cubicBezTo>
                    <a:cubicBezTo>
                      <a:pt x="13" y="0"/>
                      <a:pt x="11" y="2"/>
                      <a:pt x="16" y="5"/>
                    </a:cubicBezTo>
                    <a:cubicBezTo>
                      <a:pt x="11" y="8"/>
                      <a:pt x="1" y="8"/>
                      <a:pt x="0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2" name="任意多边形: 形状 1011">
                <a:extLst>
                  <a:ext uri="{FF2B5EF4-FFF2-40B4-BE49-F238E27FC236}">
                    <a16:creationId xmlns:a16="http://schemas.microsoft.com/office/drawing/2014/main" id="{98C19807-E715-4D4D-B655-C380EE64DD6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8" y="1884"/>
                <a:ext cx="11" cy="15"/>
              </a:xfrm>
              <a:custGeom>
                <a:avLst/>
                <a:gdLst>
                  <a:gd name="T0" fmla="*/ 0 w 5"/>
                  <a:gd name="T1" fmla="*/ 1 h 7"/>
                  <a:gd name="T2" fmla="*/ 1 w 5"/>
                  <a:gd name="T3" fmla="*/ 6 h 7"/>
                  <a:gd name="T4" fmla="*/ 4 w 5"/>
                  <a:gd name="T5" fmla="*/ 3 h 7"/>
                  <a:gd name="T6" fmla="*/ 0 w 5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0" y="1"/>
                    </a:moveTo>
                    <a:cubicBezTo>
                      <a:pt x="3" y="3"/>
                      <a:pt x="0" y="4"/>
                      <a:pt x="1" y="6"/>
                    </a:cubicBezTo>
                    <a:cubicBezTo>
                      <a:pt x="3" y="7"/>
                      <a:pt x="5" y="6"/>
                      <a:pt x="4" y="3"/>
                    </a:cubicBezTo>
                    <a:cubicBezTo>
                      <a:pt x="2" y="4"/>
                      <a:pt x="1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3" name="任意多边形: 形状 1012">
                <a:extLst>
                  <a:ext uri="{FF2B5EF4-FFF2-40B4-BE49-F238E27FC236}">
                    <a16:creationId xmlns:a16="http://schemas.microsoft.com/office/drawing/2014/main" id="{BBB430D8-CAA2-48EA-9D7C-7C623C34FB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5" y="1928"/>
                <a:ext cx="9" cy="12"/>
              </a:xfrm>
              <a:custGeom>
                <a:avLst/>
                <a:gdLst>
                  <a:gd name="T0" fmla="*/ 2 w 4"/>
                  <a:gd name="T1" fmla="*/ 6 h 6"/>
                  <a:gd name="T2" fmla="*/ 2 w 4"/>
                  <a:gd name="T3" fmla="*/ 0 h 6"/>
                  <a:gd name="T4" fmla="*/ 2 w 4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2" y="6"/>
                    </a:moveTo>
                    <a:cubicBezTo>
                      <a:pt x="4" y="5"/>
                      <a:pt x="4" y="3"/>
                      <a:pt x="2" y="0"/>
                    </a:cubicBezTo>
                    <a:cubicBezTo>
                      <a:pt x="0" y="1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4" name="任意多边形: 形状 1013">
                <a:extLst>
                  <a:ext uri="{FF2B5EF4-FFF2-40B4-BE49-F238E27FC236}">
                    <a16:creationId xmlns:a16="http://schemas.microsoft.com/office/drawing/2014/main" id="{9DCE26A8-058F-48C9-B07B-93CE6F2260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2" y="1195"/>
                <a:ext cx="54" cy="39"/>
              </a:xfrm>
              <a:custGeom>
                <a:avLst/>
                <a:gdLst>
                  <a:gd name="T0" fmla="*/ 4 w 26"/>
                  <a:gd name="T1" fmla="*/ 19 h 19"/>
                  <a:gd name="T2" fmla="*/ 26 w 26"/>
                  <a:gd name="T3" fmla="*/ 4 h 19"/>
                  <a:gd name="T4" fmla="*/ 16 w 26"/>
                  <a:gd name="T5" fmla="*/ 0 h 19"/>
                  <a:gd name="T6" fmla="*/ 14 w 26"/>
                  <a:gd name="T7" fmla="*/ 1 h 19"/>
                  <a:gd name="T8" fmla="*/ 11 w 26"/>
                  <a:gd name="T9" fmla="*/ 9 h 19"/>
                  <a:gd name="T10" fmla="*/ 6 w 26"/>
                  <a:gd name="T11" fmla="*/ 4 h 19"/>
                  <a:gd name="T12" fmla="*/ 0 w 26"/>
                  <a:gd name="T13" fmla="*/ 12 h 19"/>
                  <a:gd name="T14" fmla="*/ 4 w 26"/>
                  <a:gd name="T15" fmla="*/ 19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6" h="19">
                    <a:moveTo>
                      <a:pt x="4" y="19"/>
                    </a:moveTo>
                    <a:cubicBezTo>
                      <a:pt x="7" y="8"/>
                      <a:pt x="19" y="9"/>
                      <a:pt x="26" y="4"/>
                    </a:cubicBezTo>
                    <a:cubicBezTo>
                      <a:pt x="22" y="1"/>
                      <a:pt x="21" y="1"/>
                      <a:pt x="16" y="0"/>
                    </a:cubicBezTo>
                    <a:cubicBezTo>
                      <a:pt x="19" y="4"/>
                      <a:pt x="15" y="1"/>
                      <a:pt x="14" y="1"/>
                    </a:cubicBezTo>
                    <a:cubicBezTo>
                      <a:pt x="16" y="5"/>
                      <a:pt x="14" y="7"/>
                      <a:pt x="11" y="9"/>
                    </a:cubicBezTo>
                    <a:cubicBezTo>
                      <a:pt x="9" y="8"/>
                      <a:pt x="8" y="5"/>
                      <a:pt x="6" y="4"/>
                    </a:cubicBezTo>
                    <a:cubicBezTo>
                      <a:pt x="10" y="11"/>
                      <a:pt x="0" y="9"/>
                      <a:pt x="0" y="12"/>
                    </a:cubicBezTo>
                    <a:cubicBezTo>
                      <a:pt x="5" y="10"/>
                      <a:pt x="4" y="16"/>
                      <a:pt x="4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5" name="任意多边形: 形状 1014">
                <a:extLst>
                  <a:ext uri="{FF2B5EF4-FFF2-40B4-BE49-F238E27FC236}">
                    <a16:creationId xmlns:a16="http://schemas.microsoft.com/office/drawing/2014/main" id="{E4D59785-4167-4BFB-A172-D71454A9069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3" y="1909"/>
                <a:ext cx="17" cy="14"/>
              </a:xfrm>
              <a:custGeom>
                <a:avLst/>
                <a:gdLst>
                  <a:gd name="T0" fmla="*/ 4 w 8"/>
                  <a:gd name="T1" fmla="*/ 0 h 7"/>
                  <a:gd name="T2" fmla="*/ 2 w 8"/>
                  <a:gd name="T3" fmla="*/ 6 h 7"/>
                  <a:gd name="T4" fmla="*/ 8 w 8"/>
                  <a:gd name="T5" fmla="*/ 4 h 7"/>
                  <a:gd name="T6" fmla="*/ 4 w 8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4" y="0"/>
                    </a:moveTo>
                    <a:cubicBezTo>
                      <a:pt x="3" y="2"/>
                      <a:pt x="0" y="3"/>
                      <a:pt x="2" y="6"/>
                    </a:cubicBezTo>
                    <a:cubicBezTo>
                      <a:pt x="4" y="7"/>
                      <a:pt x="6" y="5"/>
                      <a:pt x="8" y="4"/>
                    </a:cubicBezTo>
                    <a:cubicBezTo>
                      <a:pt x="7" y="0"/>
                      <a:pt x="5" y="4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6" name="任意多边形: 形状 1015">
                <a:extLst>
                  <a:ext uri="{FF2B5EF4-FFF2-40B4-BE49-F238E27FC236}">
                    <a16:creationId xmlns:a16="http://schemas.microsoft.com/office/drawing/2014/main" id="{6C3AB2E4-96FD-49A7-AFF2-7AA839B50F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71" y="1890"/>
                <a:ext cx="13" cy="21"/>
              </a:xfrm>
              <a:custGeom>
                <a:avLst/>
                <a:gdLst>
                  <a:gd name="T0" fmla="*/ 6 w 6"/>
                  <a:gd name="T1" fmla="*/ 7 h 10"/>
                  <a:gd name="T2" fmla="*/ 4 w 6"/>
                  <a:gd name="T3" fmla="*/ 10 h 10"/>
                  <a:gd name="T4" fmla="*/ 6 w 6"/>
                  <a:gd name="T5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0">
                    <a:moveTo>
                      <a:pt x="6" y="7"/>
                    </a:moveTo>
                    <a:cubicBezTo>
                      <a:pt x="3" y="0"/>
                      <a:pt x="0" y="9"/>
                      <a:pt x="4" y="10"/>
                    </a:cubicBezTo>
                    <a:cubicBezTo>
                      <a:pt x="4" y="8"/>
                      <a:pt x="5" y="8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7" name="任意多边形: 形状 1016">
                <a:extLst>
                  <a:ext uri="{FF2B5EF4-FFF2-40B4-BE49-F238E27FC236}">
                    <a16:creationId xmlns:a16="http://schemas.microsoft.com/office/drawing/2014/main" id="{E451144C-A8B4-4F37-B143-A135C463D0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19" y="1961"/>
                <a:ext cx="11" cy="10"/>
              </a:xfrm>
              <a:custGeom>
                <a:avLst/>
                <a:gdLst>
                  <a:gd name="T0" fmla="*/ 2 w 5"/>
                  <a:gd name="T1" fmla="*/ 5 h 5"/>
                  <a:gd name="T2" fmla="*/ 5 w 5"/>
                  <a:gd name="T3" fmla="*/ 0 h 5"/>
                  <a:gd name="T4" fmla="*/ 2 w 5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5">
                    <a:moveTo>
                      <a:pt x="2" y="5"/>
                    </a:moveTo>
                    <a:cubicBezTo>
                      <a:pt x="4" y="4"/>
                      <a:pt x="5" y="2"/>
                      <a:pt x="5" y="0"/>
                    </a:cubicBezTo>
                    <a:cubicBezTo>
                      <a:pt x="4" y="0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8" name="任意多边形: 形状 1017">
                <a:extLst>
                  <a:ext uri="{FF2B5EF4-FFF2-40B4-BE49-F238E27FC236}">
                    <a16:creationId xmlns:a16="http://schemas.microsoft.com/office/drawing/2014/main" id="{474D908F-B957-4BAB-8DA2-413D6072DA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8" y="1988"/>
                <a:ext cx="27" cy="21"/>
              </a:xfrm>
              <a:custGeom>
                <a:avLst/>
                <a:gdLst>
                  <a:gd name="T0" fmla="*/ 8 w 13"/>
                  <a:gd name="T1" fmla="*/ 3 h 10"/>
                  <a:gd name="T2" fmla="*/ 3 w 13"/>
                  <a:gd name="T3" fmla="*/ 0 h 10"/>
                  <a:gd name="T4" fmla="*/ 7 w 13"/>
                  <a:gd name="T5" fmla="*/ 8 h 10"/>
                  <a:gd name="T6" fmla="*/ 11 w 13"/>
                  <a:gd name="T7" fmla="*/ 5 h 10"/>
                  <a:gd name="T8" fmla="*/ 8 w 13"/>
                  <a:gd name="T9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10">
                    <a:moveTo>
                      <a:pt x="8" y="3"/>
                    </a:moveTo>
                    <a:cubicBezTo>
                      <a:pt x="7" y="7"/>
                      <a:pt x="3" y="4"/>
                      <a:pt x="3" y="0"/>
                    </a:cubicBezTo>
                    <a:cubicBezTo>
                      <a:pt x="0" y="0"/>
                      <a:pt x="5" y="9"/>
                      <a:pt x="7" y="8"/>
                    </a:cubicBezTo>
                    <a:cubicBezTo>
                      <a:pt x="5" y="4"/>
                      <a:pt x="13" y="10"/>
                      <a:pt x="11" y="5"/>
                    </a:cubicBezTo>
                    <a:cubicBezTo>
                      <a:pt x="10" y="6"/>
                      <a:pt x="9" y="4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19" name="任意多边形: 形状 1018">
                <a:extLst>
                  <a:ext uri="{FF2B5EF4-FFF2-40B4-BE49-F238E27FC236}">
                    <a16:creationId xmlns:a16="http://schemas.microsoft.com/office/drawing/2014/main" id="{161BB959-52E2-4498-BA9F-EF76EF1FEF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05" y="1907"/>
                <a:ext cx="16" cy="23"/>
              </a:xfrm>
              <a:custGeom>
                <a:avLst/>
                <a:gdLst>
                  <a:gd name="T0" fmla="*/ 6 w 8"/>
                  <a:gd name="T1" fmla="*/ 5 h 11"/>
                  <a:gd name="T2" fmla="*/ 2 w 8"/>
                  <a:gd name="T3" fmla="*/ 0 h 11"/>
                  <a:gd name="T4" fmla="*/ 1 w 8"/>
                  <a:gd name="T5" fmla="*/ 8 h 11"/>
                  <a:gd name="T6" fmla="*/ 6 w 8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6" y="5"/>
                    </a:moveTo>
                    <a:cubicBezTo>
                      <a:pt x="2" y="9"/>
                      <a:pt x="3" y="3"/>
                      <a:pt x="2" y="0"/>
                    </a:cubicBezTo>
                    <a:cubicBezTo>
                      <a:pt x="0" y="2"/>
                      <a:pt x="1" y="5"/>
                      <a:pt x="1" y="8"/>
                    </a:cubicBezTo>
                    <a:cubicBezTo>
                      <a:pt x="3" y="8"/>
                      <a:pt x="8" y="11"/>
                      <a:pt x="6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0" name="任意多边形: 形状 1019">
                <a:extLst>
                  <a:ext uri="{FF2B5EF4-FFF2-40B4-BE49-F238E27FC236}">
                    <a16:creationId xmlns:a16="http://schemas.microsoft.com/office/drawing/2014/main" id="{64593918-6578-415D-8231-645B6D7555F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50" y="1967"/>
                <a:ext cx="11" cy="15"/>
              </a:xfrm>
              <a:custGeom>
                <a:avLst/>
                <a:gdLst>
                  <a:gd name="T0" fmla="*/ 2 w 5"/>
                  <a:gd name="T1" fmla="*/ 7 h 7"/>
                  <a:gd name="T2" fmla="*/ 5 w 5"/>
                  <a:gd name="T3" fmla="*/ 6 h 7"/>
                  <a:gd name="T4" fmla="*/ 2 w 5"/>
                  <a:gd name="T5" fmla="*/ 0 h 7"/>
                  <a:gd name="T6" fmla="*/ 2 w 5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2" y="7"/>
                    </a:moveTo>
                    <a:cubicBezTo>
                      <a:pt x="3" y="6"/>
                      <a:pt x="4" y="6"/>
                      <a:pt x="5" y="6"/>
                    </a:cubicBezTo>
                    <a:cubicBezTo>
                      <a:pt x="2" y="4"/>
                      <a:pt x="4" y="3"/>
                      <a:pt x="2" y="0"/>
                    </a:cubicBezTo>
                    <a:cubicBezTo>
                      <a:pt x="0" y="1"/>
                      <a:pt x="2" y="5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1" name="任意多边形: 形状 1020">
                <a:extLst>
                  <a:ext uri="{FF2B5EF4-FFF2-40B4-BE49-F238E27FC236}">
                    <a16:creationId xmlns:a16="http://schemas.microsoft.com/office/drawing/2014/main" id="{D1515177-7F40-4ED3-8DF0-5C3CA0D560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00" y="1181"/>
                <a:ext cx="31" cy="20"/>
              </a:xfrm>
              <a:custGeom>
                <a:avLst/>
                <a:gdLst>
                  <a:gd name="T0" fmla="*/ 0 w 15"/>
                  <a:gd name="T1" fmla="*/ 6 h 10"/>
                  <a:gd name="T2" fmla="*/ 9 w 15"/>
                  <a:gd name="T3" fmla="*/ 7 h 10"/>
                  <a:gd name="T4" fmla="*/ 15 w 15"/>
                  <a:gd name="T5" fmla="*/ 0 h 10"/>
                  <a:gd name="T6" fmla="*/ 1 w 15"/>
                  <a:gd name="T7" fmla="*/ 3 h 10"/>
                  <a:gd name="T8" fmla="*/ 0 w 15"/>
                  <a:gd name="T9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0">
                    <a:moveTo>
                      <a:pt x="0" y="6"/>
                    </a:moveTo>
                    <a:cubicBezTo>
                      <a:pt x="4" y="10"/>
                      <a:pt x="5" y="2"/>
                      <a:pt x="9" y="7"/>
                    </a:cubicBezTo>
                    <a:cubicBezTo>
                      <a:pt x="9" y="4"/>
                      <a:pt x="15" y="3"/>
                      <a:pt x="15" y="0"/>
                    </a:cubicBezTo>
                    <a:cubicBezTo>
                      <a:pt x="9" y="0"/>
                      <a:pt x="7" y="6"/>
                      <a:pt x="1" y="3"/>
                    </a:cubicBezTo>
                    <a:cubicBezTo>
                      <a:pt x="1" y="5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2" name="任意多边形: 形状 1021">
                <a:extLst>
                  <a:ext uri="{FF2B5EF4-FFF2-40B4-BE49-F238E27FC236}">
                    <a16:creationId xmlns:a16="http://schemas.microsoft.com/office/drawing/2014/main" id="{4406909E-0AAC-44D2-AD7C-B359D998C0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79" y="1961"/>
                <a:ext cx="13" cy="10"/>
              </a:xfrm>
              <a:custGeom>
                <a:avLst/>
                <a:gdLst>
                  <a:gd name="T0" fmla="*/ 2 w 6"/>
                  <a:gd name="T1" fmla="*/ 5 h 5"/>
                  <a:gd name="T2" fmla="*/ 4 w 6"/>
                  <a:gd name="T3" fmla="*/ 0 h 5"/>
                  <a:gd name="T4" fmla="*/ 2 w 6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2" y="5"/>
                    </a:moveTo>
                    <a:cubicBezTo>
                      <a:pt x="4" y="4"/>
                      <a:pt x="6" y="3"/>
                      <a:pt x="4" y="0"/>
                    </a:cubicBezTo>
                    <a:cubicBezTo>
                      <a:pt x="3" y="1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3" name="任意多边形: 形状 1022">
                <a:extLst>
                  <a:ext uri="{FF2B5EF4-FFF2-40B4-BE49-F238E27FC236}">
                    <a16:creationId xmlns:a16="http://schemas.microsoft.com/office/drawing/2014/main" id="{EDC98298-A622-4141-B641-59F7435647B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25" y="1857"/>
                <a:ext cx="21" cy="12"/>
              </a:xfrm>
              <a:custGeom>
                <a:avLst/>
                <a:gdLst>
                  <a:gd name="T0" fmla="*/ 3 w 10"/>
                  <a:gd name="T1" fmla="*/ 5 h 6"/>
                  <a:gd name="T2" fmla="*/ 6 w 10"/>
                  <a:gd name="T3" fmla="*/ 2 h 6"/>
                  <a:gd name="T4" fmla="*/ 3 w 10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3" y="5"/>
                    </a:moveTo>
                    <a:cubicBezTo>
                      <a:pt x="6" y="4"/>
                      <a:pt x="10" y="6"/>
                      <a:pt x="6" y="2"/>
                    </a:cubicBezTo>
                    <a:cubicBezTo>
                      <a:pt x="7" y="5"/>
                      <a:pt x="0" y="0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4" name="任意多边形: 形状 1023">
                <a:extLst>
                  <a:ext uri="{FF2B5EF4-FFF2-40B4-BE49-F238E27FC236}">
                    <a16:creationId xmlns:a16="http://schemas.microsoft.com/office/drawing/2014/main" id="{6B483113-9995-459A-9FA9-75CBADFED56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3" y="1174"/>
                <a:ext cx="15" cy="11"/>
              </a:xfrm>
              <a:custGeom>
                <a:avLst/>
                <a:gdLst>
                  <a:gd name="T0" fmla="*/ 6 w 7"/>
                  <a:gd name="T1" fmla="*/ 0 h 5"/>
                  <a:gd name="T2" fmla="*/ 1 w 7"/>
                  <a:gd name="T3" fmla="*/ 4 h 5"/>
                  <a:gd name="T4" fmla="*/ 6 w 7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6" y="0"/>
                    </a:moveTo>
                    <a:cubicBezTo>
                      <a:pt x="5" y="1"/>
                      <a:pt x="0" y="0"/>
                      <a:pt x="1" y="4"/>
                    </a:cubicBezTo>
                    <a:cubicBezTo>
                      <a:pt x="3" y="4"/>
                      <a:pt x="7" y="5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5" name="任意多边形: 形状 1024">
                <a:extLst>
                  <a:ext uri="{FF2B5EF4-FFF2-40B4-BE49-F238E27FC236}">
                    <a16:creationId xmlns:a16="http://schemas.microsoft.com/office/drawing/2014/main" id="{3416DFD0-78A7-4155-B783-AC577A81BB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32" y="1840"/>
                <a:ext cx="23" cy="17"/>
              </a:xfrm>
              <a:custGeom>
                <a:avLst/>
                <a:gdLst>
                  <a:gd name="T0" fmla="*/ 11 w 11"/>
                  <a:gd name="T1" fmla="*/ 8 h 8"/>
                  <a:gd name="T2" fmla="*/ 4 w 11"/>
                  <a:gd name="T3" fmla="*/ 0 h 8"/>
                  <a:gd name="T4" fmla="*/ 11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8"/>
                    </a:moveTo>
                    <a:cubicBezTo>
                      <a:pt x="11" y="3"/>
                      <a:pt x="5" y="6"/>
                      <a:pt x="4" y="0"/>
                    </a:cubicBezTo>
                    <a:cubicBezTo>
                      <a:pt x="0" y="3"/>
                      <a:pt x="8" y="7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6" name="任意多边形: 形状 1025">
                <a:extLst>
                  <a:ext uri="{FF2B5EF4-FFF2-40B4-BE49-F238E27FC236}">
                    <a16:creationId xmlns:a16="http://schemas.microsoft.com/office/drawing/2014/main" id="{8452D95F-BC49-49C4-B326-2016E8B86FF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50" y="1166"/>
                <a:ext cx="18" cy="15"/>
              </a:xfrm>
              <a:custGeom>
                <a:avLst/>
                <a:gdLst>
                  <a:gd name="T0" fmla="*/ 6 w 9"/>
                  <a:gd name="T1" fmla="*/ 0 h 7"/>
                  <a:gd name="T2" fmla="*/ 1 w 9"/>
                  <a:gd name="T3" fmla="*/ 5 h 7"/>
                  <a:gd name="T4" fmla="*/ 6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6" y="0"/>
                    </a:moveTo>
                    <a:cubicBezTo>
                      <a:pt x="5" y="2"/>
                      <a:pt x="0" y="2"/>
                      <a:pt x="1" y="5"/>
                    </a:cubicBezTo>
                    <a:cubicBezTo>
                      <a:pt x="4" y="4"/>
                      <a:pt x="9" y="7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7" name="任意多边形: 形状 1026">
                <a:extLst>
                  <a:ext uri="{FF2B5EF4-FFF2-40B4-BE49-F238E27FC236}">
                    <a16:creationId xmlns:a16="http://schemas.microsoft.com/office/drawing/2014/main" id="{B5C59D71-130B-41B3-8E8E-57A6AF7209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9" y="1934"/>
                <a:ext cx="12" cy="14"/>
              </a:xfrm>
              <a:custGeom>
                <a:avLst/>
                <a:gdLst>
                  <a:gd name="T0" fmla="*/ 0 w 6"/>
                  <a:gd name="T1" fmla="*/ 3 h 7"/>
                  <a:gd name="T2" fmla="*/ 6 w 6"/>
                  <a:gd name="T3" fmla="*/ 4 h 7"/>
                  <a:gd name="T4" fmla="*/ 0 w 6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0" y="3"/>
                    </a:moveTo>
                    <a:cubicBezTo>
                      <a:pt x="2" y="7"/>
                      <a:pt x="4" y="6"/>
                      <a:pt x="6" y="4"/>
                    </a:cubicBezTo>
                    <a:cubicBezTo>
                      <a:pt x="4" y="0"/>
                      <a:pt x="2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8" name="任意多边形: 形状 1027">
                <a:extLst>
                  <a:ext uri="{FF2B5EF4-FFF2-40B4-BE49-F238E27FC236}">
                    <a16:creationId xmlns:a16="http://schemas.microsoft.com/office/drawing/2014/main" id="{1448FAAF-1217-41F0-9486-917C29F712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00" y="1911"/>
                <a:ext cx="11" cy="12"/>
              </a:xfrm>
              <a:custGeom>
                <a:avLst/>
                <a:gdLst>
                  <a:gd name="T0" fmla="*/ 2 w 5"/>
                  <a:gd name="T1" fmla="*/ 0 h 6"/>
                  <a:gd name="T2" fmla="*/ 2 w 5"/>
                  <a:gd name="T3" fmla="*/ 6 h 6"/>
                  <a:gd name="T4" fmla="*/ 5 w 5"/>
                  <a:gd name="T5" fmla="*/ 1 h 6"/>
                  <a:gd name="T6" fmla="*/ 2 w 5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6">
                    <a:moveTo>
                      <a:pt x="2" y="0"/>
                    </a:moveTo>
                    <a:cubicBezTo>
                      <a:pt x="0" y="1"/>
                      <a:pt x="0" y="3"/>
                      <a:pt x="2" y="6"/>
                    </a:cubicBezTo>
                    <a:cubicBezTo>
                      <a:pt x="3" y="4"/>
                      <a:pt x="5" y="3"/>
                      <a:pt x="5" y="1"/>
                    </a:cubicBezTo>
                    <a:cubicBezTo>
                      <a:pt x="4" y="2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29" name="任意多边形: 形状 1028">
                <a:extLst>
                  <a:ext uri="{FF2B5EF4-FFF2-40B4-BE49-F238E27FC236}">
                    <a16:creationId xmlns:a16="http://schemas.microsoft.com/office/drawing/2014/main" id="{3CED6F4F-C616-49D4-97FA-74E3DB701CE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27" y="1903"/>
                <a:ext cx="23" cy="20"/>
              </a:xfrm>
              <a:custGeom>
                <a:avLst/>
                <a:gdLst>
                  <a:gd name="T0" fmla="*/ 0 w 11"/>
                  <a:gd name="T1" fmla="*/ 0 h 10"/>
                  <a:gd name="T2" fmla="*/ 4 w 11"/>
                  <a:gd name="T3" fmla="*/ 8 h 10"/>
                  <a:gd name="T4" fmla="*/ 9 w 11"/>
                  <a:gd name="T5" fmla="*/ 3 h 10"/>
                  <a:gd name="T6" fmla="*/ 0 w 11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0" y="0"/>
                    </a:moveTo>
                    <a:cubicBezTo>
                      <a:pt x="0" y="3"/>
                      <a:pt x="5" y="4"/>
                      <a:pt x="4" y="8"/>
                    </a:cubicBezTo>
                    <a:cubicBezTo>
                      <a:pt x="5" y="3"/>
                      <a:pt x="11" y="10"/>
                      <a:pt x="9" y="3"/>
                    </a:cubicBezTo>
                    <a:cubicBezTo>
                      <a:pt x="5" y="4"/>
                      <a:pt x="4" y="3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0" name="任意多边形: 形状 1029">
                <a:extLst>
                  <a:ext uri="{FF2B5EF4-FFF2-40B4-BE49-F238E27FC236}">
                    <a16:creationId xmlns:a16="http://schemas.microsoft.com/office/drawing/2014/main" id="{BCDF552F-5B12-48C4-848B-603253BB1B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78" y="1041"/>
                <a:ext cx="39" cy="30"/>
              </a:xfrm>
              <a:custGeom>
                <a:avLst/>
                <a:gdLst>
                  <a:gd name="T0" fmla="*/ 4 w 19"/>
                  <a:gd name="T1" fmla="*/ 14 h 14"/>
                  <a:gd name="T2" fmla="*/ 14 w 19"/>
                  <a:gd name="T3" fmla="*/ 0 h 14"/>
                  <a:gd name="T4" fmla="*/ 0 w 19"/>
                  <a:gd name="T5" fmla="*/ 12 h 14"/>
                  <a:gd name="T6" fmla="*/ 4 w 19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4">
                    <a:moveTo>
                      <a:pt x="4" y="14"/>
                    </a:moveTo>
                    <a:cubicBezTo>
                      <a:pt x="8" y="10"/>
                      <a:pt x="19" y="8"/>
                      <a:pt x="14" y="0"/>
                    </a:cubicBezTo>
                    <a:cubicBezTo>
                      <a:pt x="14" y="9"/>
                      <a:pt x="2" y="7"/>
                      <a:pt x="0" y="12"/>
                    </a:cubicBezTo>
                    <a:cubicBezTo>
                      <a:pt x="1" y="12"/>
                      <a:pt x="3" y="12"/>
                      <a:pt x="4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1" name="任意多边形: 形状 1030">
                <a:extLst>
                  <a:ext uri="{FF2B5EF4-FFF2-40B4-BE49-F238E27FC236}">
                    <a16:creationId xmlns:a16="http://schemas.microsoft.com/office/drawing/2014/main" id="{CAA347AB-FB63-463A-9D61-971C94F5C9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17" y="1037"/>
                <a:ext cx="9" cy="13"/>
              </a:xfrm>
              <a:custGeom>
                <a:avLst/>
                <a:gdLst>
                  <a:gd name="T0" fmla="*/ 3 w 4"/>
                  <a:gd name="T1" fmla="*/ 1 h 6"/>
                  <a:gd name="T2" fmla="*/ 0 w 4"/>
                  <a:gd name="T3" fmla="*/ 5 h 6"/>
                  <a:gd name="T4" fmla="*/ 3 w 4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6">
                    <a:moveTo>
                      <a:pt x="3" y="1"/>
                    </a:moveTo>
                    <a:cubicBezTo>
                      <a:pt x="2" y="0"/>
                      <a:pt x="0" y="3"/>
                      <a:pt x="0" y="5"/>
                    </a:cubicBezTo>
                    <a:cubicBezTo>
                      <a:pt x="2" y="6"/>
                      <a:pt x="4" y="4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2" name="任意多边形: 形状 1031">
                <a:extLst>
                  <a:ext uri="{FF2B5EF4-FFF2-40B4-BE49-F238E27FC236}">
                    <a16:creationId xmlns:a16="http://schemas.microsoft.com/office/drawing/2014/main" id="{C54EE158-4B40-43E3-8DBC-2D9A233C32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0" y="1008"/>
                <a:ext cx="25" cy="17"/>
              </a:xfrm>
              <a:custGeom>
                <a:avLst/>
                <a:gdLst>
                  <a:gd name="T0" fmla="*/ 12 w 12"/>
                  <a:gd name="T1" fmla="*/ 3 h 8"/>
                  <a:gd name="T2" fmla="*/ 1 w 12"/>
                  <a:gd name="T3" fmla="*/ 8 h 8"/>
                  <a:gd name="T4" fmla="*/ 12 w 12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8">
                    <a:moveTo>
                      <a:pt x="12" y="3"/>
                    </a:moveTo>
                    <a:cubicBezTo>
                      <a:pt x="9" y="0"/>
                      <a:pt x="0" y="3"/>
                      <a:pt x="1" y="8"/>
                    </a:cubicBezTo>
                    <a:cubicBezTo>
                      <a:pt x="3" y="5"/>
                      <a:pt x="8" y="4"/>
                      <a:pt x="12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3" name="任意多边形: 形状 1032">
                <a:extLst>
                  <a:ext uri="{FF2B5EF4-FFF2-40B4-BE49-F238E27FC236}">
                    <a16:creationId xmlns:a16="http://schemas.microsoft.com/office/drawing/2014/main" id="{C31635A4-5155-4054-B4EA-FACD1431EAE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98" y="936"/>
                <a:ext cx="15" cy="22"/>
              </a:xfrm>
              <a:custGeom>
                <a:avLst/>
                <a:gdLst>
                  <a:gd name="T0" fmla="*/ 7 w 7"/>
                  <a:gd name="T1" fmla="*/ 8 h 11"/>
                  <a:gd name="T2" fmla="*/ 2 w 7"/>
                  <a:gd name="T3" fmla="*/ 1 h 11"/>
                  <a:gd name="T4" fmla="*/ 4 w 7"/>
                  <a:gd name="T5" fmla="*/ 4 h 11"/>
                  <a:gd name="T6" fmla="*/ 1 w 7"/>
                  <a:gd name="T7" fmla="*/ 9 h 11"/>
                  <a:gd name="T8" fmla="*/ 7 w 7"/>
                  <a:gd name="T9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1">
                    <a:moveTo>
                      <a:pt x="7" y="8"/>
                    </a:moveTo>
                    <a:cubicBezTo>
                      <a:pt x="6" y="6"/>
                      <a:pt x="4" y="0"/>
                      <a:pt x="2" y="1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7"/>
                      <a:pt x="0" y="4"/>
                      <a:pt x="1" y="9"/>
                    </a:cubicBezTo>
                    <a:cubicBezTo>
                      <a:pt x="3" y="11"/>
                      <a:pt x="5" y="10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4" name="任意多边形: 形状 1033">
                <a:extLst>
                  <a:ext uri="{FF2B5EF4-FFF2-40B4-BE49-F238E27FC236}">
                    <a16:creationId xmlns:a16="http://schemas.microsoft.com/office/drawing/2014/main" id="{9755ED58-9A94-4CAE-A62D-B032AE7229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11" y="921"/>
                <a:ext cx="41" cy="27"/>
              </a:xfrm>
              <a:custGeom>
                <a:avLst/>
                <a:gdLst>
                  <a:gd name="T0" fmla="*/ 20 w 20"/>
                  <a:gd name="T1" fmla="*/ 0 h 13"/>
                  <a:gd name="T2" fmla="*/ 0 w 20"/>
                  <a:gd name="T3" fmla="*/ 10 h 13"/>
                  <a:gd name="T4" fmla="*/ 1 w 20"/>
                  <a:gd name="T5" fmla="*/ 13 h 13"/>
                  <a:gd name="T6" fmla="*/ 20 w 20"/>
                  <a:gd name="T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13">
                    <a:moveTo>
                      <a:pt x="20" y="0"/>
                    </a:moveTo>
                    <a:cubicBezTo>
                      <a:pt x="12" y="2"/>
                      <a:pt x="8" y="6"/>
                      <a:pt x="0" y="10"/>
                    </a:cubicBezTo>
                    <a:cubicBezTo>
                      <a:pt x="1" y="11"/>
                      <a:pt x="0" y="12"/>
                      <a:pt x="1" y="13"/>
                    </a:cubicBezTo>
                    <a:cubicBezTo>
                      <a:pt x="9" y="6"/>
                      <a:pt x="17" y="5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5" name="任意多边形: 形状 1034">
                <a:extLst>
                  <a:ext uri="{FF2B5EF4-FFF2-40B4-BE49-F238E27FC236}">
                    <a16:creationId xmlns:a16="http://schemas.microsoft.com/office/drawing/2014/main" id="{C0098FB1-ACF1-49D2-8EF6-140E7BC49E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48" y="838"/>
                <a:ext cx="145" cy="85"/>
              </a:xfrm>
              <a:custGeom>
                <a:avLst/>
                <a:gdLst>
                  <a:gd name="T0" fmla="*/ 5 w 70"/>
                  <a:gd name="T1" fmla="*/ 41 h 41"/>
                  <a:gd name="T2" fmla="*/ 26 w 70"/>
                  <a:gd name="T3" fmla="*/ 34 h 41"/>
                  <a:gd name="T4" fmla="*/ 25 w 70"/>
                  <a:gd name="T5" fmla="*/ 39 h 41"/>
                  <a:gd name="T6" fmla="*/ 31 w 70"/>
                  <a:gd name="T7" fmla="*/ 32 h 41"/>
                  <a:gd name="T8" fmla="*/ 66 w 70"/>
                  <a:gd name="T9" fmla="*/ 9 h 41"/>
                  <a:gd name="T10" fmla="*/ 68 w 70"/>
                  <a:gd name="T11" fmla="*/ 0 h 41"/>
                  <a:gd name="T12" fmla="*/ 53 w 70"/>
                  <a:gd name="T13" fmla="*/ 7 h 41"/>
                  <a:gd name="T14" fmla="*/ 57 w 70"/>
                  <a:gd name="T15" fmla="*/ 8 h 41"/>
                  <a:gd name="T16" fmla="*/ 32 w 70"/>
                  <a:gd name="T17" fmla="*/ 25 h 41"/>
                  <a:gd name="T18" fmla="*/ 26 w 70"/>
                  <a:gd name="T19" fmla="*/ 25 h 41"/>
                  <a:gd name="T20" fmla="*/ 13 w 70"/>
                  <a:gd name="T21" fmla="*/ 36 h 41"/>
                  <a:gd name="T22" fmla="*/ 5 w 70"/>
                  <a:gd name="T23" fmla="*/ 41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0" h="41">
                    <a:moveTo>
                      <a:pt x="5" y="41"/>
                    </a:moveTo>
                    <a:cubicBezTo>
                      <a:pt x="12" y="41"/>
                      <a:pt x="16" y="29"/>
                      <a:pt x="26" y="34"/>
                    </a:cubicBezTo>
                    <a:cubicBezTo>
                      <a:pt x="25" y="36"/>
                      <a:pt x="24" y="37"/>
                      <a:pt x="25" y="39"/>
                    </a:cubicBezTo>
                    <a:cubicBezTo>
                      <a:pt x="26" y="38"/>
                      <a:pt x="30" y="27"/>
                      <a:pt x="31" y="32"/>
                    </a:cubicBezTo>
                    <a:cubicBezTo>
                      <a:pt x="39" y="20"/>
                      <a:pt x="56" y="15"/>
                      <a:pt x="66" y="9"/>
                    </a:cubicBezTo>
                    <a:cubicBezTo>
                      <a:pt x="65" y="1"/>
                      <a:pt x="70" y="9"/>
                      <a:pt x="68" y="0"/>
                    </a:cubicBezTo>
                    <a:cubicBezTo>
                      <a:pt x="63" y="2"/>
                      <a:pt x="57" y="5"/>
                      <a:pt x="53" y="7"/>
                    </a:cubicBezTo>
                    <a:cubicBezTo>
                      <a:pt x="55" y="7"/>
                      <a:pt x="56" y="7"/>
                      <a:pt x="57" y="8"/>
                    </a:cubicBezTo>
                    <a:cubicBezTo>
                      <a:pt x="49" y="13"/>
                      <a:pt x="38" y="15"/>
                      <a:pt x="32" y="25"/>
                    </a:cubicBezTo>
                    <a:cubicBezTo>
                      <a:pt x="29" y="24"/>
                      <a:pt x="28" y="28"/>
                      <a:pt x="26" y="25"/>
                    </a:cubicBezTo>
                    <a:cubicBezTo>
                      <a:pt x="22" y="30"/>
                      <a:pt x="15" y="29"/>
                      <a:pt x="13" y="36"/>
                    </a:cubicBezTo>
                    <a:cubicBezTo>
                      <a:pt x="11" y="33"/>
                      <a:pt x="0" y="39"/>
                      <a:pt x="5" y="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6" name="任意多边形: 形状 1035">
                <a:extLst>
                  <a:ext uri="{FF2B5EF4-FFF2-40B4-BE49-F238E27FC236}">
                    <a16:creationId xmlns:a16="http://schemas.microsoft.com/office/drawing/2014/main" id="{AEE1EE7A-D7CB-4882-9F34-63630F1C8F4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85" y="761"/>
                <a:ext cx="8" cy="13"/>
              </a:xfrm>
              <a:custGeom>
                <a:avLst/>
                <a:gdLst>
                  <a:gd name="T0" fmla="*/ 3 w 4"/>
                  <a:gd name="T1" fmla="*/ 0 h 6"/>
                  <a:gd name="T2" fmla="*/ 0 w 4"/>
                  <a:gd name="T3" fmla="*/ 2 h 6"/>
                  <a:gd name="T4" fmla="*/ 3 w 4"/>
                  <a:gd name="T5" fmla="*/ 6 h 6"/>
                  <a:gd name="T6" fmla="*/ 3 w 4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6">
                    <a:moveTo>
                      <a:pt x="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4" y="5"/>
                      <a:pt x="4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7" name="任意多边形: 形状 1036">
                <a:extLst>
                  <a:ext uri="{FF2B5EF4-FFF2-40B4-BE49-F238E27FC236}">
                    <a16:creationId xmlns:a16="http://schemas.microsoft.com/office/drawing/2014/main" id="{9F12CC36-878D-4F14-8F69-A89CA611F69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2" y="2062"/>
                <a:ext cx="13" cy="13"/>
              </a:xfrm>
              <a:custGeom>
                <a:avLst/>
                <a:gdLst>
                  <a:gd name="T0" fmla="*/ 2 w 6"/>
                  <a:gd name="T1" fmla="*/ 0 h 6"/>
                  <a:gd name="T2" fmla="*/ 0 w 6"/>
                  <a:gd name="T3" fmla="*/ 1 h 6"/>
                  <a:gd name="T4" fmla="*/ 5 w 6"/>
                  <a:gd name="T5" fmla="*/ 2 h 6"/>
                  <a:gd name="T6" fmla="*/ 2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5"/>
                      <a:pt x="6" y="6"/>
                      <a:pt x="5" y="2"/>
                    </a:cubicBezTo>
                    <a:cubicBezTo>
                      <a:pt x="4" y="3"/>
                      <a:pt x="3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8" name="任意多边形: 形状 1037">
                <a:extLst>
                  <a:ext uri="{FF2B5EF4-FFF2-40B4-BE49-F238E27FC236}">
                    <a16:creationId xmlns:a16="http://schemas.microsoft.com/office/drawing/2014/main" id="{19C1160B-30E5-4E20-B053-CAF48B85D0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33" y="595"/>
                <a:ext cx="21" cy="19"/>
              </a:xfrm>
              <a:custGeom>
                <a:avLst/>
                <a:gdLst>
                  <a:gd name="T0" fmla="*/ 5 w 10"/>
                  <a:gd name="T1" fmla="*/ 9 h 9"/>
                  <a:gd name="T2" fmla="*/ 8 w 10"/>
                  <a:gd name="T3" fmla="*/ 5 h 9"/>
                  <a:gd name="T4" fmla="*/ 8 w 10"/>
                  <a:gd name="T5" fmla="*/ 7 h 9"/>
                  <a:gd name="T6" fmla="*/ 8 w 10"/>
                  <a:gd name="T7" fmla="*/ 2 h 9"/>
                  <a:gd name="T8" fmla="*/ 5 w 10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5" y="9"/>
                    </a:moveTo>
                    <a:cubicBezTo>
                      <a:pt x="3" y="6"/>
                      <a:pt x="8" y="5"/>
                      <a:pt x="8" y="5"/>
                    </a:cubicBezTo>
                    <a:cubicBezTo>
                      <a:pt x="8" y="5"/>
                      <a:pt x="8" y="6"/>
                      <a:pt x="8" y="7"/>
                    </a:cubicBezTo>
                    <a:cubicBezTo>
                      <a:pt x="10" y="6"/>
                      <a:pt x="10" y="4"/>
                      <a:pt x="8" y="2"/>
                    </a:cubicBezTo>
                    <a:cubicBezTo>
                      <a:pt x="5" y="0"/>
                      <a:pt x="0" y="7"/>
                      <a:pt x="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39" name="任意多边形: 形状 1038">
                <a:extLst>
                  <a:ext uri="{FF2B5EF4-FFF2-40B4-BE49-F238E27FC236}">
                    <a16:creationId xmlns:a16="http://schemas.microsoft.com/office/drawing/2014/main" id="{A141DC09-3919-4768-8875-8328B16562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0" y="759"/>
                <a:ext cx="15" cy="17"/>
              </a:xfrm>
              <a:custGeom>
                <a:avLst/>
                <a:gdLst>
                  <a:gd name="T0" fmla="*/ 1 w 7"/>
                  <a:gd name="T1" fmla="*/ 3 h 8"/>
                  <a:gd name="T2" fmla="*/ 1 w 7"/>
                  <a:gd name="T3" fmla="*/ 7 h 8"/>
                  <a:gd name="T4" fmla="*/ 6 w 7"/>
                  <a:gd name="T5" fmla="*/ 4 h 8"/>
                  <a:gd name="T6" fmla="*/ 1 w 7"/>
                  <a:gd name="T7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1" y="3"/>
                    </a:moveTo>
                    <a:cubicBezTo>
                      <a:pt x="0" y="4"/>
                      <a:pt x="1" y="6"/>
                      <a:pt x="1" y="7"/>
                    </a:cubicBezTo>
                    <a:cubicBezTo>
                      <a:pt x="3" y="8"/>
                      <a:pt x="7" y="8"/>
                      <a:pt x="6" y="4"/>
                    </a:cubicBezTo>
                    <a:cubicBezTo>
                      <a:pt x="4" y="6"/>
                      <a:pt x="2" y="0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0" name="任意多边形: 形状 1039">
                <a:extLst>
                  <a:ext uri="{FF2B5EF4-FFF2-40B4-BE49-F238E27FC236}">
                    <a16:creationId xmlns:a16="http://schemas.microsoft.com/office/drawing/2014/main" id="{7EA53762-84B6-4C8C-BD7F-7ACE647DD2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95" y="662"/>
                <a:ext cx="19" cy="16"/>
              </a:xfrm>
              <a:custGeom>
                <a:avLst/>
                <a:gdLst>
                  <a:gd name="T0" fmla="*/ 4 w 9"/>
                  <a:gd name="T1" fmla="*/ 6 h 8"/>
                  <a:gd name="T2" fmla="*/ 4 w 9"/>
                  <a:gd name="T3" fmla="*/ 8 h 8"/>
                  <a:gd name="T4" fmla="*/ 6 w 9"/>
                  <a:gd name="T5" fmla="*/ 6 h 8"/>
                  <a:gd name="T6" fmla="*/ 6 w 9"/>
                  <a:gd name="T7" fmla="*/ 0 h 8"/>
                  <a:gd name="T8" fmla="*/ 4 w 9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8">
                    <a:moveTo>
                      <a:pt x="4" y="6"/>
                    </a:moveTo>
                    <a:cubicBezTo>
                      <a:pt x="3" y="6"/>
                      <a:pt x="3" y="7"/>
                      <a:pt x="4" y="8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1" y="3"/>
                      <a:pt x="9" y="1"/>
                      <a:pt x="6" y="0"/>
                    </a:cubicBezTo>
                    <a:cubicBezTo>
                      <a:pt x="0" y="1"/>
                      <a:pt x="3" y="3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1" name="任意多边形: 形状 1040">
                <a:extLst>
                  <a:ext uri="{FF2B5EF4-FFF2-40B4-BE49-F238E27FC236}">
                    <a16:creationId xmlns:a16="http://schemas.microsoft.com/office/drawing/2014/main" id="{E75B06D0-1B1A-454A-AEDE-AF845FECBE3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08" y="678"/>
                <a:ext cx="10" cy="15"/>
              </a:xfrm>
              <a:custGeom>
                <a:avLst/>
                <a:gdLst>
                  <a:gd name="T0" fmla="*/ 5 w 5"/>
                  <a:gd name="T1" fmla="*/ 5 h 7"/>
                  <a:gd name="T2" fmla="*/ 3 w 5"/>
                  <a:gd name="T3" fmla="*/ 0 h 7"/>
                  <a:gd name="T4" fmla="*/ 5 w 5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5" y="5"/>
                    </a:moveTo>
                    <a:cubicBezTo>
                      <a:pt x="3" y="3"/>
                      <a:pt x="3" y="1"/>
                      <a:pt x="3" y="0"/>
                    </a:cubicBezTo>
                    <a:cubicBezTo>
                      <a:pt x="0" y="1"/>
                      <a:pt x="1" y="7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2" name="任意多边形: 形状 1041">
                <a:extLst>
                  <a:ext uri="{FF2B5EF4-FFF2-40B4-BE49-F238E27FC236}">
                    <a16:creationId xmlns:a16="http://schemas.microsoft.com/office/drawing/2014/main" id="{A71F20BF-57B9-42F2-B0EE-D576ED3FEC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52" y="550"/>
                <a:ext cx="12" cy="10"/>
              </a:xfrm>
              <a:custGeom>
                <a:avLst/>
                <a:gdLst>
                  <a:gd name="T0" fmla="*/ 5 w 6"/>
                  <a:gd name="T1" fmla="*/ 1 h 5"/>
                  <a:gd name="T2" fmla="*/ 2 w 6"/>
                  <a:gd name="T3" fmla="*/ 4 h 5"/>
                  <a:gd name="T4" fmla="*/ 5 w 6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5">
                    <a:moveTo>
                      <a:pt x="5" y="1"/>
                    </a:moveTo>
                    <a:cubicBezTo>
                      <a:pt x="3" y="2"/>
                      <a:pt x="0" y="0"/>
                      <a:pt x="2" y="4"/>
                    </a:cubicBezTo>
                    <a:cubicBezTo>
                      <a:pt x="4" y="5"/>
                      <a:pt x="6" y="4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3" name="任意多边形: 形状 1042">
                <a:extLst>
                  <a:ext uri="{FF2B5EF4-FFF2-40B4-BE49-F238E27FC236}">
                    <a16:creationId xmlns:a16="http://schemas.microsoft.com/office/drawing/2014/main" id="{5A19D550-8E95-48CC-B9EE-4371F03A3F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60" y="550"/>
                <a:ext cx="17" cy="16"/>
              </a:xfrm>
              <a:custGeom>
                <a:avLst/>
                <a:gdLst>
                  <a:gd name="T0" fmla="*/ 3 w 8"/>
                  <a:gd name="T1" fmla="*/ 6 h 8"/>
                  <a:gd name="T2" fmla="*/ 8 w 8"/>
                  <a:gd name="T3" fmla="*/ 6 h 8"/>
                  <a:gd name="T4" fmla="*/ 1 w 8"/>
                  <a:gd name="T5" fmla="*/ 0 h 8"/>
                  <a:gd name="T6" fmla="*/ 3 w 8"/>
                  <a:gd name="T7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8">
                    <a:moveTo>
                      <a:pt x="3" y="6"/>
                    </a:moveTo>
                    <a:cubicBezTo>
                      <a:pt x="4" y="2"/>
                      <a:pt x="6" y="8"/>
                      <a:pt x="8" y="6"/>
                    </a:cubicBezTo>
                    <a:cubicBezTo>
                      <a:pt x="8" y="3"/>
                      <a:pt x="4" y="1"/>
                      <a:pt x="1" y="0"/>
                    </a:cubicBezTo>
                    <a:cubicBezTo>
                      <a:pt x="3" y="3"/>
                      <a:pt x="0" y="3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4" name="任意多边形: 形状 1043">
                <a:extLst>
                  <a:ext uri="{FF2B5EF4-FFF2-40B4-BE49-F238E27FC236}">
                    <a16:creationId xmlns:a16="http://schemas.microsoft.com/office/drawing/2014/main" id="{08D4913C-9D1C-484A-AF38-05339AA5D88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99" y="699"/>
                <a:ext cx="17" cy="15"/>
              </a:xfrm>
              <a:custGeom>
                <a:avLst/>
                <a:gdLst>
                  <a:gd name="T0" fmla="*/ 2 w 8"/>
                  <a:gd name="T1" fmla="*/ 7 h 7"/>
                  <a:gd name="T2" fmla="*/ 4 w 8"/>
                  <a:gd name="T3" fmla="*/ 0 h 7"/>
                  <a:gd name="T4" fmla="*/ 2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2" y="7"/>
                    </a:moveTo>
                    <a:cubicBezTo>
                      <a:pt x="5" y="6"/>
                      <a:pt x="8" y="1"/>
                      <a:pt x="4" y="0"/>
                    </a:cubicBezTo>
                    <a:cubicBezTo>
                      <a:pt x="6" y="5"/>
                      <a:pt x="0" y="1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5" name="任意多边形: 形状 1044">
                <a:extLst>
                  <a:ext uri="{FF2B5EF4-FFF2-40B4-BE49-F238E27FC236}">
                    <a16:creationId xmlns:a16="http://schemas.microsoft.com/office/drawing/2014/main" id="{86A456C2-303B-49C7-AC32-46F42350AB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16" y="622"/>
                <a:ext cx="21" cy="19"/>
              </a:xfrm>
              <a:custGeom>
                <a:avLst/>
                <a:gdLst>
                  <a:gd name="T0" fmla="*/ 10 w 10"/>
                  <a:gd name="T1" fmla="*/ 3 h 9"/>
                  <a:gd name="T2" fmla="*/ 1 w 10"/>
                  <a:gd name="T3" fmla="*/ 9 h 9"/>
                  <a:gd name="T4" fmla="*/ 10 w 10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9">
                    <a:moveTo>
                      <a:pt x="10" y="3"/>
                    </a:moveTo>
                    <a:cubicBezTo>
                      <a:pt x="6" y="0"/>
                      <a:pt x="0" y="6"/>
                      <a:pt x="1" y="9"/>
                    </a:cubicBezTo>
                    <a:cubicBezTo>
                      <a:pt x="5" y="6"/>
                      <a:pt x="5" y="4"/>
                      <a:pt x="1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6" name="任意多边形: 形状 1045">
                <a:extLst>
                  <a:ext uri="{FF2B5EF4-FFF2-40B4-BE49-F238E27FC236}">
                    <a16:creationId xmlns:a16="http://schemas.microsoft.com/office/drawing/2014/main" id="{8884BC5F-0264-454B-9859-4ED0B8A449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39" y="635"/>
                <a:ext cx="16" cy="12"/>
              </a:xfrm>
              <a:custGeom>
                <a:avLst/>
                <a:gdLst>
                  <a:gd name="T0" fmla="*/ 8 w 8"/>
                  <a:gd name="T1" fmla="*/ 3 h 6"/>
                  <a:gd name="T2" fmla="*/ 2 w 8"/>
                  <a:gd name="T3" fmla="*/ 6 h 6"/>
                  <a:gd name="T4" fmla="*/ 8 w 8"/>
                  <a:gd name="T5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8" y="3"/>
                    </a:moveTo>
                    <a:cubicBezTo>
                      <a:pt x="6" y="0"/>
                      <a:pt x="0" y="2"/>
                      <a:pt x="2" y="6"/>
                    </a:cubicBezTo>
                    <a:cubicBezTo>
                      <a:pt x="4" y="4"/>
                      <a:pt x="6" y="4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7" name="任意多边形: 形状 1046">
                <a:extLst>
                  <a:ext uri="{FF2B5EF4-FFF2-40B4-BE49-F238E27FC236}">
                    <a16:creationId xmlns:a16="http://schemas.microsoft.com/office/drawing/2014/main" id="{F0DF57BD-B9A1-4F0E-8C79-B463AF6466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70" y="792"/>
                <a:ext cx="14" cy="17"/>
              </a:xfrm>
              <a:custGeom>
                <a:avLst/>
                <a:gdLst>
                  <a:gd name="T0" fmla="*/ 1 w 7"/>
                  <a:gd name="T1" fmla="*/ 8 h 8"/>
                  <a:gd name="T2" fmla="*/ 7 w 7"/>
                  <a:gd name="T3" fmla="*/ 0 h 8"/>
                  <a:gd name="T4" fmla="*/ 2 w 7"/>
                  <a:gd name="T5" fmla="*/ 0 h 8"/>
                  <a:gd name="T6" fmla="*/ 1 w 7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1" y="8"/>
                    </a:moveTo>
                    <a:cubicBezTo>
                      <a:pt x="4" y="5"/>
                      <a:pt x="5" y="5"/>
                      <a:pt x="7" y="0"/>
                    </a:cubicBezTo>
                    <a:cubicBezTo>
                      <a:pt x="5" y="0"/>
                      <a:pt x="3" y="1"/>
                      <a:pt x="2" y="0"/>
                    </a:cubicBezTo>
                    <a:cubicBezTo>
                      <a:pt x="5" y="4"/>
                      <a:pt x="0" y="5"/>
                      <a:pt x="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8" name="任意多边形: 形状 1047">
                <a:extLst>
                  <a:ext uri="{FF2B5EF4-FFF2-40B4-BE49-F238E27FC236}">
                    <a16:creationId xmlns:a16="http://schemas.microsoft.com/office/drawing/2014/main" id="{0A2CB43E-FA45-4941-A500-E2379A3A0E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66" y="425"/>
                <a:ext cx="15" cy="15"/>
              </a:xfrm>
              <a:custGeom>
                <a:avLst/>
                <a:gdLst>
                  <a:gd name="T0" fmla="*/ 4 w 7"/>
                  <a:gd name="T1" fmla="*/ 2 h 7"/>
                  <a:gd name="T2" fmla="*/ 1 w 7"/>
                  <a:gd name="T3" fmla="*/ 7 h 7"/>
                  <a:gd name="T4" fmla="*/ 4 w 7"/>
                  <a:gd name="T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2"/>
                    </a:moveTo>
                    <a:cubicBezTo>
                      <a:pt x="2" y="0"/>
                      <a:pt x="0" y="5"/>
                      <a:pt x="1" y="7"/>
                    </a:cubicBezTo>
                    <a:cubicBezTo>
                      <a:pt x="2" y="4"/>
                      <a:pt x="7" y="5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49" name="任意多边形: 形状 1048">
                <a:extLst>
                  <a:ext uri="{FF2B5EF4-FFF2-40B4-BE49-F238E27FC236}">
                    <a16:creationId xmlns:a16="http://schemas.microsoft.com/office/drawing/2014/main" id="{4CA0CCB0-3110-478D-B213-68DED47EE7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22" y="664"/>
                <a:ext cx="33" cy="27"/>
              </a:xfrm>
              <a:custGeom>
                <a:avLst/>
                <a:gdLst>
                  <a:gd name="T0" fmla="*/ 16 w 16"/>
                  <a:gd name="T1" fmla="*/ 7 h 13"/>
                  <a:gd name="T2" fmla="*/ 11 w 16"/>
                  <a:gd name="T3" fmla="*/ 0 h 13"/>
                  <a:gd name="T4" fmla="*/ 3 w 16"/>
                  <a:gd name="T5" fmla="*/ 13 h 13"/>
                  <a:gd name="T6" fmla="*/ 16 w 16"/>
                  <a:gd name="T7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13">
                    <a:moveTo>
                      <a:pt x="16" y="7"/>
                    </a:moveTo>
                    <a:cubicBezTo>
                      <a:pt x="14" y="4"/>
                      <a:pt x="12" y="1"/>
                      <a:pt x="11" y="0"/>
                    </a:cubicBezTo>
                    <a:cubicBezTo>
                      <a:pt x="11" y="6"/>
                      <a:pt x="0" y="5"/>
                      <a:pt x="3" y="13"/>
                    </a:cubicBezTo>
                    <a:cubicBezTo>
                      <a:pt x="6" y="9"/>
                      <a:pt x="12" y="10"/>
                      <a:pt x="1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0" name="任意多边形: 形状 1049">
                <a:extLst>
                  <a:ext uri="{FF2B5EF4-FFF2-40B4-BE49-F238E27FC236}">
                    <a16:creationId xmlns:a16="http://schemas.microsoft.com/office/drawing/2014/main" id="{A5CA2AC7-3458-489E-8CA0-E3FE6DB669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94" y="1295"/>
                <a:ext cx="12" cy="12"/>
              </a:xfrm>
              <a:custGeom>
                <a:avLst/>
                <a:gdLst>
                  <a:gd name="T0" fmla="*/ 3 w 6"/>
                  <a:gd name="T1" fmla="*/ 6 h 6"/>
                  <a:gd name="T2" fmla="*/ 3 w 6"/>
                  <a:gd name="T3" fmla="*/ 0 h 6"/>
                  <a:gd name="T4" fmla="*/ 1 w 6"/>
                  <a:gd name="T5" fmla="*/ 5 h 6"/>
                  <a:gd name="T6" fmla="*/ 3 w 6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3" y="6"/>
                    </a:moveTo>
                    <a:cubicBezTo>
                      <a:pt x="6" y="5"/>
                      <a:pt x="5" y="3"/>
                      <a:pt x="3" y="0"/>
                    </a:cubicBezTo>
                    <a:cubicBezTo>
                      <a:pt x="2" y="2"/>
                      <a:pt x="0" y="3"/>
                      <a:pt x="1" y="5"/>
                    </a:cubicBezTo>
                    <a:cubicBezTo>
                      <a:pt x="2" y="4"/>
                      <a:pt x="3" y="4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1" name="任意多边形: 形状 1050">
                <a:extLst>
                  <a:ext uri="{FF2B5EF4-FFF2-40B4-BE49-F238E27FC236}">
                    <a16:creationId xmlns:a16="http://schemas.microsoft.com/office/drawing/2014/main" id="{98E3B805-1F51-452A-9E08-E9302CB57E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0" y="865"/>
                <a:ext cx="21" cy="15"/>
              </a:xfrm>
              <a:custGeom>
                <a:avLst/>
                <a:gdLst>
                  <a:gd name="T0" fmla="*/ 4 w 10"/>
                  <a:gd name="T1" fmla="*/ 2 h 7"/>
                  <a:gd name="T2" fmla="*/ 7 w 10"/>
                  <a:gd name="T3" fmla="*/ 6 h 7"/>
                  <a:gd name="T4" fmla="*/ 5 w 10"/>
                  <a:gd name="T5" fmla="*/ 0 h 7"/>
                  <a:gd name="T6" fmla="*/ 1 w 10"/>
                  <a:gd name="T7" fmla="*/ 7 h 7"/>
                  <a:gd name="T8" fmla="*/ 4 w 10"/>
                  <a:gd name="T9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7">
                    <a:moveTo>
                      <a:pt x="4" y="2"/>
                    </a:moveTo>
                    <a:cubicBezTo>
                      <a:pt x="7" y="3"/>
                      <a:pt x="5" y="3"/>
                      <a:pt x="7" y="6"/>
                    </a:cubicBezTo>
                    <a:cubicBezTo>
                      <a:pt x="10" y="6"/>
                      <a:pt x="6" y="2"/>
                      <a:pt x="5" y="0"/>
                    </a:cubicBezTo>
                    <a:cubicBezTo>
                      <a:pt x="2" y="0"/>
                      <a:pt x="0" y="3"/>
                      <a:pt x="1" y="7"/>
                    </a:cubicBezTo>
                    <a:cubicBezTo>
                      <a:pt x="4" y="6"/>
                      <a:pt x="4" y="4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2" name="任意多边形: 形状 1051">
                <a:extLst>
                  <a:ext uri="{FF2B5EF4-FFF2-40B4-BE49-F238E27FC236}">
                    <a16:creationId xmlns:a16="http://schemas.microsoft.com/office/drawing/2014/main" id="{3FD6646C-4EF7-4FD8-8CE9-98DA46939A9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94" y="774"/>
                <a:ext cx="17" cy="23"/>
              </a:xfrm>
              <a:custGeom>
                <a:avLst/>
                <a:gdLst>
                  <a:gd name="T0" fmla="*/ 2 w 8"/>
                  <a:gd name="T1" fmla="*/ 8 h 11"/>
                  <a:gd name="T2" fmla="*/ 6 w 8"/>
                  <a:gd name="T3" fmla="*/ 10 h 11"/>
                  <a:gd name="T4" fmla="*/ 6 w 8"/>
                  <a:gd name="T5" fmla="*/ 5 h 11"/>
                  <a:gd name="T6" fmla="*/ 2 w 8"/>
                  <a:gd name="T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11">
                    <a:moveTo>
                      <a:pt x="2" y="8"/>
                    </a:moveTo>
                    <a:cubicBezTo>
                      <a:pt x="3" y="11"/>
                      <a:pt x="4" y="9"/>
                      <a:pt x="6" y="10"/>
                    </a:cubicBezTo>
                    <a:cubicBezTo>
                      <a:pt x="2" y="6"/>
                      <a:pt x="8" y="7"/>
                      <a:pt x="6" y="5"/>
                    </a:cubicBezTo>
                    <a:cubicBezTo>
                      <a:pt x="0" y="0"/>
                      <a:pt x="7" y="6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3" name="任意多边形: 形状 1052">
                <a:extLst>
                  <a:ext uri="{FF2B5EF4-FFF2-40B4-BE49-F238E27FC236}">
                    <a16:creationId xmlns:a16="http://schemas.microsoft.com/office/drawing/2014/main" id="{1604A5DB-90DE-4549-97A2-75F6174E9D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09" y="768"/>
                <a:ext cx="19" cy="24"/>
              </a:xfrm>
              <a:custGeom>
                <a:avLst/>
                <a:gdLst>
                  <a:gd name="T0" fmla="*/ 8 w 9"/>
                  <a:gd name="T1" fmla="*/ 2 h 12"/>
                  <a:gd name="T2" fmla="*/ 3 w 9"/>
                  <a:gd name="T3" fmla="*/ 2 h 12"/>
                  <a:gd name="T4" fmla="*/ 0 w 9"/>
                  <a:gd name="T5" fmla="*/ 7 h 12"/>
                  <a:gd name="T6" fmla="*/ 8 w 9"/>
                  <a:gd name="T7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12">
                    <a:moveTo>
                      <a:pt x="8" y="2"/>
                    </a:moveTo>
                    <a:cubicBezTo>
                      <a:pt x="7" y="5"/>
                      <a:pt x="5" y="0"/>
                      <a:pt x="3" y="2"/>
                    </a:cubicBezTo>
                    <a:cubicBezTo>
                      <a:pt x="2" y="4"/>
                      <a:pt x="4" y="9"/>
                      <a:pt x="0" y="7"/>
                    </a:cubicBezTo>
                    <a:cubicBezTo>
                      <a:pt x="5" y="12"/>
                      <a:pt x="9" y="6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4" name="任意多边形: 形状 1053">
                <a:extLst>
                  <a:ext uri="{FF2B5EF4-FFF2-40B4-BE49-F238E27FC236}">
                    <a16:creationId xmlns:a16="http://schemas.microsoft.com/office/drawing/2014/main" id="{673C4F9F-98F7-43AF-AA06-5B5637A1D1E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9" y="836"/>
                <a:ext cx="15" cy="17"/>
              </a:xfrm>
              <a:custGeom>
                <a:avLst/>
                <a:gdLst>
                  <a:gd name="T0" fmla="*/ 2 w 7"/>
                  <a:gd name="T1" fmla="*/ 8 h 8"/>
                  <a:gd name="T2" fmla="*/ 7 w 7"/>
                  <a:gd name="T3" fmla="*/ 5 h 8"/>
                  <a:gd name="T4" fmla="*/ 1 w 7"/>
                  <a:gd name="T5" fmla="*/ 0 h 8"/>
                  <a:gd name="T6" fmla="*/ 2 w 7"/>
                  <a:gd name="T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2" y="8"/>
                    </a:moveTo>
                    <a:cubicBezTo>
                      <a:pt x="7" y="5"/>
                      <a:pt x="7" y="5"/>
                      <a:pt x="7" y="5"/>
                    </a:cubicBezTo>
                    <a:cubicBezTo>
                      <a:pt x="5" y="1"/>
                      <a:pt x="3" y="1"/>
                      <a:pt x="1" y="0"/>
                    </a:cubicBezTo>
                    <a:cubicBezTo>
                      <a:pt x="6" y="7"/>
                      <a:pt x="0" y="4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5" name="任意多边形: 形状 1054">
                <a:extLst>
                  <a:ext uri="{FF2B5EF4-FFF2-40B4-BE49-F238E27FC236}">
                    <a16:creationId xmlns:a16="http://schemas.microsoft.com/office/drawing/2014/main" id="{4A5BBF93-FEA6-4C16-B7A4-0CC06794CA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48" y="747"/>
                <a:ext cx="19" cy="14"/>
              </a:xfrm>
              <a:custGeom>
                <a:avLst/>
                <a:gdLst>
                  <a:gd name="T0" fmla="*/ 8 w 9"/>
                  <a:gd name="T1" fmla="*/ 0 h 7"/>
                  <a:gd name="T2" fmla="*/ 2 w 9"/>
                  <a:gd name="T3" fmla="*/ 7 h 7"/>
                  <a:gd name="T4" fmla="*/ 8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8" y="0"/>
                    </a:moveTo>
                    <a:cubicBezTo>
                      <a:pt x="7" y="5"/>
                      <a:pt x="0" y="2"/>
                      <a:pt x="2" y="7"/>
                    </a:cubicBezTo>
                    <a:cubicBezTo>
                      <a:pt x="4" y="5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6" name="任意多边形: 形状 1055">
                <a:extLst>
                  <a:ext uri="{FF2B5EF4-FFF2-40B4-BE49-F238E27FC236}">
                    <a16:creationId xmlns:a16="http://schemas.microsoft.com/office/drawing/2014/main" id="{E93F63CB-CD91-489E-99A5-A8C44C6E72D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86" y="788"/>
                <a:ext cx="21" cy="21"/>
              </a:xfrm>
              <a:custGeom>
                <a:avLst/>
                <a:gdLst>
                  <a:gd name="T0" fmla="*/ 0 w 10"/>
                  <a:gd name="T1" fmla="*/ 7 h 10"/>
                  <a:gd name="T2" fmla="*/ 8 w 10"/>
                  <a:gd name="T3" fmla="*/ 10 h 10"/>
                  <a:gd name="T4" fmla="*/ 7 w 10"/>
                  <a:gd name="T5" fmla="*/ 0 h 10"/>
                  <a:gd name="T6" fmla="*/ 0 w 10"/>
                  <a:gd name="T7" fmla="*/ 7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0" y="7"/>
                    </a:moveTo>
                    <a:cubicBezTo>
                      <a:pt x="3" y="7"/>
                      <a:pt x="5" y="10"/>
                      <a:pt x="8" y="10"/>
                    </a:cubicBezTo>
                    <a:cubicBezTo>
                      <a:pt x="4" y="5"/>
                      <a:pt x="10" y="5"/>
                      <a:pt x="7" y="0"/>
                    </a:cubicBezTo>
                    <a:cubicBezTo>
                      <a:pt x="5" y="5"/>
                      <a:pt x="3" y="6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7" name="任意多边形: 形状 1056">
                <a:extLst>
                  <a:ext uri="{FF2B5EF4-FFF2-40B4-BE49-F238E27FC236}">
                    <a16:creationId xmlns:a16="http://schemas.microsoft.com/office/drawing/2014/main" id="{2893B210-44A6-4DED-8E3D-75FA49626D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92" y="637"/>
                <a:ext cx="13" cy="14"/>
              </a:xfrm>
              <a:custGeom>
                <a:avLst/>
                <a:gdLst>
                  <a:gd name="T0" fmla="*/ 2 w 6"/>
                  <a:gd name="T1" fmla="*/ 0 h 7"/>
                  <a:gd name="T2" fmla="*/ 2 w 6"/>
                  <a:gd name="T3" fmla="*/ 7 h 7"/>
                  <a:gd name="T4" fmla="*/ 2 w 6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0"/>
                    </a:moveTo>
                    <a:cubicBezTo>
                      <a:pt x="2" y="3"/>
                      <a:pt x="0" y="4"/>
                      <a:pt x="2" y="7"/>
                    </a:cubicBezTo>
                    <a:cubicBezTo>
                      <a:pt x="3" y="6"/>
                      <a:pt x="6" y="1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8" name="任意多边形: 形状 1057">
                <a:extLst>
                  <a:ext uri="{FF2B5EF4-FFF2-40B4-BE49-F238E27FC236}">
                    <a16:creationId xmlns:a16="http://schemas.microsoft.com/office/drawing/2014/main" id="{DFC7B341-C2F4-4936-A03D-0EF11928AD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63" y="739"/>
                <a:ext cx="15" cy="12"/>
              </a:xfrm>
              <a:custGeom>
                <a:avLst/>
                <a:gdLst>
                  <a:gd name="T0" fmla="*/ 6 w 7"/>
                  <a:gd name="T1" fmla="*/ 1 h 6"/>
                  <a:gd name="T2" fmla="*/ 3 w 7"/>
                  <a:gd name="T3" fmla="*/ 0 h 6"/>
                  <a:gd name="T4" fmla="*/ 2 w 7"/>
                  <a:gd name="T5" fmla="*/ 5 h 6"/>
                  <a:gd name="T6" fmla="*/ 6 w 7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6" y="1"/>
                    </a:moveTo>
                    <a:cubicBezTo>
                      <a:pt x="5" y="2"/>
                      <a:pt x="4" y="0"/>
                      <a:pt x="3" y="0"/>
                    </a:cubicBezTo>
                    <a:cubicBezTo>
                      <a:pt x="7" y="4"/>
                      <a:pt x="0" y="2"/>
                      <a:pt x="2" y="5"/>
                    </a:cubicBezTo>
                    <a:cubicBezTo>
                      <a:pt x="4" y="6"/>
                      <a:pt x="6" y="4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59" name="任意多边形: 形状 1058">
                <a:extLst>
                  <a:ext uri="{FF2B5EF4-FFF2-40B4-BE49-F238E27FC236}">
                    <a16:creationId xmlns:a16="http://schemas.microsoft.com/office/drawing/2014/main" id="{BA0AA9BD-9E0D-4630-BFD4-54759F860B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32" y="836"/>
                <a:ext cx="12" cy="17"/>
              </a:xfrm>
              <a:custGeom>
                <a:avLst/>
                <a:gdLst>
                  <a:gd name="T0" fmla="*/ 6 w 6"/>
                  <a:gd name="T1" fmla="*/ 2 h 8"/>
                  <a:gd name="T2" fmla="*/ 0 w 6"/>
                  <a:gd name="T3" fmla="*/ 3 h 8"/>
                  <a:gd name="T4" fmla="*/ 2 w 6"/>
                  <a:gd name="T5" fmla="*/ 8 h 8"/>
                  <a:gd name="T6" fmla="*/ 6 w 6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8">
                    <a:moveTo>
                      <a:pt x="6" y="2"/>
                    </a:moveTo>
                    <a:cubicBezTo>
                      <a:pt x="4" y="0"/>
                      <a:pt x="2" y="1"/>
                      <a:pt x="0" y="3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4" y="6"/>
                      <a:pt x="6" y="4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0" name="任意多边形: 形状 1059">
                <a:extLst>
                  <a:ext uri="{FF2B5EF4-FFF2-40B4-BE49-F238E27FC236}">
                    <a16:creationId xmlns:a16="http://schemas.microsoft.com/office/drawing/2014/main" id="{9294C6A4-1570-4B21-AC53-1877803E4C4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27" y="826"/>
                <a:ext cx="25" cy="12"/>
              </a:xfrm>
              <a:custGeom>
                <a:avLst/>
                <a:gdLst>
                  <a:gd name="T0" fmla="*/ 12 w 12"/>
                  <a:gd name="T1" fmla="*/ 5 h 6"/>
                  <a:gd name="T2" fmla="*/ 8 w 12"/>
                  <a:gd name="T3" fmla="*/ 1 h 6"/>
                  <a:gd name="T4" fmla="*/ 3 w 12"/>
                  <a:gd name="T5" fmla="*/ 6 h 6"/>
                  <a:gd name="T6" fmla="*/ 12 w 12"/>
                  <a:gd name="T7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6">
                    <a:moveTo>
                      <a:pt x="12" y="5"/>
                    </a:moveTo>
                    <a:cubicBezTo>
                      <a:pt x="10" y="3"/>
                      <a:pt x="9" y="3"/>
                      <a:pt x="8" y="1"/>
                    </a:cubicBezTo>
                    <a:cubicBezTo>
                      <a:pt x="7" y="4"/>
                      <a:pt x="0" y="0"/>
                      <a:pt x="3" y="6"/>
                    </a:cubicBezTo>
                    <a:cubicBezTo>
                      <a:pt x="6" y="2"/>
                      <a:pt x="9" y="4"/>
                      <a:pt x="1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1" name="任意多边形: 形状 1060">
                <a:extLst>
                  <a:ext uri="{FF2B5EF4-FFF2-40B4-BE49-F238E27FC236}">
                    <a16:creationId xmlns:a16="http://schemas.microsoft.com/office/drawing/2014/main" id="{3A007947-BF4D-4D22-BBCE-FE851781D5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997" y="429"/>
                <a:ext cx="27" cy="25"/>
              </a:xfrm>
              <a:custGeom>
                <a:avLst/>
                <a:gdLst>
                  <a:gd name="T0" fmla="*/ 2 w 13"/>
                  <a:gd name="T1" fmla="*/ 8 h 12"/>
                  <a:gd name="T2" fmla="*/ 6 w 13"/>
                  <a:gd name="T3" fmla="*/ 12 h 12"/>
                  <a:gd name="T4" fmla="*/ 10 w 13"/>
                  <a:gd name="T5" fmla="*/ 11 h 12"/>
                  <a:gd name="T6" fmla="*/ 13 w 13"/>
                  <a:gd name="T7" fmla="*/ 9 h 12"/>
                  <a:gd name="T8" fmla="*/ 9 w 13"/>
                  <a:gd name="T9" fmla="*/ 3 h 12"/>
                  <a:gd name="T10" fmla="*/ 4 w 13"/>
                  <a:gd name="T11" fmla="*/ 0 h 12"/>
                  <a:gd name="T12" fmla="*/ 2 w 13"/>
                  <a:gd name="T13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2" y="8"/>
                    </a:moveTo>
                    <a:cubicBezTo>
                      <a:pt x="5" y="6"/>
                      <a:pt x="3" y="10"/>
                      <a:pt x="6" y="12"/>
                    </a:cubicBezTo>
                    <a:cubicBezTo>
                      <a:pt x="7" y="10"/>
                      <a:pt x="8" y="9"/>
                      <a:pt x="10" y="11"/>
                    </a:cubicBezTo>
                    <a:cubicBezTo>
                      <a:pt x="6" y="5"/>
                      <a:pt x="11" y="8"/>
                      <a:pt x="13" y="9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7" y="4"/>
                      <a:pt x="5" y="1"/>
                      <a:pt x="4" y="0"/>
                    </a:cubicBezTo>
                    <a:cubicBezTo>
                      <a:pt x="4" y="3"/>
                      <a:pt x="0" y="4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2" name="任意多边形: 形状 1061">
                <a:extLst>
                  <a:ext uri="{FF2B5EF4-FFF2-40B4-BE49-F238E27FC236}">
                    <a16:creationId xmlns:a16="http://schemas.microsoft.com/office/drawing/2014/main" id="{F2EE4AD1-5BF9-45F1-8D62-3544EC27553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80" y="730"/>
                <a:ext cx="12" cy="15"/>
              </a:xfrm>
              <a:custGeom>
                <a:avLst/>
                <a:gdLst>
                  <a:gd name="T0" fmla="*/ 3 w 6"/>
                  <a:gd name="T1" fmla="*/ 0 h 7"/>
                  <a:gd name="T2" fmla="*/ 0 w 6"/>
                  <a:gd name="T3" fmla="*/ 3 h 7"/>
                  <a:gd name="T4" fmla="*/ 2 w 6"/>
                  <a:gd name="T5" fmla="*/ 7 h 7"/>
                  <a:gd name="T6" fmla="*/ 3 w 6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0"/>
                    </a:moveTo>
                    <a:cubicBezTo>
                      <a:pt x="4" y="3"/>
                      <a:pt x="2" y="4"/>
                      <a:pt x="0" y="3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6" y="7"/>
                      <a:pt x="6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3" name="任意多边形: 形状 1062">
                <a:extLst>
                  <a:ext uri="{FF2B5EF4-FFF2-40B4-BE49-F238E27FC236}">
                    <a16:creationId xmlns:a16="http://schemas.microsoft.com/office/drawing/2014/main" id="{BA5113DA-59C0-4C1B-A4CC-F0CF443F5C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5" y="614"/>
                <a:ext cx="15" cy="8"/>
              </a:xfrm>
              <a:custGeom>
                <a:avLst/>
                <a:gdLst>
                  <a:gd name="T0" fmla="*/ 6 w 7"/>
                  <a:gd name="T1" fmla="*/ 0 h 4"/>
                  <a:gd name="T2" fmla="*/ 1 w 7"/>
                  <a:gd name="T3" fmla="*/ 3 h 4"/>
                  <a:gd name="T4" fmla="*/ 6 w 7"/>
                  <a:gd name="T5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4">
                    <a:moveTo>
                      <a:pt x="6" y="0"/>
                    </a:moveTo>
                    <a:cubicBezTo>
                      <a:pt x="5" y="1"/>
                      <a:pt x="0" y="0"/>
                      <a:pt x="1" y="3"/>
                    </a:cubicBezTo>
                    <a:cubicBezTo>
                      <a:pt x="3" y="3"/>
                      <a:pt x="7" y="4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4" name="任意多边形: 形状 1063">
                <a:extLst>
                  <a:ext uri="{FF2B5EF4-FFF2-40B4-BE49-F238E27FC236}">
                    <a16:creationId xmlns:a16="http://schemas.microsoft.com/office/drawing/2014/main" id="{943DC155-42E9-4528-96DC-4B2AE5478D2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2" y="718"/>
                <a:ext cx="8" cy="14"/>
              </a:xfrm>
              <a:custGeom>
                <a:avLst/>
                <a:gdLst>
                  <a:gd name="T0" fmla="*/ 2 w 4"/>
                  <a:gd name="T1" fmla="*/ 0 h 7"/>
                  <a:gd name="T2" fmla="*/ 0 w 4"/>
                  <a:gd name="T3" fmla="*/ 7 h 7"/>
                  <a:gd name="T4" fmla="*/ 2 w 4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" h="7">
                    <a:moveTo>
                      <a:pt x="2" y="0"/>
                    </a:moveTo>
                    <a:cubicBezTo>
                      <a:pt x="0" y="2"/>
                      <a:pt x="1" y="5"/>
                      <a:pt x="0" y="7"/>
                    </a:cubicBezTo>
                    <a:cubicBezTo>
                      <a:pt x="2" y="6"/>
                      <a:pt x="4" y="4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5" name="任意多边形: 形状 1064">
                <a:extLst>
                  <a:ext uri="{FF2B5EF4-FFF2-40B4-BE49-F238E27FC236}">
                    <a16:creationId xmlns:a16="http://schemas.microsoft.com/office/drawing/2014/main" id="{340F2F9E-A7B2-42F0-847B-60F401147D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25" y="925"/>
                <a:ext cx="12" cy="17"/>
              </a:xfrm>
              <a:custGeom>
                <a:avLst/>
                <a:gdLst>
                  <a:gd name="T0" fmla="*/ 6 w 6"/>
                  <a:gd name="T1" fmla="*/ 4 h 8"/>
                  <a:gd name="T2" fmla="*/ 3 w 6"/>
                  <a:gd name="T3" fmla="*/ 0 h 8"/>
                  <a:gd name="T4" fmla="*/ 0 w 6"/>
                  <a:gd name="T5" fmla="*/ 3 h 8"/>
                  <a:gd name="T6" fmla="*/ 4 w 6"/>
                  <a:gd name="T7" fmla="*/ 8 h 8"/>
                  <a:gd name="T8" fmla="*/ 6 w 6"/>
                  <a:gd name="T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6" y="4"/>
                    </a:moveTo>
                    <a:cubicBezTo>
                      <a:pt x="5" y="2"/>
                      <a:pt x="4" y="0"/>
                      <a:pt x="3" y="0"/>
                    </a:cubicBezTo>
                    <a:cubicBezTo>
                      <a:pt x="4" y="4"/>
                      <a:pt x="3" y="5"/>
                      <a:pt x="0" y="3"/>
                    </a:cubicBezTo>
                    <a:cubicBezTo>
                      <a:pt x="1" y="6"/>
                      <a:pt x="1" y="8"/>
                      <a:pt x="4" y="8"/>
                    </a:cubicBezTo>
                    <a:cubicBezTo>
                      <a:pt x="3" y="6"/>
                      <a:pt x="4" y="5"/>
                      <a:pt x="6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6" name="任意多边形: 形状 1065">
                <a:extLst>
                  <a:ext uri="{FF2B5EF4-FFF2-40B4-BE49-F238E27FC236}">
                    <a16:creationId xmlns:a16="http://schemas.microsoft.com/office/drawing/2014/main" id="{F91B6E4B-1659-4E83-ACBB-BF523946E02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2" y="606"/>
                <a:ext cx="19" cy="14"/>
              </a:xfrm>
              <a:custGeom>
                <a:avLst/>
                <a:gdLst>
                  <a:gd name="T0" fmla="*/ 5 w 9"/>
                  <a:gd name="T1" fmla="*/ 7 h 7"/>
                  <a:gd name="T2" fmla="*/ 0 w 9"/>
                  <a:gd name="T3" fmla="*/ 0 h 7"/>
                  <a:gd name="T4" fmla="*/ 5 w 9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5" y="7"/>
                    </a:moveTo>
                    <a:cubicBezTo>
                      <a:pt x="9" y="5"/>
                      <a:pt x="2" y="0"/>
                      <a:pt x="0" y="0"/>
                    </a:cubicBezTo>
                    <a:cubicBezTo>
                      <a:pt x="2" y="4"/>
                      <a:pt x="4" y="3"/>
                      <a:pt x="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7" name="任意多边形: 形状 1066">
                <a:extLst>
                  <a:ext uri="{FF2B5EF4-FFF2-40B4-BE49-F238E27FC236}">
                    <a16:creationId xmlns:a16="http://schemas.microsoft.com/office/drawing/2014/main" id="{3F54823C-2F7F-4131-B641-41AF3191C0C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00" y="707"/>
                <a:ext cx="15" cy="21"/>
              </a:xfrm>
              <a:custGeom>
                <a:avLst/>
                <a:gdLst>
                  <a:gd name="T0" fmla="*/ 7 w 7"/>
                  <a:gd name="T1" fmla="*/ 10 h 10"/>
                  <a:gd name="T2" fmla="*/ 3 w 7"/>
                  <a:gd name="T3" fmla="*/ 0 h 10"/>
                  <a:gd name="T4" fmla="*/ 2 w 7"/>
                  <a:gd name="T5" fmla="*/ 0 h 10"/>
                  <a:gd name="T6" fmla="*/ 0 w 7"/>
                  <a:gd name="T7" fmla="*/ 1 h 10"/>
                  <a:gd name="T8" fmla="*/ 7 w 7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7" y="10"/>
                    </a:moveTo>
                    <a:cubicBezTo>
                      <a:pt x="4" y="5"/>
                      <a:pt x="4" y="5"/>
                      <a:pt x="3" y="0"/>
                    </a:cubicBezTo>
                    <a:cubicBezTo>
                      <a:pt x="3" y="0"/>
                      <a:pt x="2" y="1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3"/>
                      <a:pt x="3" y="10"/>
                      <a:pt x="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8" name="任意多边形: 形状 1067">
                <a:extLst>
                  <a:ext uri="{FF2B5EF4-FFF2-40B4-BE49-F238E27FC236}">
                    <a16:creationId xmlns:a16="http://schemas.microsoft.com/office/drawing/2014/main" id="{FCBAAE9E-F3A9-473C-8EAC-AB5B78DD7F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58" y="938"/>
                <a:ext cx="27" cy="31"/>
              </a:xfrm>
              <a:custGeom>
                <a:avLst/>
                <a:gdLst>
                  <a:gd name="T0" fmla="*/ 1 w 13"/>
                  <a:gd name="T1" fmla="*/ 5 h 15"/>
                  <a:gd name="T2" fmla="*/ 7 w 13"/>
                  <a:gd name="T3" fmla="*/ 15 h 15"/>
                  <a:gd name="T4" fmla="*/ 1 w 13"/>
                  <a:gd name="T5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5">
                    <a:moveTo>
                      <a:pt x="1" y="5"/>
                    </a:moveTo>
                    <a:cubicBezTo>
                      <a:pt x="4" y="6"/>
                      <a:pt x="6" y="13"/>
                      <a:pt x="7" y="15"/>
                    </a:cubicBezTo>
                    <a:cubicBezTo>
                      <a:pt x="13" y="15"/>
                      <a:pt x="0" y="0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69" name="任意多边形: 形状 1068">
                <a:extLst>
                  <a:ext uri="{FF2B5EF4-FFF2-40B4-BE49-F238E27FC236}">
                    <a16:creationId xmlns:a16="http://schemas.microsoft.com/office/drawing/2014/main" id="{AAC13B77-EB51-4581-A28B-4E031E0DC61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3" y="782"/>
                <a:ext cx="10" cy="10"/>
              </a:xfrm>
              <a:custGeom>
                <a:avLst/>
                <a:gdLst>
                  <a:gd name="T0" fmla="*/ 5 w 5"/>
                  <a:gd name="T1" fmla="*/ 5 h 5"/>
                  <a:gd name="T2" fmla="*/ 3 w 5"/>
                  <a:gd name="T3" fmla="*/ 0 h 5"/>
                  <a:gd name="T4" fmla="*/ 1 w 5"/>
                  <a:gd name="T5" fmla="*/ 5 h 5"/>
                  <a:gd name="T6" fmla="*/ 5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5" y="5"/>
                    </a:moveTo>
                    <a:cubicBezTo>
                      <a:pt x="4" y="3"/>
                      <a:pt x="5" y="2"/>
                      <a:pt x="3" y="0"/>
                    </a:cubicBezTo>
                    <a:cubicBezTo>
                      <a:pt x="1" y="1"/>
                      <a:pt x="0" y="2"/>
                      <a:pt x="1" y="5"/>
                    </a:cubicBezTo>
                    <a:cubicBezTo>
                      <a:pt x="2" y="5"/>
                      <a:pt x="4" y="5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0" name="任意多边形: 形状 1069">
                <a:extLst>
                  <a:ext uri="{FF2B5EF4-FFF2-40B4-BE49-F238E27FC236}">
                    <a16:creationId xmlns:a16="http://schemas.microsoft.com/office/drawing/2014/main" id="{77F703DD-AB83-4713-B666-6C3585170C2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00" y="653"/>
                <a:ext cx="19" cy="17"/>
              </a:xfrm>
              <a:custGeom>
                <a:avLst/>
                <a:gdLst>
                  <a:gd name="T0" fmla="*/ 9 w 9"/>
                  <a:gd name="T1" fmla="*/ 4 h 8"/>
                  <a:gd name="T2" fmla="*/ 3 w 9"/>
                  <a:gd name="T3" fmla="*/ 2 h 8"/>
                  <a:gd name="T4" fmla="*/ 2 w 9"/>
                  <a:gd name="T5" fmla="*/ 8 h 8"/>
                  <a:gd name="T6" fmla="*/ 9 w 9"/>
                  <a:gd name="T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8">
                    <a:moveTo>
                      <a:pt x="9" y="4"/>
                    </a:moveTo>
                    <a:cubicBezTo>
                      <a:pt x="7" y="4"/>
                      <a:pt x="5" y="0"/>
                      <a:pt x="3" y="2"/>
                    </a:cubicBezTo>
                    <a:cubicBezTo>
                      <a:pt x="3" y="4"/>
                      <a:pt x="0" y="5"/>
                      <a:pt x="2" y="8"/>
                    </a:cubicBezTo>
                    <a:cubicBezTo>
                      <a:pt x="6" y="7"/>
                      <a:pt x="8" y="7"/>
                      <a:pt x="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1" name="任意多边形: 形状 1070">
                <a:extLst>
                  <a:ext uri="{FF2B5EF4-FFF2-40B4-BE49-F238E27FC236}">
                    <a16:creationId xmlns:a16="http://schemas.microsoft.com/office/drawing/2014/main" id="{175CAF6B-902C-40C7-BD32-00FFDE5F8A4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57" y="1405"/>
                <a:ext cx="25" cy="29"/>
              </a:xfrm>
              <a:custGeom>
                <a:avLst/>
                <a:gdLst>
                  <a:gd name="T0" fmla="*/ 2 w 12"/>
                  <a:gd name="T1" fmla="*/ 14 h 14"/>
                  <a:gd name="T2" fmla="*/ 12 w 12"/>
                  <a:gd name="T3" fmla="*/ 10 h 14"/>
                  <a:gd name="T4" fmla="*/ 2 w 12"/>
                  <a:gd name="T5" fmla="*/ 7 h 14"/>
                  <a:gd name="T6" fmla="*/ 3 w 12"/>
                  <a:gd name="T7" fmla="*/ 7 h 14"/>
                  <a:gd name="T8" fmla="*/ 0 w 12"/>
                  <a:gd name="T9" fmla="*/ 7 h 14"/>
                  <a:gd name="T10" fmla="*/ 2 w 12"/>
                  <a:gd name="T1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4">
                    <a:moveTo>
                      <a:pt x="2" y="14"/>
                    </a:moveTo>
                    <a:cubicBezTo>
                      <a:pt x="4" y="10"/>
                      <a:pt x="8" y="13"/>
                      <a:pt x="12" y="10"/>
                    </a:cubicBezTo>
                    <a:cubicBezTo>
                      <a:pt x="9" y="6"/>
                      <a:pt x="1" y="0"/>
                      <a:pt x="2" y="7"/>
                    </a:cubicBezTo>
                    <a:cubicBezTo>
                      <a:pt x="3" y="6"/>
                      <a:pt x="4" y="6"/>
                      <a:pt x="3" y="7"/>
                    </a:cubicBezTo>
                    <a:cubicBezTo>
                      <a:pt x="2" y="8"/>
                      <a:pt x="1" y="6"/>
                      <a:pt x="0" y="7"/>
                    </a:cubicBezTo>
                    <a:cubicBezTo>
                      <a:pt x="4" y="11"/>
                      <a:pt x="1" y="10"/>
                      <a:pt x="2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2" name="任意多边形: 形状 1071">
                <a:extLst>
                  <a:ext uri="{FF2B5EF4-FFF2-40B4-BE49-F238E27FC236}">
                    <a16:creationId xmlns:a16="http://schemas.microsoft.com/office/drawing/2014/main" id="{B632DA14-79F8-464B-965C-8D0EE7ACD25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44" y="705"/>
                <a:ext cx="10" cy="13"/>
              </a:xfrm>
              <a:custGeom>
                <a:avLst/>
                <a:gdLst>
                  <a:gd name="T0" fmla="*/ 3 w 5"/>
                  <a:gd name="T1" fmla="*/ 0 h 6"/>
                  <a:gd name="T2" fmla="*/ 1 w 5"/>
                  <a:gd name="T3" fmla="*/ 6 h 6"/>
                  <a:gd name="T4" fmla="*/ 3 w 5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6">
                    <a:moveTo>
                      <a:pt x="3" y="0"/>
                    </a:moveTo>
                    <a:cubicBezTo>
                      <a:pt x="2" y="2"/>
                      <a:pt x="0" y="3"/>
                      <a:pt x="1" y="6"/>
                    </a:cubicBezTo>
                    <a:cubicBezTo>
                      <a:pt x="2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1073" name="任意多边形: 形状 1072">
                <a:extLst>
                  <a:ext uri="{FF2B5EF4-FFF2-40B4-BE49-F238E27FC236}">
                    <a16:creationId xmlns:a16="http://schemas.microsoft.com/office/drawing/2014/main" id="{9458FCE6-015C-450E-A682-EA3192AB27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00" y="954"/>
                <a:ext cx="14" cy="11"/>
              </a:xfrm>
              <a:custGeom>
                <a:avLst/>
                <a:gdLst>
                  <a:gd name="T0" fmla="*/ 0 w 7"/>
                  <a:gd name="T1" fmla="*/ 3 h 5"/>
                  <a:gd name="T2" fmla="*/ 7 w 7"/>
                  <a:gd name="T3" fmla="*/ 5 h 5"/>
                  <a:gd name="T4" fmla="*/ 0 w 7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5">
                    <a:moveTo>
                      <a:pt x="0" y="3"/>
                    </a:moveTo>
                    <a:cubicBezTo>
                      <a:pt x="3" y="1"/>
                      <a:pt x="5" y="5"/>
                      <a:pt x="7" y="5"/>
                    </a:cubicBezTo>
                    <a:cubicBezTo>
                      <a:pt x="5" y="0"/>
                      <a:pt x="0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grpSp>
          <p:nvGrpSpPr>
            <p:cNvPr id="548" name="组合 547">
              <a:extLst>
                <a:ext uri="{FF2B5EF4-FFF2-40B4-BE49-F238E27FC236}">
                  <a16:creationId xmlns:a16="http://schemas.microsoft.com/office/drawing/2014/main" id="{6DC78D84-17E1-435B-B8AA-B2D563EB95FB}"/>
                </a:ext>
              </a:extLst>
            </p:cNvPr>
            <p:cNvGrpSpPr>
              <a:grpSpLocks/>
            </p:cNvGrpSpPr>
            <p:nvPr userDrawn="1"/>
          </p:nvGrpSpPr>
          <p:grpSpPr bwMode="auto">
            <a:xfrm>
              <a:off x="9336088" y="-9513884"/>
              <a:ext cx="10415589" cy="3744923"/>
              <a:chOff x="601" y="415"/>
              <a:chExt cx="6561" cy="2359"/>
            </a:xfrm>
            <a:grpFill/>
          </p:grpSpPr>
          <p:sp>
            <p:nvSpPr>
              <p:cNvPr id="674" name="任意多边形: 形状 673">
                <a:extLst>
                  <a:ext uri="{FF2B5EF4-FFF2-40B4-BE49-F238E27FC236}">
                    <a16:creationId xmlns:a16="http://schemas.microsoft.com/office/drawing/2014/main" id="{D9EFC7F7-707E-4688-9120-A7138A5CAF7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02" y="772"/>
                <a:ext cx="48" cy="16"/>
              </a:xfrm>
              <a:custGeom>
                <a:avLst/>
                <a:gdLst>
                  <a:gd name="T0" fmla="*/ 0 w 23"/>
                  <a:gd name="T1" fmla="*/ 8 h 8"/>
                  <a:gd name="T2" fmla="*/ 23 w 23"/>
                  <a:gd name="T3" fmla="*/ 2 h 8"/>
                  <a:gd name="T4" fmla="*/ 0 w 23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3" h="8">
                    <a:moveTo>
                      <a:pt x="0" y="8"/>
                    </a:moveTo>
                    <a:cubicBezTo>
                      <a:pt x="7" y="3"/>
                      <a:pt x="18" y="6"/>
                      <a:pt x="23" y="2"/>
                    </a:cubicBezTo>
                    <a:cubicBezTo>
                      <a:pt x="16" y="0"/>
                      <a:pt x="5" y="0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5" name="任意多边形: 形状 674">
                <a:extLst>
                  <a:ext uri="{FF2B5EF4-FFF2-40B4-BE49-F238E27FC236}">
                    <a16:creationId xmlns:a16="http://schemas.microsoft.com/office/drawing/2014/main" id="{BB27535A-23DD-449B-8055-6EA3C3409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5" y="1037"/>
                <a:ext cx="29" cy="27"/>
              </a:xfrm>
              <a:custGeom>
                <a:avLst/>
                <a:gdLst>
                  <a:gd name="T0" fmla="*/ 14 w 14"/>
                  <a:gd name="T1" fmla="*/ 7 h 13"/>
                  <a:gd name="T2" fmla="*/ 10 w 14"/>
                  <a:gd name="T3" fmla="*/ 0 h 13"/>
                  <a:gd name="T4" fmla="*/ 4 w 14"/>
                  <a:gd name="T5" fmla="*/ 4 h 13"/>
                  <a:gd name="T6" fmla="*/ 4 w 14"/>
                  <a:gd name="T7" fmla="*/ 13 h 13"/>
                  <a:gd name="T8" fmla="*/ 14 w 14"/>
                  <a:gd name="T9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3">
                    <a:moveTo>
                      <a:pt x="14" y="7"/>
                    </a:moveTo>
                    <a:cubicBezTo>
                      <a:pt x="14" y="4"/>
                      <a:pt x="11" y="2"/>
                      <a:pt x="10" y="0"/>
                    </a:cubicBezTo>
                    <a:cubicBezTo>
                      <a:pt x="9" y="3"/>
                      <a:pt x="7" y="2"/>
                      <a:pt x="4" y="4"/>
                    </a:cubicBezTo>
                    <a:cubicBezTo>
                      <a:pt x="7" y="8"/>
                      <a:pt x="0" y="8"/>
                      <a:pt x="4" y="13"/>
                    </a:cubicBezTo>
                    <a:cubicBezTo>
                      <a:pt x="7" y="9"/>
                      <a:pt x="8" y="2"/>
                      <a:pt x="1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6" name="任意多边形: 形状 675">
                <a:extLst>
                  <a:ext uri="{FF2B5EF4-FFF2-40B4-BE49-F238E27FC236}">
                    <a16:creationId xmlns:a16="http://schemas.microsoft.com/office/drawing/2014/main" id="{D978DCDE-84E4-49B4-855F-45341802079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70" y="1025"/>
                <a:ext cx="13" cy="14"/>
              </a:xfrm>
              <a:custGeom>
                <a:avLst/>
                <a:gdLst>
                  <a:gd name="T0" fmla="*/ 2 w 6"/>
                  <a:gd name="T1" fmla="*/ 5 h 7"/>
                  <a:gd name="T2" fmla="*/ 3 w 6"/>
                  <a:gd name="T3" fmla="*/ 7 h 7"/>
                  <a:gd name="T4" fmla="*/ 6 w 6"/>
                  <a:gd name="T5" fmla="*/ 7 h 7"/>
                  <a:gd name="T6" fmla="*/ 4 w 6"/>
                  <a:gd name="T7" fmla="*/ 0 h 7"/>
                  <a:gd name="T8" fmla="*/ 3 w 6"/>
                  <a:gd name="T9" fmla="*/ 5 h 7"/>
                  <a:gd name="T10" fmla="*/ 2 w 6"/>
                  <a:gd name="T11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7">
                    <a:moveTo>
                      <a:pt x="2" y="5"/>
                    </a:moveTo>
                    <a:cubicBezTo>
                      <a:pt x="3" y="7"/>
                      <a:pt x="3" y="7"/>
                      <a:pt x="3" y="7"/>
                    </a:cubicBezTo>
                    <a:cubicBezTo>
                      <a:pt x="4" y="6"/>
                      <a:pt x="5" y="7"/>
                      <a:pt x="6" y="7"/>
                    </a:cubicBezTo>
                    <a:cubicBezTo>
                      <a:pt x="5" y="5"/>
                      <a:pt x="5" y="3"/>
                      <a:pt x="4" y="0"/>
                    </a:cubicBezTo>
                    <a:cubicBezTo>
                      <a:pt x="0" y="0"/>
                      <a:pt x="5" y="5"/>
                      <a:pt x="3" y="5"/>
                    </a:cubicBezTo>
                    <a:cubicBezTo>
                      <a:pt x="3" y="5"/>
                      <a:pt x="3" y="4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7" name="任意多边形: 形状 676">
                <a:extLst>
                  <a:ext uri="{FF2B5EF4-FFF2-40B4-BE49-F238E27FC236}">
                    <a16:creationId xmlns:a16="http://schemas.microsoft.com/office/drawing/2014/main" id="{C8A382FA-5173-4799-8E76-9A3267C70D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60" y="1162"/>
                <a:ext cx="16" cy="8"/>
              </a:xfrm>
              <a:custGeom>
                <a:avLst/>
                <a:gdLst>
                  <a:gd name="T0" fmla="*/ 3 w 8"/>
                  <a:gd name="T1" fmla="*/ 4 h 4"/>
                  <a:gd name="T2" fmla="*/ 7 w 8"/>
                  <a:gd name="T3" fmla="*/ 0 h 4"/>
                  <a:gd name="T4" fmla="*/ 3 w 8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3" y="4"/>
                    </a:moveTo>
                    <a:cubicBezTo>
                      <a:pt x="4" y="3"/>
                      <a:pt x="8" y="3"/>
                      <a:pt x="7" y="0"/>
                    </a:cubicBezTo>
                    <a:cubicBezTo>
                      <a:pt x="6" y="0"/>
                      <a:pt x="0" y="1"/>
                      <a:pt x="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8" name="任意多边形: 形状 677">
                <a:extLst>
                  <a:ext uri="{FF2B5EF4-FFF2-40B4-BE49-F238E27FC236}">
                    <a16:creationId xmlns:a16="http://schemas.microsoft.com/office/drawing/2014/main" id="{04031AFF-9227-4B44-A6F3-4936BC7A9B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9" y="822"/>
                <a:ext cx="12" cy="14"/>
              </a:xfrm>
              <a:custGeom>
                <a:avLst/>
                <a:gdLst>
                  <a:gd name="T0" fmla="*/ 2 w 6"/>
                  <a:gd name="T1" fmla="*/ 6 h 7"/>
                  <a:gd name="T2" fmla="*/ 3 w 6"/>
                  <a:gd name="T3" fmla="*/ 0 h 7"/>
                  <a:gd name="T4" fmla="*/ 2 w 6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2" y="6"/>
                    </a:moveTo>
                    <a:cubicBezTo>
                      <a:pt x="4" y="7"/>
                      <a:pt x="6" y="4"/>
                      <a:pt x="3" y="0"/>
                    </a:cubicBezTo>
                    <a:cubicBezTo>
                      <a:pt x="2" y="1"/>
                      <a:pt x="0" y="3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79" name="任意多边形: 形状 678">
                <a:extLst>
                  <a:ext uri="{FF2B5EF4-FFF2-40B4-BE49-F238E27FC236}">
                    <a16:creationId xmlns:a16="http://schemas.microsoft.com/office/drawing/2014/main" id="{98A7A57C-B2C4-4AE0-BDA4-B6CAB58044D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3" y="807"/>
                <a:ext cx="11" cy="15"/>
              </a:xfrm>
              <a:custGeom>
                <a:avLst/>
                <a:gdLst>
                  <a:gd name="T0" fmla="*/ 5 w 5"/>
                  <a:gd name="T1" fmla="*/ 1 h 7"/>
                  <a:gd name="T2" fmla="*/ 0 w 5"/>
                  <a:gd name="T3" fmla="*/ 4 h 7"/>
                  <a:gd name="T4" fmla="*/ 2 w 5"/>
                  <a:gd name="T5" fmla="*/ 7 h 7"/>
                  <a:gd name="T6" fmla="*/ 5 w 5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5" y="1"/>
                    </a:moveTo>
                    <a:cubicBezTo>
                      <a:pt x="2" y="0"/>
                      <a:pt x="4" y="3"/>
                      <a:pt x="0" y="4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5" y="6"/>
                      <a:pt x="4" y="3"/>
                      <a:pt x="5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0" name="任意多边形: 形状 679">
                <a:extLst>
                  <a:ext uri="{FF2B5EF4-FFF2-40B4-BE49-F238E27FC236}">
                    <a16:creationId xmlns:a16="http://schemas.microsoft.com/office/drawing/2014/main" id="{4BC9735C-0ABA-407A-8F0B-540F36A8F9B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39" y="467"/>
                <a:ext cx="15" cy="12"/>
              </a:xfrm>
              <a:custGeom>
                <a:avLst/>
                <a:gdLst>
                  <a:gd name="T0" fmla="*/ 7 w 7"/>
                  <a:gd name="T1" fmla="*/ 1 h 6"/>
                  <a:gd name="T2" fmla="*/ 4 w 7"/>
                  <a:gd name="T3" fmla="*/ 5 h 6"/>
                  <a:gd name="T4" fmla="*/ 7 w 7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7" y="1"/>
                    </a:moveTo>
                    <a:cubicBezTo>
                      <a:pt x="6" y="0"/>
                      <a:pt x="0" y="1"/>
                      <a:pt x="4" y="5"/>
                    </a:cubicBezTo>
                    <a:cubicBezTo>
                      <a:pt x="6" y="6"/>
                      <a:pt x="7" y="3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1" name="任意多边形: 形状 680">
                <a:extLst>
                  <a:ext uri="{FF2B5EF4-FFF2-40B4-BE49-F238E27FC236}">
                    <a16:creationId xmlns:a16="http://schemas.microsoft.com/office/drawing/2014/main" id="{1E61809C-150B-4BF9-8899-A0D94AE8D8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89" y="473"/>
                <a:ext cx="27" cy="14"/>
              </a:xfrm>
              <a:custGeom>
                <a:avLst/>
                <a:gdLst>
                  <a:gd name="T0" fmla="*/ 8 w 13"/>
                  <a:gd name="T1" fmla="*/ 5 h 7"/>
                  <a:gd name="T2" fmla="*/ 3 w 13"/>
                  <a:gd name="T3" fmla="*/ 7 h 7"/>
                  <a:gd name="T4" fmla="*/ 13 w 13"/>
                  <a:gd name="T5" fmla="*/ 6 h 7"/>
                  <a:gd name="T6" fmla="*/ 8 w 13"/>
                  <a:gd name="T7" fmla="*/ 0 h 7"/>
                  <a:gd name="T8" fmla="*/ 8 w 13"/>
                  <a:gd name="T9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7">
                    <a:moveTo>
                      <a:pt x="8" y="5"/>
                    </a:moveTo>
                    <a:cubicBezTo>
                      <a:pt x="6" y="3"/>
                      <a:pt x="0" y="4"/>
                      <a:pt x="3" y="7"/>
                    </a:cubicBezTo>
                    <a:cubicBezTo>
                      <a:pt x="6" y="5"/>
                      <a:pt x="10" y="7"/>
                      <a:pt x="13" y="6"/>
                    </a:cubicBezTo>
                    <a:cubicBezTo>
                      <a:pt x="12" y="3"/>
                      <a:pt x="11" y="1"/>
                      <a:pt x="8" y="0"/>
                    </a:cubicBezTo>
                    <a:lnTo>
                      <a:pt x="8" y="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2" name="任意多边形: 形状 681">
                <a:extLst>
                  <a:ext uri="{FF2B5EF4-FFF2-40B4-BE49-F238E27FC236}">
                    <a16:creationId xmlns:a16="http://schemas.microsoft.com/office/drawing/2014/main" id="{FDB12F49-5EC4-4EAA-88B1-6C520C044E1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95" y="452"/>
                <a:ext cx="31" cy="21"/>
              </a:xfrm>
              <a:custGeom>
                <a:avLst/>
                <a:gdLst>
                  <a:gd name="T0" fmla="*/ 15 w 15"/>
                  <a:gd name="T1" fmla="*/ 6 h 10"/>
                  <a:gd name="T2" fmla="*/ 0 w 15"/>
                  <a:gd name="T3" fmla="*/ 0 h 10"/>
                  <a:gd name="T4" fmla="*/ 3 w 15"/>
                  <a:gd name="T5" fmla="*/ 8 h 10"/>
                  <a:gd name="T6" fmla="*/ 15 w 15"/>
                  <a:gd name="T7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0">
                    <a:moveTo>
                      <a:pt x="15" y="6"/>
                    </a:moveTo>
                    <a:cubicBezTo>
                      <a:pt x="10" y="1"/>
                      <a:pt x="5" y="0"/>
                      <a:pt x="0" y="0"/>
                    </a:cubicBezTo>
                    <a:cubicBezTo>
                      <a:pt x="1" y="2"/>
                      <a:pt x="3" y="4"/>
                      <a:pt x="3" y="8"/>
                    </a:cubicBezTo>
                    <a:cubicBezTo>
                      <a:pt x="7" y="5"/>
                      <a:pt x="14" y="10"/>
                      <a:pt x="1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3" name="任意多边形: 形状 682">
                <a:extLst>
                  <a:ext uri="{FF2B5EF4-FFF2-40B4-BE49-F238E27FC236}">
                    <a16:creationId xmlns:a16="http://schemas.microsoft.com/office/drawing/2014/main" id="{A706BF0B-3FC1-47B4-813C-B971E667E0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" y="2496"/>
                <a:ext cx="29" cy="52"/>
              </a:xfrm>
              <a:custGeom>
                <a:avLst/>
                <a:gdLst>
                  <a:gd name="T0" fmla="*/ 11 w 14"/>
                  <a:gd name="T1" fmla="*/ 21 h 25"/>
                  <a:gd name="T2" fmla="*/ 8 w 14"/>
                  <a:gd name="T3" fmla="*/ 18 h 25"/>
                  <a:gd name="T4" fmla="*/ 9 w 14"/>
                  <a:gd name="T5" fmla="*/ 15 h 25"/>
                  <a:gd name="T6" fmla="*/ 14 w 14"/>
                  <a:gd name="T7" fmla="*/ 0 h 25"/>
                  <a:gd name="T8" fmla="*/ 0 w 14"/>
                  <a:gd name="T9" fmla="*/ 24 h 25"/>
                  <a:gd name="T10" fmla="*/ 11 w 14"/>
                  <a:gd name="T11" fmla="*/ 21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25">
                    <a:moveTo>
                      <a:pt x="11" y="21"/>
                    </a:moveTo>
                    <a:cubicBezTo>
                      <a:pt x="10" y="21"/>
                      <a:pt x="9" y="20"/>
                      <a:pt x="8" y="18"/>
                    </a:cubicBezTo>
                    <a:cubicBezTo>
                      <a:pt x="13" y="18"/>
                      <a:pt x="13" y="17"/>
                      <a:pt x="9" y="15"/>
                    </a:cubicBezTo>
                    <a:cubicBezTo>
                      <a:pt x="11" y="13"/>
                      <a:pt x="14" y="2"/>
                      <a:pt x="14" y="0"/>
                    </a:cubicBezTo>
                    <a:cubicBezTo>
                      <a:pt x="6" y="8"/>
                      <a:pt x="10" y="23"/>
                      <a:pt x="0" y="24"/>
                    </a:cubicBezTo>
                    <a:cubicBezTo>
                      <a:pt x="5" y="24"/>
                      <a:pt x="9" y="25"/>
                      <a:pt x="11" y="2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4" name="任意多边形: 形状 683">
                <a:extLst>
                  <a:ext uri="{FF2B5EF4-FFF2-40B4-BE49-F238E27FC236}">
                    <a16:creationId xmlns:a16="http://schemas.microsoft.com/office/drawing/2014/main" id="{8CBD9838-7CFC-4E62-A186-FEC0AABF4B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112" y="2758"/>
                <a:ext cx="15" cy="16"/>
              </a:xfrm>
              <a:custGeom>
                <a:avLst/>
                <a:gdLst>
                  <a:gd name="T0" fmla="*/ 5 w 7"/>
                  <a:gd name="T1" fmla="*/ 5 h 8"/>
                  <a:gd name="T2" fmla="*/ 5 w 7"/>
                  <a:gd name="T3" fmla="*/ 2 h 8"/>
                  <a:gd name="T4" fmla="*/ 6 w 7"/>
                  <a:gd name="T5" fmla="*/ 0 h 8"/>
                  <a:gd name="T6" fmla="*/ 0 w 7"/>
                  <a:gd name="T7" fmla="*/ 4 h 8"/>
                  <a:gd name="T8" fmla="*/ 5 w 7"/>
                  <a:gd name="T9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8">
                    <a:moveTo>
                      <a:pt x="5" y="5"/>
                    </a:moveTo>
                    <a:cubicBezTo>
                      <a:pt x="5" y="4"/>
                      <a:pt x="4" y="3"/>
                      <a:pt x="5" y="2"/>
                    </a:cubicBezTo>
                    <a:cubicBezTo>
                      <a:pt x="6" y="3"/>
                      <a:pt x="7" y="3"/>
                      <a:pt x="6" y="0"/>
                    </a:cubicBezTo>
                    <a:cubicBezTo>
                      <a:pt x="4" y="4"/>
                      <a:pt x="1" y="2"/>
                      <a:pt x="0" y="4"/>
                    </a:cubicBezTo>
                    <a:cubicBezTo>
                      <a:pt x="2" y="2"/>
                      <a:pt x="3" y="8"/>
                      <a:pt x="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5" name="任意多边形: 形状 684">
                <a:extLst>
                  <a:ext uri="{FF2B5EF4-FFF2-40B4-BE49-F238E27FC236}">
                    <a16:creationId xmlns:a16="http://schemas.microsoft.com/office/drawing/2014/main" id="{904C7C10-C8D0-4B9A-92E3-7F776971CAF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000" y="2438"/>
                <a:ext cx="14" cy="15"/>
              </a:xfrm>
              <a:custGeom>
                <a:avLst/>
                <a:gdLst>
                  <a:gd name="T0" fmla="*/ 4 w 7"/>
                  <a:gd name="T1" fmla="*/ 7 h 7"/>
                  <a:gd name="T2" fmla="*/ 6 w 7"/>
                  <a:gd name="T3" fmla="*/ 0 h 7"/>
                  <a:gd name="T4" fmla="*/ 4 w 7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7">
                    <a:moveTo>
                      <a:pt x="4" y="7"/>
                    </a:moveTo>
                    <a:cubicBezTo>
                      <a:pt x="5" y="6"/>
                      <a:pt x="7" y="4"/>
                      <a:pt x="6" y="0"/>
                    </a:cubicBezTo>
                    <a:cubicBezTo>
                      <a:pt x="7" y="2"/>
                      <a:pt x="0" y="6"/>
                      <a:pt x="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6" name="任意多边形: 形状 685">
                <a:extLst>
                  <a:ext uri="{FF2B5EF4-FFF2-40B4-BE49-F238E27FC236}">
                    <a16:creationId xmlns:a16="http://schemas.microsoft.com/office/drawing/2014/main" id="{FD8A764F-A550-4645-8189-43DE2CA1E71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247" y="2724"/>
                <a:ext cx="13" cy="13"/>
              </a:xfrm>
              <a:custGeom>
                <a:avLst/>
                <a:gdLst>
                  <a:gd name="T0" fmla="*/ 5 w 6"/>
                  <a:gd name="T1" fmla="*/ 3 h 6"/>
                  <a:gd name="T2" fmla="*/ 0 w 6"/>
                  <a:gd name="T3" fmla="*/ 4 h 6"/>
                  <a:gd name="T4" fmla="*/ 3 w 6"/>
                  <a:gd name="T5" fmla="*/ 6 h 6"/>
                  <a:gd name="T6" fmla="*/ 3 w 6"/>
                  <a:gd name="T7" fmla="*/ 3 h 6"/>
                  <a:gd name="T8" fmla="*/ 5 w 6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5" y="3"/>
                    </a:moveTo>
                    <a:cubicBezTo>
                      <a:pt x="4" y="2"/>
                      <a:pt x="0" y="0"/>
                      <a:pt x="0" y="4"/>
                    </a:cubicBezTo>
                    <a:cubicBezTo>
                      <a:pt x="1" y="4"/>
                      <a:pt x="2" y="6"/>
                      <a:pt x="3" y="6"/>
                    </a:cubicBezTo>
                    <a:cubicBezTo>
                      <a:pt x="2" y="4"/>
                      <a:pt x="3" y="3"/>
                      <a:pt x="3" y="3"/>
                    </a:cubicBezTo>
                    <a:cubicBezTo>
                      <a:pt x="4" y="5"/>
                      <a:pt x="6" y="5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7" name="任意多边形: 形状 686">
                <a:extLst>
                  <a:ext uri="{FF2B5EF4-FFF2-40B4-BE49-F238E27FC236}">
                    <a16:creationId xmlns:a16="http://schemas.microsoft.com/office/drawing/2014/main" id="{CE645A03-5969-47A4-908F-8279E31C68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380" y="2673"/>
                <a:ext cx="12" cy="20"/>
              </a:xfrm>
              <a:custGeom>
                <a:avLst/>
                <a:gdLst>
                  <a:gd name="T0" fmla="*/ 1 w 6"/>
                  <a:gd name="T1" fmla="*/ 10 h 10"/>
                  <a:gd name="T2" fmla="*/ 6 w 6"/>
                  <a:gd name="T3" fmla="*/ 4 h 10"/>
                  <a:gd name="T4" fmla="*/ 0 w 6"/>
                  <a:gd name="T5" fmla="*/ 3 h 10"/>
                  <a:gd name="T6" fmla="*/ 1 w 6"/>
                  <a:gd name="T7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cubicBezTo>
                      <a:pt x="3" y="7"/>
                      <a:pt x="4" y="6"/>
                      <a:pt x="6" y="4"/>
                    </a:cubicBezTo>
                    <a:cubicBezTo>
                      <a:pt x="4" y="0"/>
                      <a:pt x="2" y="3"/>
                      <a:pt x="0" y="3"/>
                    </a:cubicBezTo>
                    <a:cubicBezTo>
                      <a:pt x="3" y="7"/>
                      <a:pt x="0" y="7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8" name="任意多边形: 形状 687">
                <a:extLst>
                  <a:ext uri="{FF2B5EF4-FFF2-40B4-BE49-F238E27FC236}">
                    <a16:creationId xmlns:a16="http://schemas.microsoft.com/office/drawing/2014/main" id="{A08B645F-8C6F-44CF-BFAB-C061D94F855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586" y="2590"/>
                <a:ext cx="20" cy="22"/>
              </a:xfrm>
              <a:custGeom>
                <a:avLst/>
                <a:gdLst>
                  <a:gd name="T0" fmla="*/ 3 w 10"/>
                  <a:gd name="T1" fmla="*/ 6 h 11"/>
                  <a:gd name="T2" fmla="*/ 0 w 10"/>
                  <a:gd name="T3" fmla="*/ 5 h 11"/>
                  <a:gd name="T4" fmla="*/ 4 w 10"/>
                  <a:gd name="T5" fmla="*/ 10 h 11"/>
                  <a:gd name="T6" fmla="*/ 8 w 10"/>
                  <a:gd name="T7" fmla="*/ 3 h 11"/>
                  <a:gd name="T8" fmla="*/ 2 w 10"/>
                  <a:gd name="T9" fmla="*/ 4 h 11"/>
                  <a:gd name="T10" fmla="*/ 4 w 10"/>
                  <a:gd name="T11" fmla="*/ 0 h 11"/>
                  <a:gd name="T12" fmla="*/ 3 w 10"/>
                  <a:gd name="T13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1">
                    <a:moveTo>
                      <a:pt x="3" y="6"/>
                    </a:moveTo>
                    <a:cubicBezTo>
                      <a:pt x="2" y="7"/>
                      <a:pt x="1" y="5"/>
                      <a:pt x="0" y="5"/>
                    </a:cubicBezTo>
                    <a:cubicBezTo>
                      <a:pt x="1" y="6"/>
                      <a:pt x="2" y="11"/>
                      <a:pt x="4" y="10"/>
                    </a:cubicBezTo>
                    <a:cubicBezTo>
                      <a:pt x="3" y="5"/>
                      <a:pt x="10" y="8"/>
                      <a:pt x="8" y="3"/>
                    </a:cubicBezTo>
                    <a:cubicBezTo>
                      <a:pt x="6" y="4"/>
                      <a:pt x="4" y="7"/>
                      <a:pt x="2" y="4"/>
                    </a:cubicBezTo>
                    <a:cubicBezTo>
                      <a:pt x="3" y="3"/>
                      <a:pt x="4" y="1"/>
                      <a:pt x="4" y="0"/>
                    </a:cubicBezTo>
                    <a:cubicBezTo>
                      <a:pt x="1" y="1"/>
                      <a:pt x="1" y="5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89" name="任意多边形: 形状 688">
                <a:extLst>
                  <a:ext uri="{FF2B5EF4-FFF2-40B4-BE49-F238E27FC236}">
                    <a16:creationId xmlns:a16="http://schemas.microsoft.com/office/drawing/2014/main" id="{DCA5DDE4-2994-44A0-BE0A-9E9199CA233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432" y="2162"/>
                <a:ext cx="10" cy="17"/>
              </a:xfrm>
              <a:custGeom>
                <a:avLst/>
                <a:gdLst>
                  <a:gd name="T0" fmla="*/ 3 w 5"/>
                  <a:gd name="T1" fmla="*/ 6 h 8"/>
                  <a:gd name="T2" fmla="*/ 3 w 5"/>
                  <a:gd name="T3" fmla="*/ 4 h 8"/>
                  <a:gd name="T4" fmla="*/ 5 w 5"/>
                  <a:gd name="T5" fmla="*/ 4 h 8"/>
                  <a:gd name="T6" fmla="*/ 0 w 5"/>
                  <a:gd name="T7" fmla="*/ 5 h 8"/>
                  <a:gd name="T8" fmla="*/ 3 w 5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" h="8">
                    <a:moveTo>
                      <a:pt x="3" y="6"/>
                    </a:moveTo>
                    <a:cubicBezTo>
                      <a:pt x="3" y="5"/>
                      <a:pt x="2" y="4"/>
                      <a:pt x="3" y="4"/>
                    </a:cubicBezTo>
                    <a:cubicBezTo>
                      <a:pt x="3" y="3"/>
                      <a:pt x="4" y="4"/>
                      <a:pt x="5" y="4"/>
                    </a:cubicBezTo>
                    <a:cubicBezTo>
                      <a:pt x="2" y="0"/>
                      <a:pt x="0" y="4"/>
                      <a:pt x="0" y="5"/>
                    </a:cubicBezTo>
                    <a:cubicBezTo>
                      <a:pt x="1" y="5"/>
                      <a:pt x="2" y="8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0" name="任意多边形: 形状 689">
                <a:extLst>
                  <a:ext uri="{FF2B5EF4-FFF2-40B4-BE49-F238E27FC236}">
                    <a16:creationId xmlns:a16="http://schemas.microsoft.com/office/drawing/2014/main" id="{9D2A9050-C421-47AF-B80C-CA553700BF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92" y="2455"/>
                <a:ext cx="14" cy="25"/>
              </a:xfrm>
              <a:custGeom>
                <a:avLst/>
                <a:gdLst>
                  <a:gd name="T0" fmla="*/ 0 w 7"/>
                  <a:gd name="T1" fmla="*/ 2 h 12"/>
                  <a:gd name="T2" fmla="*/ 7 w 7"/>
                  <a:gd name="T3" fmla="*/ 8 h 12"/>
                  <a:gd name="T4" fmla="*/ 0 w 7"/>
                  <a:gd name="T5" fmla="*/ 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12">
                    <a:moveTo>
                      <a:pt x="0" y="2"/>
                    </a:moveTo>
                    <a:cubicBezTo>
                      <a:pt x="2" y="6"/>
                      <a:pt x="7" y="12"/>
                      <a:pt x="7" y="8"/>
                    </a:cubicBezTo>
                    <a:cubicBezTo>
                      <a:pt x="3" y="10"/>
                      <a:pt x="4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1" name="任意多边形: 形状 690">
                <a:extLst>
                  <a:ext uri="{FF2B5EF4-FFF2-40B4-BE49-F238E27FC236}">
                    <a16:creationId xmlns:a16="http://schemas.microsoft.com/office/drawing/2014/main" id="{221E2592-DF4A-49A8-9396-590D164296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38" y="2297"/>
                <a:ext cx="29" cy="17"/>
              </a:xfrm>
              <a:custGeom>
                <a:avLst/>
                <a:gdLst>
                  <a:gd name="T0" fmla="*/ 1 w 14"/>
                  <a:gd name="T1" fmla="*/ 2 h 8"/>
                  <a:gd name="T2" fmla="*/ 2 w 14"/>
                  <a:gd name="T3" fmla="*/ 8 h 8"/>
                  <a:gd name="T4" fmla="*/ 10 w 14"/>
                  <a:gd name="T5" fmla="*/ 0 h 8"/>
                  <a:gd name="T6" fmla="*/ 1 w 14"/>
                  <a:gd name="T7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8">
                    <a:moveTo>
                      <a:pt x="1" y="2"/>
                    </a:moveTo>
                    <a:cubicBezTo>
                      <a:pt x="2" y="5"/>
                      <a:pt x="0" y="5"/>
                      <a:pt x="2" y="8"/>
                    </a:cubicBezTo>
                    <a:cubicBezTo>
                      <a:pt x="2" y="4"/>
                      <a:pt x="14" y="6"/>
                      <a:pt x="10" y="0"/>
                    </a:cubicBezTo>
                    <a:cubicBezTo>
                      <a:pt x="5" y="1"/>
                      <a:pt x="5" y="4"/>
                      <a:pt x="1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2" name="任意多边形: 形状 691">
                <a:extLst>
                  <a:ext uri="{FF2B5EF4-FFF2-40B4-BE49-F238E27FC236}">
                    <a16:creationId xmlns:a16="http://schemas.microsoft.com/office/drawing/2014/main" id="{BD667C4D-8DA8-44C2-98DD-A16B3C50FC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762" y="2440"/>
                <a:ext cx="69" cy="52"/>
              </a:xfrm>
              <a:custGeom>
                <a:avLst/>
                <a:gdLst>
                  <a:gd name="T0" fmla="*/ 27 w 33"/>
                  <a:gd name="T1" fmla="*/ 18 h 25"/>
                  <a:gd name="T2" fmla="*/ 23 w 33"/>
                  <a:gd name="T3" fmla="*/ 15 h 25"/>
                  <a:gd name="T4" fmla="*/ 23 w 33"/>
                  <a:gd name="T5" fmla="*/ 14 h 25"/>
                  <a:gd name="T6" fmla="*/ 30 w 33"/>
                  <a:gd name="T7" fmla="*/ 17 h 25"/>
                  <a:gd name="T8" fmla="*/ 32 w 33"/>
                  <a:gd name="T9" fmla="*/ 12 h 25"/>
                  <a:gd name="T10" fmla="*/ 24 w 33"/>
                  <a:gd name="T11" fmla="*/ 12 h 25"/>
                  <a:gd name="T12" fmla="*/ 29 w 33"/>
                  <a:gd name="T13" fmla="*/ 7 h 25"/>
                  <a:gd name="T14" fmla="*/ 24 w 33"/>
                  <a:gd name="T15" fmla="*/ 7 h 25"/>
                  <a:gd name="T16" fmla="*/ 29 w 33"/>
                  <a:gd name="T17" fmla="*/ 4 h 25"/>
                  <a:gd name="T18" fmla="*/ 0 w 33"/>
                  <a:gd name="T19" fmla="*/ 2 h 25"/>
                  <a:gd name="T20" fmla="*/ 6 w 33"/>
                  <a:gd name="T21" fmla="*/ 4 h 25"/>
                  <a:gd name="T22" fmla="*/ 6 w 33"/>
                  <a:gd name="T23" fmla="*/ 9 h 25"/>
                  <a:gd name="T24" fmla="*/ 1 w 33"/>
                  <a:gd name="T25" fmla="*/ 7 h 25"/>
                  <a:gd name="T26" fmla="*/ 1 w 33"/>
                  <a:gd name="T27" fmla="*/ 15 h 25"/>
                  <a:gd name="T28" fmla="*/ 5 w 33"/>
                  <a:gd name="T29" fmla="*/ 22 h 25"/>
                  <a:gd name="T30" fmla="*/ 11 w 33"/>
                  <a:gd name="T31" fmla="*/ 24 h 25"/>
                  <a:gd name="T32" fmla="*/ 12 w 33"/>
                  <a:gd name="T33" fmla="*/ 25 h 25"/>
                  <a:gd name="T34" fmla="*/ 12 w 33"/>
                  <a:gd name="T35" fmla="*/ 19 h 25"/>
                  <a:gd name="T36" fmla="*/ 27 w 33"/>
                  <a:gd name="T37" fmla="*/ 18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3" h="25">
                    <a:moveTo>
                      <a:pt x="27" y="18"/>
                    </a:moveTo>
                    <a:cubicBezTo>
                      <a:pt x="26" y="14"/>
                      <a:pt x="24" y="17"/>
                      <a:pt x="23" y="15"/>
                    </a:cubicBezTo>
                    <a:cubicBezTo>
                      <a:pt x="23" y="15"/>
                      <a:pt x="24" y="14"/>
                      <a:pt x="23" y="14"/>
                    </a:cubicBezTo>
                    <a:cubicBezTo>
                      <a:pt x="25" y="13"/>
                      <a:pt x="27" y="18"/>
                      <a:pt x="30" y="17"/>
                    </a:cubicBezTo>
                    <a:cubicBezTo>
                      <a:pt x="27" y="12"/>
                      <a:pt x="33" y="17"/>
                      <a:pt x="32" y="12"/>
                    </a:cubicBezTo>
                    <a:cubicBezTo>
                      <a:pt x="29" y="12"/>
                      <a:pt x="26" y="15"/>
                      <a:pt x="24" y="12"/>
                    </a:cubicBezTo>
                    <a:cubicBezTo>
                      <a:pt x="25" y="11"/>
                      <a:pt x="29" y="11"/>
                      <a:pt x="29" y="7"/>
                    </a:cubicBezTo>
                    <a:cubicBezTo>
                      <a:pt x="27" y="8"/>
                      <a:pt x="26" y="8"/>
                      <a:pt x="24" y="7"/>
                    </a:cubicBezTo>
                    <a:cubicBezTo>
                      <a:pt x="25" y="4"/>
                      <a:pt x="30" y="7"/>
                      <a:pt x="29" y="4"/>
                    </a:cubicBezTo>
                    <a:cubicBezTo>
                      <a:pt x="22" y="4"/>
                      <a:pt x="4" y="0"/>
                      <a:pt x="0" y="2"/>
                    </a:cubicBezTo>
                    <a:cubicBezTo>
                      <a:pt x="2" y="3"/>
                      <a:pt x="4" y="0"/>
                      <a:pt x="6" y="4"/>
                    </a:cubicBezTo>
                    <a:cubicBezTo>
                      <a:pt x="2" y="5"/>
                      <a:pt x="4" y="5"/>
                      <a:pt x="6" y="9"/>
                    </a:cubicBezTo>
                    <a:cubicBezTo>
                      <a:pt x="4" y="9"/>
                      <a:pt x="3" y="5"/>
                      <a:pt x="1" y="7"/>
                    </a:cubicBezTo>
                    <a:cubicBezTo>
                      <a:pt x="4" y="12"/>
                      <a:pt x="5" y="17"/>
                      <a:pt x="1" y="15"/>
                    </a:cubicBezTo>
                    <a:cubicBezTo>
                      <a:pt x="4" y="18"/>
                      <a:pt x="5" y="17"/>
                      <a:pt x="5" y="22"/>
                    </a:cubicBezTo>
                    <a:cubicBezTo>
                      <a:pt x="7" y="22"/>
                      <a:pt x="9" y="21"/>
                      <a:pt x="11" y="24"/>
                    </a:cubicBezTo>
                    <a:cubicBezTo>
                      <a:pt x="11" y="24"/>
                      <a:pt x="11" y="25"/>
                      <a:pt x="12" y="25"/>
                    </a:cubicBezTo>
                    <a:cubicBezTo>
                      <a:pt x="12" y="23"/>
                      <a:pt x="11" y="20"/>
                      <a:pt x="12" y="19"/>
                    </a:cubicBezTo>
                    <a:cubicBezTo>
                      <a:pt x="17" y="19"/>
                      <a:pt x="22" y="16"/>
                      <a:pt x="27" y="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3" name="任意多边形: 形状 692">
                <a:extLst>
                  <a:ext uri="{FF2B5EF4-FFF2-40B4-BE49-F238E27FC236}">
                    <a16:creationId xmlns:a16="http://schemas.microsoft.com/office/drawing/2014/main" id="{C0528C5A-1E8D-4123-8D69-6D34053986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0" y="2490"/>
                <a:ext cx="43" cy="33"/>
              </a:xfrm>
              <a:custGeom>
                <a:avLst/>
                <a:gdLst>
                  <a:gd name="T0" fmla="*/ 19 w 21"/>
                  <a:gd name="T1" fmla="*/ 5 h 16"/>
                  <a:gd name="T2" fmla="*/ 1 w 21"/>
                  <a:gd name="T3" fmla="*/ 9 h 16"/>
                  <a:gd name="T4" fmla="*/ 4 w 21"/>
                  <a:gd name="T5" fmla="*/ 16 h 16"/>
                  <a:gd name="T6" fmla="*/ 17 w 21"/>
                  <a:gd name="T7" fmla="*/ 8 h 16"/>
                  <a:gd name="T8" fmla="*/ 19 w 21"/>
                  <a:gd name="T9" fmla="*/ 5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" h="16">
                    <a:moveTo>
                      <a:pt x="19" y="5"/>
                    </a:moveTo>
                    <a:cubicBezTo>
                      <a:pt x="9" y="0"/>
                      <a:pt x="4" y="10"/>
                      <a:pt x="1" y="9"/>
                    </a:cubicBezTo>
                    <a:cubicBezTo>
                      <a:pt x="2" y="11"/>
                      <a:pt x="0" y="15"/>
                      <a:pt x="4" y="16"/>
                    </a:cubicBezTo>
                    <a:cubicBezTo>
                      <a:pt x="2" y="8"/>
                      <a:pt x="13" y="6"/>
                      <a:pt x="17" y="8"/>
                    </a:cubicBezTo>
                    <a:cubicBezTo>
                      <a:pt x="15" y="4"/>
                      <a:pt x="21" y="9"/>
                      <a:pt x="1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4" name="任意多边形: 形状 693">
                <a:extLst>
                  <a:ext uri="{FF2B5EF4-FFF2-40B4-BE49-F238E27FC236}">
                    <a16:creationId xmlns:a16="http://schemas.microsoft.com/office/drawing/2014/main" id="{B0F0630F-8E43-4FD7-ABE9-40B1407CE7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41" y="2492"/>
                <a:ext cx="13" cy="23"/>
              </a:xfrm>
              <a:custGeom>
                <a:avLst/>
                <a:gdLst>
                  <a:gd name="T0" fmla="*/ 6 w 6"/>
                  <a:gd name="T1" fmla="*/ 7 h 11"/>
                  <a:gd name="T2" fmla="*/ 3 w 6"/>
                  <a:gd name="T3" fmla="*/ 11 h 11"/>
                  <a:gd name="T4" fmla="*/ 6 w 6"/>
                  <a:gd name="T5" fmla="*/ 7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1">
                    <a:moveTo>
                      <a:pt x="6" y="7"/>
                    </a:moveTo>
                    <a:cubicBezTo>
                      <a:pt x="2" y="0"/>
                      <a:pt x="0" y="10"/>
                      <a:pt x="3" y="11"/>
                    </a:cubicBezTo>
                    <a:cubicBezTo>
                      <a:pt x="2" y="8"/>
                      <a:pt x="5" y="9"/>
                      <a:pt x="6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5" name="任意多边形: 形状 694">
                <a:extLst>
                  <a:ext uri="{FF2B5EF4-FFF2-40B4-BE49-F238E27FC236}">
                    <a16:creationId xmlns:a16="http://schemas.microsoft.com/office/drawing/2014/main" id="{5A166DB8-8139-4BB5-A946-65412F48EA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70" y="1776"/>
                <a:ext cx="5" cy="0"/>
              </a:xfrm>
              <a:custGeom>
                <a:avLst/>
                <a:gdLst>
                  <a:gd name="T0" fmla="*/ 0 w 2"/>
                  <a:gd name="T1" fmla="*/ 2 w 2"/>
                  <a:gd name="T2" fmla="*/ 0 w 2"/>
                </a:gdLst>
                <a:ahLst/>
                <a:cxnLst>
                  <a:cxn ang="0">
                    <a:pos x="T0" y="0"/>
                  </a:cxn>
                  <a:cxn ang="0">
                    <a:pos x="T1" y="0"/>
                  </a:cxn>
                  <a:cxn ang="0">
                    <a:pos x="T2" y="0"/>
                  </a:cxn>
                </a:cxnLst>
                <a:rect l="0" t="0" r="r" b="b"/>
                <a:pathLst>
                  <a:path w="2">
                    <a:moveTo>
                      <a:pt x="0" y="0"/>
                    </a:moveTo>
                    <a:cubicBezTo>
                      <a:pt x="1" y="0"/>
                      <a:pt x="1" y="0"/>
                      <a:pt x="2" y="0"/>
                    </a:cubicBezTo>
                    <a:cubicBezTo>
                      <a:pt x="1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6" name="任意多边形: 形状 695">
                <a:extLst>
                  <a:ext uri="{FF2B5EF4-FFF2-40B4-BE49-F238E27FC236}">
                    <a16:creationId xmlns:a16="http://schemas.microsoft.com/office/drawing/2014/main" id="{CDC6A5F7-6654-4F4E-974D-24C1F0EA0CE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6" y="1917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7" name="任意多边形: 形状 696">
                <a:extLst>
                  <a:ext uri="{FF2B5EF4-FFF2-40B4-BE49-F238E27FC236}">
                    <a16:creationId xmlns:a16="http://schemas.microsoft.com/office/drawing/2014/main" id="{757B15AC-65EF-443E-A282-F453708C47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1905"/>
                <a:ext cx="49" cy="39"/>
              </a:xfrm>
              <a:custGeom>
                <a:avLst/>
                <a:gdLst>
                  <a:gd name="T0" fmla="*/ 20 w 24"/>
                  <a:gd name="T1" fmla="*/ 0 h 19"/>
                  <a:gd name="T2" fmla="*/ 13 w 24"/>
                  <a:gd name="T3" fmla="*/ 11 h 19"/>
                  <a:gd name="T4" fmla="*/ 9 w 24"/>
                  <a:gd name="T5" fmla="*/ 6 h 19"/>
                  <a:gd name="T6" fmla="*/ 0 w 24"/>
                  <a:gd name="T7" fmla="*/ 19 h 19"/>
                  <a:gd name="T8" fmla="*/ 19 w 24"/>
                  <a:gd name="T9" fmla="*/ 6 h 19"/>
                  <a:gd name="T10" fmla="*/ 24 w 24"/>
                  <a:gd name="T11" fmla="*/ 6 h 19"/>
                  <a:gd name="T12" fmla="*/ 20 w 24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" h="19">
                    <a:moveTo>
                      <a:pt x="20" y="0"/>
                    </a:moveTo>
                    <a:cubicBezTo>
                      <a:pt x="20" y="4"/>
                      <a:pt x="11" y="4"/>
                      <a:pt x="13" y="11"/>
                    </a:cubicBezTo>
                    <a:cubicBezTo>
                      <a:pt x="11" y="10"/>
                      <a:pt x="12" y="7"/>
                      <a:pt x="9" y="6"/>
                    </a:cubicBezTo>
                    <a:cubicBezTo>
                      <a:pt x="10" y="14"/>
                      <a:pt x="2" y="12"/>
                      <a:pt x="0" y="19"/>
                    </a:cubicBezTo>
                    <a:cubicBezTo>
                      <a:pt x="5" y="13"/>
                      <a:pt x="18" y="16"/>
                      <a:pt x="19" y="6"/>
                    </a:cubicBezTo>
                    <a:cubicBezTo>
                      <a:pt x="21" y="6"/>
                      <a:pt x="22" y="6"/>
                      <a:pt x="24" y="6"/>
                    </a:cubicBezTo>
                    <a:cubicBezTo>
                      <a:pt x="22" y="5"/>
                      <a:pt x="23" y="0"/>
                      <a:pt x="2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8" name="任意多边形: 形状 697">
                <a:extLst>
                  <a:ext uri="{FF2B5EF4-FFF2-40B4-BE49-F238E27FC236}">
                    <a16:creationId xmlns:a16="http://schemas.microsoft.com/office/drawing/2014/main" id="{01F66D1E-4A13-45A1-9182-5318F28845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8" y="500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699" name="任意多边形: 形状 698">
                <a:extLst>
                  <a:ext uri="{FF2B5EF4-FFF2-40B4-BE49-F238E27FC236}">
                    <a16:creationId xmlns:a16="http://schemas.microsoft.com/office/drawing/2014/main" id="{882918BD-CE67-4146-AFF2-EC233102A2E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8" y="500"/>
                <a:ext cx="4" cy="4"/>
              </a:xfrm>
              <a:custGeom>
                <a:avLst/>
                <a:gdLst>
                  <a:gd name="T0" fmla="*/ 2 w 2"/>
                  <a:gd name="T1" fmla="*/ 2 h 2"/>
                  <a:gd name="T2" fmla="*/ 0 w 2"/>
                  <a:gd name="T3" fmla="*/ 0 h 2"/>
                  <a:gd name="T4" fmla="*/ 2 w 2"/>
                  <a:gd name="T5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2">
                    <a:moveTo>
                      <a:pt x="2" y="2"/>
                    </a:moveTo>
                    <a:cubicBezTo>
                      <a:pt x="1" y="1"/>
                      <a:pt x="1" y="0"/>
                      <a:pt x="0" y="0"/>
                    </a:cubicBezTo>
                    <a:cubicBezTo>
                      <a:pt x="1" y="1"/>
                      <a:pt x="1" y="2"/>
                      <a:pt x="2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0" name="任意多边形: 形状 699">
                <a:extLst>
                  <a:ext uri="{FF2B5EF4-FFF2-40B4-BE49-F238E27FC236}">
                    <a16:creationId xmlns:a16="http://schemas.microsoft.com/office/drawing/2014/main" id="{784F3F08-F8EF-45DC-BD60-9770EEC3D50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87" y="958"/>
                <a:ext cx="2" cy="7"/>
              </a:xfrm>
              <a:custGeom>
                <a:avLst/>
                <a:gdLst>
                  <a:gd name="T0" fmla="*/ 0 w 1"/>
                  <a:gd name="T1" fmla="*/ 3 h 3"/>
                  <a:gd name="T2" fmla="*/ 1 w 1"/>
                  <a:gd name="T3" fmla="*/ 0 h 3"/>
                  <a:gd name="T4" fmla="*/ 0 w 1"/>
                  <a:gd name="T5" fmla="*/ 3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" h="3">
                    <a:moveTo>
                      <a:pt x="0" y="3"/>
                    </a:moveTo>
                    <a:cubicBezTo>
                      <a:pt x="0" y="2"/>
                      <a:pt x="1" y="2"/>
                      <a:pt x="1" y="0"/>
                    </a:cubicBezTo>
                    <a:cubicBezTo>
                      <a:pt x="0" y="1"/>
                      <a:pt x="0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1" name="任意多边形: 形状 700">
                <a:extLst>
                  <a:ext uri="{FF2B5EF4-FFF2-40B4-BE49-F238E27FC236}">
                    <a16:creationId xmlns:a16="http://schemas.microsoft.com/office/drawing/2014/main" id="{A60CE18C-5A81-460A-B2A4-9E1817AFE3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53" y="1838"/>
                <a:ext cx="27" cy="27"/>
              </a:xfrm>
              <a:custGeom>
                <a:avLst/>
                <a:gdLst>
                  <a:gd name="T0" fmla="*/ 8 w 13"/>
                  <a:gd name="T1" fmla="*/ 1 h 13"/>
                  <a:gd name="T2" fmla="*/ 5 w 13"/>
                  <a:gd name="T3" fmla="*/ 4 h 13"/>
                  <a:gd name="T4" fmla="*/ 5 w 13"/>
                  <a:gd name="T5" fmla="*/ 9 h 13"/>
                  <a:gd name="T6" fmla="*/ 0 w 13"/>
                  <a:gd name="T7" fmla="*/ 8 h 13"/>
                  <a:gd name="T8" fmla="*/ 8 w 13"/>
                  <a:gd name="T9" fmla="*/ 13 h 13"/>
                  <a:gd name="T10" fmla="*/ 7 w 13"/>
                  <a:gd name="T11" fmla="*/ 6 h 13"/>
                  <a:gd name="T12" fmla="*/ 13 w 13"/>
                  <a:gd name="T13" fmla="*/ 9 h 13"/>
                  <a:gd name="T14" fmla="*/ 12 w 13"/>
                  <a:gd name="T15" fmla="*/ 3 h 13"/>
                  <a:gd name="T16" fmla="*/ 8 w 13"/>
                  <a:gd name="T17" fmla="*/ 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3" h="13">
                    <a:moveTo>
                      <a:pt x="8" y="1"/>
                    </a:moveTo>
                    <a:cubicBezTo>
                      <a:pt x="10" y="7"/>
                      <a:pt x="8" y="4"/>
                      <a:pt x="5" y="4"/>
                    </a:cubicBezTo>
                    <a:cubicBezTo>
                      <a:pt x="7" y="7"/>
                      <a:pt x="7" y="8"/>
                      <a:pt x="5" y="9"/>
                    </a:cubicBezTo>
                    <a:cubicBezTo>
                      <a:pt x="2" y="8"/>
                      <a:pt x="3" y="8"/>
                      <a:pt x="0" y="8"/>
                    </a:cubicBezTo>
                    <a:cubicBezTo>
                      <a:pt x="2" y="12"/>
                      <a:pt x="6" y="11"/>
                      <a:pt x="8" y="13"/>
                    </a:cubicBezTo>
                    <a:cubicBezTo>
                      <a:pt x="6" y="10"/>
                      <a:pt x="8" y="8"/>
                      <a:pt x="7" y="6"/>
                    </a:cubicBezTo>
                    <a:cubicBezTo>
                      <a:pt x="9" y="5"/>
                      <a:pt x="11" y="9"/>
                      <a:pt x="13" y="9"/>
                    </a:cubicBezTo>
                    <a:cubicBezTo>
                      <a:pt x="11" y="6"/>
                      <a:pt x="10" y="4"/>
                      <a:pt x="12" y="3"/>
                    </a:cubicBezTo>
                    <a:cubicBezTo>
                      <a:pt x="11" y="2"/>
                      <a:pt x="9" y="0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2" name="任意多边形: 形状 701">
                <a:extLst>
                  <a:ext uri="{FF2B5EF4-FFF2-40B4-BE49-F238E27FC236}">
                    <a16:creationId xmlns:a16="http://schemas.microsoft.com/office/drawing/2014/main" id="{AEE605A6-3BC7-41F4-BD11-0C55FC9A3D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89" y="641"/>
                <a:ext cx="13" cy="14"/>
              </a:xfrm>
              <a:custGeom>
                <a:avLst/>
                <a:gdLst>
                  <a:gd name="T0" fmla="*/ 3 w 6"/>
                  <a:gd name="T1" fmla="*/ 5 h 7"/>
                  <a:gd name="T2" fmla="*/ 6 w 6"/>
                  <a:gd name="T3" fmla="*/ 6 h 7"/>
                  <a:gd name="T4" fmla="*/ 0 w 6"/>
                  <a:gd name="T5" fmla="*/ 7 h 7"/>
                  <a:gd name="T6" fmla="*/ 3 w 6"/>
                  <a:gd name="T7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7">
                    <a:moveTo>
                      <a:pt x="3" y="5"/>
                    </a:moveTo>
                    <a:cubicBezTo>
                      <a:pt x="4" y="6"/>
                      <a:pt x="5" y="7"/>
                      <a:pt x="6" y="6"/>
                    </a:cubicBezTo>
                    <a:cubicBezTo>
                      <a:pt x="2" y="0"/>
                      <a:pt x="1" y="5"/>
                      <a:pt x="0" y="7"/>
                    </a:cubicBezTo>
                    <a:cubicBezTo>
                      <a:pt x="2" y="7"/>
                      <a:pt x="3" y="7"/>
                      <a:pt x="3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3" name="任意多边形: 形状 702">
                <a:extLst>
                  <a:ext uri="{FF2B5EF4-FFF2-40B4-BE49-F238E27FC236}">
                    <a16:creationId xmlns:a16="http://schemas.microsoft.com/office/drawing/2014/main" id="{A8DE1C89-9CA6-4419-BA52-49A32B680C5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02" y="1994"/>
                <a:ext cx="20" cy="15"/>
              </a:xfrm>
              <a:custGeom>
                <a:avLst/>
                <a:gdLst>
                  <a:gd name="T0" fmla="*/ 7 w 10"/>
                  <a:gd name="T1" fmla="*/ 7 h 7"/>
                  <a:gd name="T2" fmla="*/ 8 w 10"/>
                  <a:gd name="T3" fmla="*/ 1 h 7"/>
                  <a:gd name="T4" fmla="*/ 3 w 10"/>
                  <a:gd name="T5" fmla="*/ 3 h 7"/>
                  <a:gd name="T6" fmla="*/ 7 w 10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7">
                    <a:moveTo>
                      <a:pt x="7" y="7"/>
                    </a:moveTo>
                    <a:cubicBezTo>
                      <a:pt x="8" y="6"/>
                      <a:pt x="10" y="1"/>
                      <a:pt x="8" y="1"/>
                    </a:cubicBezTo>
                    <a:cubicBezTo>
                      <a:pt x="8" y="6"/>
                      <a:pt x="0" y="0"/>
                      <a:pt x="3" y="3"/>
                    </a:cubicBezTo>
                    <a:cubicBezTo>
                      <a:pt x="4" y="3"/>
                      <a:pt x="5" y="5"/>
                      <a:pt x="7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4" name="任意多边形: 形状 703">
                <a:extLst>
                  <a:ext uri="{FF2B5EF4-FFF2-40B4-BE49-F238E27FC236}">
                    <a16:creationId xmlns:a16="http://schemas.microsoft.com/office/drawing/2014/main" id="{7C367370-7E1C-4E4A-B8B8-DF522C8870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32" y="2094"/>
                <a:ext cx="34" cy="41"/>
              </a:xfrm>
              <a:custGeom>
                <a:avLst/>
                <a:gdLst>
                  <a:gd name="T0" fmla="*/ 5 w 16"/>
                  <a:gd name="T1" fmla="*/ 6 h 20"/>
                  <a:gd name="T2" fmla="*/ 9 w 16"/>
                  <a:gd name="T3" fmla="*/ 8 h 20"/>
                  <a:gd name="T4" fmla="*/ 3 w 16"/>
                  <a:gd name="T5" fmla="*/ 12 h 20"/>
                  <a:gd name="T6" fmla="*/ 2 w 16"/>
                  <a:gd name="T7" fmla="*/ 20 h 20"/>
                  <a:gd name="T8" fmla="*/ 9 w 16"/>
                  <a:gd name="T9" fmla="*/ 5 h 20"/>
                  <a:gd name="T10" fmla="*/ 16 w 16"/>
                  <a:gd name="T11" fmla="*/ 4 h 20"/>
                  <a:gd name="T12" fmla="*/ 14 w 16"/>
                  <a:gd name="T13" fmla="*/ 1 h 20"/>
                  <a:gd name="T14" fmla="*/ 10 w 16"/>
                  <a:gd name="T15" fmla="*/ 0 h 20"/>
                  <a:gd name="T16" fmla="*/ 11 w 16"/>
                  <a:gd name="T17" fmla="*/ 4 h 20"/>
                  <a:gd name="T18" fmla="*/ 5 w 16"/>
                  <a:gd name="T19" fmla="*/ 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" h="20">
                    <a:moveTo>
                      <a:pt x="5" y="6"/>
                    </a:moveTo>
                    <a:cubicBezTo>
                      <a:pt x="6" y="4"/>
                      <a:pt x="8" y="5"/>
                      <a:pt x="9" y="8"/>
                    </a:cubicBezTo>
                    <a:cubicBezTo>
                      <a:pt x="6" y="11"/>
                      <a:pt x="7" y="11"/>
                      <a:pt x="3" y="12"/>
                    </a:cubicBezTo>
                    <a:cubicBezTo>
                      <a:pt x="6" y="16"/>
                      <a:pt x="0" y="16"/>
                      <a:pt x="2" y="20"/>
                    </a:cubicBezTo>
                    <a:cubicBezTo>
                      <a:pt x="3" y="14"/>
                      <a:pt x="12" y="15"/>
                      <a:pt x="9" y="5"/>
                    </a:cubicBezTo>
                    <a:cubicBezTo>
                      <a:pt x="11" y="2"/>
                      <a:pt x="16" y="8"/>
                      <a:pt x="16" y="4"/>
                    </a:cubicBezTo>
                    <a:cubicBezTo>
                      <a:pt x="15" y="4"/>
                      <a:pt x="14" y="3"/>
                      <a:pt x="14" y="1"/>
                    </a:cubicBezTo>
                    <a:cubicBezTo>
                      <a:pt x="11" y="4"/>
                      <a:pt x="12" y="0"/>
                      <a:pt x="10" y="0"/>
                    </a:cubicBezTo>
                    <a:cubicBezTo>
                      <a:pt x="11" y="2"/>
                      <a:pt x="11" y="3"/>
                      <a:pt x="11" y="4"/>
                    </a:cubicBezTo>
                    <a:cubicBezTo>
                      <a:pt x="10" y="1"/>
                      <a:pt x="5" y="4"/>
                      <a:pt x="5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5" name="任意多边形: 形状 704">
                <a:extLst>
                  <a:ext uri="{FF2B5EF4-FFF2-40B4-BE49-F238E27FC236}">
                    <a16:creationId xmlns:a16="http://schemas.microsoft.com/office/drawing/2014/main" id="{B6C2DA59-3810-41E7-8190-FFDB45E68CF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1" y="2023"/>
                <a:ext cx="0" cy="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6" name="任意多边形: 形状 705">
                <a:extLst>
                  <a:ext uri="{FF2B5EF4-FFF2-40B4-BE49-F238E27FC236}">
                    <a16:creationId xmlns:a16="http://schemas.microsoft.com/office/drawing/2014/main" id="{7078251A-4119-4AF5-B1AC-08C86067CC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7" y="2013"/>
                <a:ext cx="25" cy="25"/>
              </a:xfrm>
              <a:custGeom>
                <a:avLst/>
                <a:gdLst>
                  <a:gd name="T0" fmla="*/ 11 w 12"/>
                  <a:gd name="T1" fmla="*/ 8 h 12"/>
                  <a:gd name="T2" fmla="*/ 10 w 12"/>
                  <a:gd name="T3" fmla="*/ 0 h 12"/>
                  <a:gd name="T4" fmla="*/ 3 w 12"/>
                  <a:gd name="T5" fmla="*/ 6 h 12"/>
                  <a:gd name="T6" fmla="*/ 0 w 12"/>
                  <a:gd name="T7" fmla="*/ 5 h 12"/>
                  <a:gd name="T8" fmla="*/ 6 w 12"/>
                  <a:gd name="T9" fmla="*/ 12 h 12"/>
                  <a:gd name="T10" fmla="*/ 11 w 12"/>
                  <a:gd name="T11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" h="12">
                    <a:moveTo>
                      <a:pt x="11" y="8"/>
                    </a:moveTo>
                    <a:cubicBezTo>
                      <a:pt x="7" y="8"/>
                      <a:pt x="12" y="4"/>
                      <a:pt x="10" y="0"/>
                    </a:cubicBezTo>
                    <a:cubicBezTo>
                      <a:pt x="6" y="2"/>
                      <a:pt x="4" y="2"/>
                      <a:pt x="3" y="6"/>
                    </a:cubicBezTo>
                    <a:cubicBezTo>
                      <a:pt x="2" y="6"/>
                      <a:pt x="1" y="5"/>
                      <a:pt x="0" y="5"/>
                    </a:cubicBezTo>
                    <a:cubicBezTo>
                      <a:pt x="2" y="6"/>
                      <a:pt x="5" y="8"/>
                      <a:pt x="6" y="12"/>
                    </a:cubicBezTo>
                    <a:cubicBezTo>
                      <a:pt x="6" y="6"/>
                      <a:pt x="10" y="12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7" name="任意多边形: 形状 706">
                <a:extLst>
                  <a:ext uri="{FF2B5EF4-FFF2-40B4-BE49-F238E27FC236}">
                    <a16:creationId xmlns:a16="http://schemas.microsoft.com/office/drawing/2014/main" id="{90393A05-765E-47D9-8811-BACAEDC6CC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68" y="2023"/>
                <a:ext cx="185" cy="102"/>
              </a:xfrm>
              <a:custGeom>
                <a:avLst/>
                <a:gdLst>
                  <a:gd name="T0" fmla="*/ 82 w 89"/>
                  <a:gd name="T1" fmla="*/ 8 h 49"/>
                  <a:gd name="T2" fmla="*/ 81 w 89"/>
                  <a:gd name="T3" fmla="*/ 5 h 49"/>
                  <a:gd name="T4" fmla="*/ 88 w 89"/>
                  <a:gd name="T5" fmla="*/ 0 h 49"/>
                  <a:gd name="T6" fmla="*/ 64 w 89"/>
                  <a:gd name="T7" fmla="*/ 10 h 49"/>
                  <a:gd name="T8" fmla="*/ 61 w 89"/>
                  <a:gd name="T9" fmla="*/ 5 h 49"/>
                  <a:gd name="T10" fmla="*/ 52 w 89"/>
                  <a:gd name="T11" fmla="*/ 12 h 49"/>
                  <a:gd name="T12" fmla="*/ 50 w 89"/>
                  <a:gd name="T13" fmla="*/ 17 h 49"/>
                  <a:gd name="T14" fmla="*/ 49 w 89"/>
                  <a:gd name="T15" fmla="*/ 13 h 49"/>
                  <a:gd name="T16" fmla="*/ 48 w 89"/>
                  <a:gd name="T17" fmla="*/ 16 h 49"/>
                  <a:gd name="T18" fmla="*/ 47 w 89"/>
                  <a:gd name="T19" fmla="*/ 13 h 49"/>
                  <a:gd name="T20" fmla="*/ 43 w 89"/>
                  <a:gd name="T21" fmla="*/ 16 h 49"/>
                  <a:gd name="T22" fmla="*/ 46 w 89"/>
                  <a:gd name="T23" fmla="*/ 17 h 49"/>
                  <a:gd name="T24" fmla="*/ 44 w 89"/>
                  <a:gd name="T25" fmla="*/ 20 h 49"/>
                  <a:gd name="T26" fmla="*/ 39 w 89"/>
                  <a:gd name="T27" fmla="*/ 15 h 49"/>
                  <a:gd name="T28" fmla="*/ 33 w 89"/>
                  <a:gd name="T29" fmla="*/ 20 h 49"/>
                  <a:gd name="T30" fmla="*/ 34 w 89"/>
                  <a:gd name="T31" fmla="*/ 26 h 49"/>
                  <a:gd name="T32" fmla="*/ 26 w 89"/>
                  <a:gd name="T33" fmla="*/ 28 h 49"/>
                  <a:gd name="T34" fmla="*/ 25 w 89"/>
                  <a:gd name="T35" fmla="*/ 24 h 49"/>
                  <a:gd name="T36" fmla="*/ 10 w 89"/>
                  <a:gd name="T37" fmla="*/ 28 h 49"/>
                  <a:gd name="T38" fmla="*/ 4 w 89"/>
                  <a:gd name="T39" fmla="*/ 35 h 49"/>
                  <a:gd name="T40" fmla="*/ 4 w 89"/>
                  <a:gd name="T41" fmla="*/ 30 h 49"/>
                  <a:gd name="T42" fmla="*/ 7 w 89"/>
                  <a:gd name="T43" fmla="*/ 30 h 49"/>
                  <a:gd name="T44" fmla="*/ 1 w 89"/>
                  <a:gd name="T45" fmla="*/ 26 h 49"/>
                  <a:gd name="T46" fmla="*/ 6 w 89"/>
                  <a:gd name="T47" fmla="*/ 39 h 49"/>
                  <a:gd name="T48" fmla="*/ 14 w 89"/>
                  <a:gd name="T49" fmla="*/ 36 h 49"/>
                  <a:gd name="T50" fmla="*/ 13 w 89"/>
                  <a:gd name="T51" fmla="*/ 39 h 49"/>
                  <a:gd name="T52" fmla="*/ 6 w 89"/>
                  <a:gd name="T53" fmla="*/ 41 h 49"/>
                  <a:gd name="T54" fmla="*/ 7 w 89"/>
                  <a:gd name="T55" fmla="*/ 46 h 49"/>
                  <a:gd name="T56" fmla="*/ 11 w 89"/>
                  <a:gd name="T57" fmla="*/ 48 h 49"/>
                  <a:gd name="T58" fmla="*/ 19 w 89"/>
                  <a:gd name="T59" fmla="*/ 38 h 49"/>
                  <a:gd name="T60" fmla="*/ 32 w 89"/>
                  <a:gd name="T61" fmla="*/ 28 h 49"/>
                  <a:gd name="T62" fmla="*/ 26 w 89"/>
                  <a:gd name="T63" fmla="*/ 33 h 49"/>
                  <a:gd name="T64" fmla="*/ 30 w 89"/>
                  <a:gd name="T65" fmla="*/ 36 h 49"/>
                  <a:gd name="T66" fmla="*/ 32 w 89"/>
                  <a:gd name="T67" fmla="*/ 30 h 49"/>
                  <a:gd name="T68" fmla="*/ 38 w 89"/>
                  <a:gd name="T69" fmla="*/ 29 h 49"/>
                  <a:gd name="T70" fmla="*/ 39 w 89"/>
                  <a:gd name="T71" fmla="*/ 24 h 49"/>
                  <a:gd name="T72" fmla="*/ 39 w 89"/>
                  <a:gd name="T73" fmla="*/ 26 h 49"/>
                  <a:gd name="T74" fmla="*/ 66 w 89"/>
                  <a:gd name="T75" fmla="*/ 18 h 49"/>
                  <a:gd name="T76" fmla="*/ 63 w 89"/>
                  <a:gd name="T77" fmla="*/ 12 h 49"/>
                  <a:gd name="T78" fmla="*/ 82 w 89"/>
                  <a:gd name="T79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9" h="49">
                    <a:moveTo>
                      <a:pt x="82" y="8"/>
                    </a:moveTo>
                    <a:cubicBezTo>
                      <a:pt x="81" y="7"/>
                      <a:pt x="80" y="5"/>
                      <a:pt x="81" y="5"/>
                    </a:cubicBezTo>
                    <a:cubicBezTo>
                      <a:pt x="83" y="7"/>
                      <a:pt x="89" y="2"/>
                      <a:pt x="88" y="0"/>
                    </a:cubicBezTo>
                    <a:cubicBezTo>
                      <a:pt x="79" y="1"/>
                      <a:pt x="72" y="9"/>
                      <a:pt x="64" y="10"/>
                    </a:cubicBezTo>
                    <a:cubicBezTo>
                      <a:pt x="62" y="7"/>
                      <a:pt x="61" y="8"/>
                      <a:pt x="61" y="5"/>
                    </a:cubicBezTo>
                    <a:cubicBezTo>
                      <a:pt x="60" y="9"/>
                      <a:pt x="56" y="13"/>
                      <a:pt x="52" y="12"/>
                    </a:cubicBezTo>
                    <a:cubicBezTo>
                      <a:pt x="54" y="15"/>
                      <a:pt x="52" y="16"/>
                      <a:pt x="50" y="17"/>
                    </a:cubicBezTo>
                    <a:cubicBezTo>
                      <a:pt x="50" y="16"/>
                      <a:pt x="50" y="15"/>
                      <a:pt x="49" y="13"/>
                    </a:cubicBezTo>
                    <a:cubicBezTo>
                      <a:pt x="48" y="14"/>
                      <a:pt x="48" y="15"/>
                      <a:pt x="48" y="16"/>
                    </a:cubicBezTo>
                    <a:cubicBezTo>
                      <a:pt x="47" y="15"/>
                      <a:pt x="47" y="14"/>
                      <a:pt x="47" y="13"/>
                    </a:cubicBezTo>
                    <a:cubicBezTo>
                      <a:pt x="46" y="16"/>
                      <a:pt x="42" y="12"/>
                      <a:pt x="43" y="16"/>
                    </a:cubicBezTo>
                    <a:cubicBezTo>
                      <a:pt x="44" y="16"/>
                      <a:pt x="45" y="16"/>
                      <a:pt x="46" y="17"/>
                    </a:cubicBezTo>
                    <a:cubicBezTo>
                      <a:pt x="45" y="17"/>
                      <a:pt x="45" y="19"/>
                      <a:pt x="44" y="20"/>
                    </a:cubicBezTo>
                    <a:cubicBezTo>
                      <a:pt x="42" y="15"/>
                      <a:pt x="41" y="19"/>
                      <a:pt x="39" y="15"/>
                    </a:cubicBezTo>
                    <a:cubicBezTo>
                      <a:pt x="38" y="20"/>
                      <a:pt x="37" y="21"/>
                      <a:pt x="33" y="20"/>
                    </a:cubicBezTo>
                    <a:cubicBezTo>
                      <a:pt x="34" y="23"/>
                      <a:pt x="35" y="25"/>
                      <a:pt x="34" y="26"/>
                    </a:cubicBezTo>
                    <a:cubicBezTo>
                      <a:pt x="33" y="19"/>
                      <a:pt x="26" y="24"/>
                      <a:pt x="26" y="28"/>
                    </a:cubicBezTo>
                    <a:cubicBezTo>
                      <a:pt x="25" y="26"/>
                      <a:pt x="25" y="25"/>
                      <a:pt x="25" y="24"/>
                    </a:cubicBezTo>
                    <a:cubicBezTo>
                      <a:pt x="20" y="28"/>
                      <a:pt x="15" y="30"/>
                      <a:pt x="10" y="28"/>
                    </a:cubicBezTo>
                    <a:cubicBezTo>
                      <a:pt x="13" y="33"/>
                      <a:pt x="7" y="35"/>
                      <a:pt x="4" y="35"/>
                    </a:cubicBezTo>
                    <a:cubicBezTo>
                      <a:pt x="4" y="33"/>
                      <a:pt x="4" y="32"/>
                      <a:pt x="4" y="30"/>
                    </a:cubicBezTo>
                    <a:cubicBezTo>
                      <a:pt x="4" y="34"/>
                      <a:pt x="9" y="32"/>
                      <a:pt x="7" y="30"/>
                    </a:cubicBezTo>
                    <a:cubicBezTo>
                      <a:pt x="4" y="33"/>
                      <a:pt x="3" y="28"/>
                      <a:pt x="1" y="26"/>
                    </a:cubicBezTo>
                    <a:cubicBezTo>
                      <a:pt x="2" y="34"/>
                      <a:pt x="0" y="32"/>
                      <a:pt x="6" y="39"/>
                    </a:cubicBezTo>
                    <a:cubicBezTo>
                      <a:pt x="7" y="37"/>
                      <a:pt x="13" y="31"/>
                      <a:pt x="14" y="36"/>
                    </a:cubicBezTo>
                    <a:cubicBezTo>
                      <a:pt x="12" y="33"/>
                      <a:pt x="14" y="39"/>
                      <a:pt x="13" y="39"/>
                    </a:cubicBezTo>
                    <a:cubicBezTo>
                      <a:pt x="9" y="40"/>
                      <a:pt x="10" y="41"/>
                      <a:pt x="6" y="41"/>
                    </a:cubicBezTo>
                    <a:cubicBezTo>
                      <a:pt x="8" y="43"/>
                      <a:pt x="6" y="44"/>
                      <a:pt x="7" y="46"/>
                    </a:cubicBezTo>
                    <a:cubicBezTo>
                      <a:pt x="8" y="45"/>
                      <a:pt x="9" y="49"/>
                      <a:pt x="11" y="48"/>
                    </a:cubicBezTo>
                    <a:cubicBezTo>
                      <a:pt x="7" y="41"/>
                      <a:pt x="18" y="45"/>
                      <a:pt x="19" y="38"/>
                    </a:cubicBezTo>
                    <a:cubicBezTo>
                      <a:pt x="16" y="32"/>
                      <a:pt x="27" y="26"/>
                      <a:pt x="32" y="28"/>
                    </a:cubicBezTo>
                    <a:cubicBezTo>
                      <a:pt x="29" y="31"/>
                      <a:pt x="27" y="31"/>
                      <a:pt x="26" y="33"/>
                    </a:cubicBezTo>
                    <a:cubicBezTo>
                      <a:pt x="27" y="33"/>
                      <a:pt x="28" y="36"/>
                      <a:pt x="30" y="36"/>
                    </a:cubicBezTo>
                    <a:cubicBezTo>
                      <a:pt x="30" y="35"/>
                      <a:pt x="34" y="32"/>
                      <a:pt x="32" y="30"/>
                    </a:cubicBezTo>
                    <a:cubicBezTo>
                      <a:pt x="35" y="32"/>
                      <a:pt x="36" y="29"/>
                      <a:pt x="38" y="29"/>
                    </a:cubicBezTo>
                    <a:cubicBezTo>
                      <a:pt x="36" y="26"/>
                      <a:pt x="38" y="22"/>
                      <a:pt x="39" y="24"/>
                    </a:cubicBezTo>
                    <a:cubicBezTo>
                      <a:pt x="39" y="24"/>
                      <a:pt x="38" y="25"/>
                      <a:pt x="39" y="26"/>
                    </a:cubicBezTo>
                    <a:cubicBezTo>
                      <a:pt x="50" y="29"/>
                      <a:pt x="54" y="13"/>
                      <a:pt x="66" y="18"/>
                    </a:cubicBezTo>
                    <a:cubicBezTo>
                      <a:pt x="67" y="16"/>
                      <a:pt x="62" y="13"/>
                      <a:pt x="63" y="12"/>
                    </a:cubicBezTo>
                    <a:cubicBezTo>
                      <a:pt x="70" y="17"/>
                      <a:pt x="73" y="4"/>
                      <a:pt x="8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8" name="任意多边形: 形状 707">
                <a:extLst>
                  <a:ext uri="{FF2B5EF4-FFF2-40B4-BE49-F238E27FC236}">
                    <a16:creationId xmlns:a16="http://schemas.microsoft.com/office/drawing/2014/main" id="{96C40A8D-A0CB-4E05-ABF2-B30D8A7A92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0" y="2245"/>
                <a:ext cx="29" cy="25"/>
              </a:xfrm>
              <a:custGeom>
                <a:avLst/>
                <a:gdLst>
                  <a:gd name="T0" fmla="*/ 14 w 14"/>
                  <a:gd name="T1" fmla="*/ 0 h 12"/>
                  <a:gd name="T2" fmla="*/ 0 w 14"/>
                  <a:gd name="T3" fmla="*/ 7 h 12"/>
                  <a:gd name="T4" fmla="*/ 2 w 14"/>
                  <a:gd name="T5" fmla="*/ 12 h 12"/>
                  <a:gd name="T6" fmla="*/ 13 w 14"/>
                  <a:gd name="T7" fmla="*/ 9 h 12"/>
                  <a:gd name="T8" fmla="*/ 9 w 14"/>
                  <a:gd name="T9" fmla="*/ 4 h 12"/>
                  <a:gd name="T10" fmla="*/ 14 w 14"/>
                  <a:gd name="T11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4" h="12">
                    <a:moveTo>
                      <a:pt x="14" y="0"/>
                    </a:moveTo>
                    <a:cubicBezTo>
                      <a:pt x="9" y="3"/>
                      <a:pt x="6" y="6"/>
                      <a:pt x="0" y="7"/>
                    </a:cubicBezTo>
                    <a:cubicBezTo>
                      <a:pt x="1" y="8"/>
                      <a:pt x="0" y="12"/>
                      <a:pt x="2" y="12"/>
                    </a:cubicBezTo>
                    <a:cubicBezTo>
                      <a:pt x="2" y="6"/>
                      <a:pt x="8" y="8"/>
                      <a:pt x="13" y="9"/>
                    </a:cubicBezTo>
                    <a:cubicBezTo>
                      <a:pt x="12" y="6"/>
                      <a:pt x="10" y="7"/>
                      <a:pt x="9" y="4"/>
                    </a:cubicBezTo>
                    <a:cubicBezTo>
                      <a:pt x="12" y="6"/>
                      <a:pt x="14" y="4"/>
                      <a:pt x="1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09" name="任意多边形: 形状 708">
                <a:extLst>
                  <a:ext uri="{FF2B5EF4-FFF2-40B4-BE49-F238E27FC236}">
                    <a16:creationId xmlns:a16="http://schemas.microsoft.com/office/drawing/2014/main" id="{F32200AC-3A0C-4F81-A28A-4CE46495B72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95" y="2004"/>
                <a:ext cx="27" cy="17"/>
              </a:xfrm>
              <a:custGeom>
                <a:avLst/>
                <a:gdLst>
                  <a:gd name="T0" fmla="*/ 0 w 13"/>
                  <a:gd name="T1" fmla="*/ 8 h 8"/>
                  <a:gd name="T2" fmla="*/ 10 w 13"/>
                  <a:gd name="T3" fmla="*/ 7 h 8"/>
                  <a:gd name="T4" fmla="*/ 11 w 13"/>
                  <a:gd name="T5" fmla="*/ 1 h 8"/>
                  <a:gd name="T6" fmla="*/ 8 w 13"/>
                  <a:gd name="T7" fmla="*/ 0 h 8"/>
                  <a:gd name="T8" fmla="*/ 0 w 13"/>
                  <a:gd name="T9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" h="8">
                    <a:moveTo>
                      <a:pt x="0" y="8"/>
                    </a:moveTo>
                    <a:cubicBezTo>
                      <a:pt x="3" y="6"/>
                      <a:pt x="6" y="5"/>
                      <a:pt x="10" y="7"/>
                    </a:cubicBezTo>
                    <a:cubicBezTo>
                      <a:pt x="6" y="0"/>
                      <a:pt x="13" y="7"/>
                      <a:pt x="11" y="1"/>
                    </a:cubicBezTo>
                    <a:cubicBezTo>
                      <a:pt x="10" y="2"/>
                      <a:pt x="9" y="0"/>
                      <a:pt x="8" y="0"/>
                    </a:cubicBezTo>
                    <a:cubicBezTo>
                      <a:pt x="10" y="7"/>
                      <a:pt x="0" y="3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0" name="任意多边形: 形状 709">
                <a:extLst>
                  <a:ext uri="{FF2B5EF4-FFF2-40B4-BE49-F238E27FC236}">
                    <a16:creationId xmlns:a16="http://schemas.microsoft.com/office/drawing/2014/main" id="{E9F937AD-0E0F-44AB-B084-3FDDBE1545A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01" y="2015"/>
                <a:ext cx="17" cy="21"/>
              </a:xfrm>
              <a:custGeom>
                <a:avLst/>
                <a:gdLst>
                  <a:gd name="T0" fmla="*/ 4 w 8"/>
                  <a:gd name="T1" fmla="*/ 2 h 10"/>
                  <a:gd name="T2" fmla="*/ 0 w 8"/>
                  <a:gd name="T3" fmla="*/ 6 h 10"/>
                  <a:gd name="T4" fmla="*/ 3 w 8"/>
                  <a:gd name="T5" fmla="*/ 10 h 10"/>
                  <a:gd name="T6" fmla="*/ 6 w 8"/>
                  <a:gd name="T7" fmla="*/ 5 h 10"/>
                  <a:gd name="T8" fmla="*/ 4 w 8"/>
                  <a:gd name="T9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10">
                    <a:moveTo>
                      <a:pt x="4" y="2"/>
                    </a:moveTo>
                    <a:cubicBezTo>
                      <a:pt x="4" y="3"/>
                      <a:pt x="2" y="3"/>
                      <a:pt x="0" y="6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5" y="9"/>
                      <a:pt x="8" y="8"/>
                      <a:pt x="6" y="5"/>
                    </a:cubicBezTo>
                    <a:cubicBezTo>
                      <a:pt x="4" y="6"/>
                      <a:pt x="6" y="0"/>
                      <a:pt x="4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1" name="任意多边形: 形状 710">
                <a:extLst>
                  <a:ext uri="{FF2B5EF4-FFF2-40B4-BE49-F238E27FC236}">
                    <a16:creationId xmlns:a16="http://schemas.microsoft.com/office/drawing/2014/main" id="{0D793C75-6D74-4C20-B479-8818CAEC05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6" y="1982"/>
                <a:ext cx="25" cy="18"/>
              </a:xfrm>
              <a:custGeom>
                <a:avLst/>
                <a:gdLst>
                  <a:gd name="T0" fmla="*/ 6 w 12"/>
                  <a:gd name="T1" fmla="*/ 6 h 9"/>
                  <a:gd name="T2" fmla="*/ 10 w 12"/>
                  <a:gd name="T3" fmla="*/ 1 h 9"/>
                  <a:gd name="T4" fmla="*/ 0 w 12"/>
                  <a:gd name="T5" fmla="*/ 9 h 9"/>
                  <a:gd name="T6" fmla="*/ 6 w 12"/>
                  <a:gd name="T7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6" y="6"/>
                    </a:moveTo>
                    <a:cubicBezTo>
                      <a:pt x="3" y="2"/>
                      <a:pt x="12" y="6"/>
                      <a:pt x="10" y="1"/>
                    </a:cubicBezTo>
                    <a:cubicBezTo>
                      <a:pt x="5" y="0"/>
                      <a:pt x="1" y="5"/>
                      <a:pt x="0" y="9"/>
                    </a:cubicBezTo>
                    <a:cubicBezTo>
                      <a:pt x="2" y="6"/>
                      <a:pt x="4" y="8"/>
                      <a:pt x="6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2" name="任意多边形: 形状 711">
                <a:extLst>
                  <a:ext uri="{FF2B5EF4-FFF2-40B4-BE49-F238E27FC236}">
                    <a16:creationId xmlns:a16="http://schemas.microsoft.com/office/drawing/2014/main" id="{191F1A04-A296-45D0-B536-988D397FA39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45" y="1878"/>
                <a:ext cx="43" cy="27"/>
              </a:xfrm>
              <a:custGeom>
                <a:avLst/>
                <a:gdLst>
                  <a:gd name="T0" fmla="*/ 10 w 21"/>
                  <a:gd name="T1" fmla="*/ 6 h 13"/>
                  <a:gd name="T2" fmla="*/ 12 w 21"/>
                  <a:gd name="T3" fmla="*/ 12 h 13"/>
                  <a:gd name="T4" fmla="*/ 13 w 21"/>
                  <a:gd name="T5" fmla="*/ 9 h 13"/>
                  <a:gd name="T6" fmla="*/ 18 w 21"/>
                  <a:gd name="T7" fmla="*/ 5 h 13"/>
                  <a:gd name="T8" fmla="*/ 12 w 21"/>
                  <a:gd name="T9" fmla="*/ 3 h 13"/>
                  <a:gd name="T10" fmla="*/ 4 w 21"/>
                  <a:gd name="T11" fmla="*/ 3 h 13"/>
                  <a:gd name="T12" fmla="*/ 0 w 21"/>
                  <a:gd name="T13" fmla="*/ 10 h 13"/>
                  <a:gd name="T14" fmla="*/ 10 w 21"/>
                  <a:gd name="T15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3">
                    <a:moveTo>
                      <a:pt x="10" y="6"/>
                    </a:moveTo>
                    <a:cubicBezTo>
                      <a:pt x="14" y="9"/>
                      <a:pt x="9" y="9"/>
                      <a:pt x="12" y="12"/>
                    </a:cubicBezTo>
                    <a:cubicBezTo>
                      <a:pt x="14" y="13"/>
                      <a:pt x="17" y="9"/>
                      <a:pt x="13" y="9"/>
                    </a:cubicBezTo>
                    <a:cubicBezTo>
                      <a:pt x="14" y="7"/>
                      <a:pt x="21" y="11"/>
                      <a:pt x="18" y="5"/>
                    </a:cubicBezTo>
                    <a:cubicBezTo>
                      <a:pt x="15" y="9"/>
                      <a:pt x="11" y="7"/>
                      <a:pt x="12" y="3"/>
                    </a:cubicBezTo>
                    <a:cubicBezTo>
                      <a:pt x="10" y="0"/>
                      <a:pt x="6" y="9"/>
                      <a:pt x="4" y="3"/>
                    </a:cubicBezTo>
                    <a:cubicBezTo>
                      <a:pt x="4" y="8"/>
                      <a:pt x="2" y="8"/>
                      <a:pt x="0" y="10"/>
                    </a:cubicBezTo>
                    <a:cubicBezTo>
                      <a:pt x="4" y="13"/>
                      <a:pt x="5" y="3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3" name="任意多边形: 形状 712">
                <a:extLst>
                  <a:ext uri="{FF2B5EF4-FFF2-40B4-BE49-F238E27FC236}">
                    <a16:creationId xmlns:a16="http://schemas.microsoft.com/office/drawing/2014/main" id="{637C0276-D424-4027-A3DC-EB57B17ADE0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2116"/>
                <a:ext cx="20" cy="23"/>
              </a:xfrm>
              <a:custGeom>
                <a:avLst/>
                <a:gdLst>
                  <a:gd name="T0" fmla="*/ 4 w 10"/>
                  <a:gd name="T1" fmla="*/ 11 h 11"/>
                  <a:gd name="T2" fmla="*/ 10 w 10"/>
                  <a:gd name="T3" fmla="*/ 7 h 11"/>
                  <a:gd name="T4" fmla="*/ 5 w 10"/>
                  <a:gd name="T5" fmla="*/ 2 h 11"/>
                  <a:gd name="T6" fmla="*/ 4 w 10"/>
                  <a:gd name="T7" fmla="*/ 11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4" y="11"/>
                    </a:moveTo>
                    <a:cubicBezTo>
                      <a:pt x="4" y="9"/>
                      <a:pt x="7" y="8"/>
                      <a:pt x="10" y="7"/>
                    </a:cubicBezTo>
                    <a:cubicBezTo>
                      <a:pt x="7" y="6"/>
                      <a:pt x="5" y="0"/>
                      <a:pt x="5" y="2"/>
                    </a:cubicBezTo>
                    <a:cubicBezTo>
                      <a:pt x="9" y="8"/>
                      <a:pt x="0" y="8"/>
                      <a:pt x="4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4" name="任意多边形: 形状 713">
                <a:extLst>
                  <a:ext uri="{FF2B5EF4-FFF2-40B4-BE49-F238E27FC236}">
                    <a16:creationId xmlns:a16="http://schemas.microsoft.com/office/drawing/2014/main" id="{71646BBD-2782-4E16-8583-2F791E7D7D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889" y="1510"/>
                <a:ext cx="35" cy="19"/>
              </a:xfrm>
              <a:custGeom>
                <a:avLst/>
                <a:gdLst>
                  <a:gd name="T0" fmla="*/ 17 w 17"/>
                  <a:gd name="T1" fmla="*/ 3 h 9"/>
                  <a:gd name="T2" fmla="*/ 0 w 17"/>
                  <a:gd name="T3" fmla="*/ 8 h 9"/>
                  <a:gd name="T4" fmla="*/ 17 w 17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9">
                    <a:moveTo>
                      <a:pt x="17" y="3"/>
                    </a:moveTo>
                    <a:cubicBezTo>
                      <a:pt x="10" y="0"/>
                      <a:pt x="2" y="3"/>
                      <a:pt x="0" y="8"/>
                    </a:cubicBezTo>
                    <a:cubicBezTo>
                      <a:pt x="6" y="2"/>
                      <a:pt x="14" y="9"/>
                      <a:pt x="17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5" name="任意多边形: 形状 714">
                <a:extLst>
                  <a:ext uri="{FF2B5EF4-FFF2-40B4-BE49-F238E27FC236}">
                    <a16:creationId xmlns:a16="http://schemas.microsoft.com/office/drawing/2014/main" id="{E68BE358-0C04-41B1-8EE0-C6245B8236E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84" y="1836"/>
                <a:ext cx="21" cy="29"/>
              </a:xfrm>
              <a:custGeom>
                <a:avLst/>
                <a:gdLst>
                  <a:gd name="T0" fmla="*/ 1 w 10"/>
                  <a:gd name="T1" fmla="*/ 14 h 14"/>
                  <a:gd name="T2" fmla="*/ 10 w 10"/>
                  <a:gd name="T3" fmla="*/ 14 h 14"/>
                  <a:gd name="T4" fmla="*/ 1 w 10"/>
                  <a:gd name="T5" fmla="*/ 0 h 14"/>
                  <a:gd name="T6" fmla="*/ 1 w 10"/>
                  <a:gd name="T7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4">
                    <a:moveTo>
                      <a:pt x="1" y="14"/>
                    </a:moveTo>
                    <a:cubicBezTo>
                      <a:pt x="3" y="9"/>
                      <a:pt x="6" y="12"/>
                      <a:pt x="10" y="14"/>
                    </a:cubicBezTo>
                    <a:cubicBezTo>
                      <a:pt x="6" y="10"/>
                      <a:pt x="4" y="2"/>
                      <a:pt x="1" y="0"/>
                    </a:cubicBezTo>
                    <a:cubicBezTo>
                      <a:pt x="4" y="6"/>
                      <a:pt x="0" y="8"/>
                      <a:pt x="1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6" name="任意多边形: 形状 715">
                <a:extLst>
                  <a:ext uri="{FF2B5EF4-FFF2-40B4-BE49-F238E27FC236}">
                    <a16:creationId xmlns:a16="http://schemas.microsoft.com/office/drawing/2014/main" id="{629434C4-644C-457C-BBA8-C7092CAEF62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74" y="1824"/>
                <a:ext cx="12" cy="19"/>
              </a:xfrm>
              <a:custGeom>
                <a:avLst/>
                <a:gdLst>
                  <a:gd name="T0" fmla="*/ 1 w 6"/>
                  <a:gd name="T1" fmla="*/ 7 h 9"/>
                  <a:gd name="T2" fmla="*/ 5 w 6"/>
                  <a:gd name="T3" fmla="*/ 2 h 9"/>
                  <a:gd name="T4" fmla="*/ 1 w 6"/>
                  <a:gd name="T5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9">
                    <a:moveTo>
                      <a:pt x="1" y="7"/>
                    </a:moveTo>
                    <a:cubicBezTo>
                      <a:pt x="3" y="4"/>
                      <a:pt x="6" y="6"/>
                      <a:pt x="5" y="2"/>
                    </a:cubicBezTo>
                    <a:cubicBezTo>
                      <a:pt x="1" y="0"/>
                      <a:pt x="0" y="9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7" name="任意多边形: 形状 716">
                <a:extLst>
                  <a:ext uri="{FF2B5EF4-FFF2-40B4-BE49-F238E27FC236}">
                    <a16:creationId xmlns:a16="http://schemas.microsoft.com/office/drawing/2014/main" id="{B68E52D5-F648-4DBD-9AE2-713D07C0602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7" y="2075"/>
                <a:ext cx="17" cy="19"/>
              </a:xfrm>
              <a:custGeom>
                <a:avLst/>
                <a:gdLst>
                  <a:gd name="T0" fmla="*/ 3 w 8"/>
                  <a:gd name="T1" fmla="*/ 6 h 9"/>
                  <a:gd name="T2" fmla="*/ 4 w 8"/>
                  <a:gd name="T3" fmla="*/ 0 h 9"/>
                  <a:gd name="T4" fmla="*/ 3 w 8"/>
                  <a:gd name="T5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3" y="6"/>
                    </a:moveTo>
                    <a:cubicBezTo>
                      <a:pt x="0" y="2"/>
                      <a:pt x="8" y="4"/>
                      <a:pt x="4" y="0"/>
                    </a:cubicBezTo>
                    <a:cubicBezTo>
                      <a:pt x="1" y="1"/>
                      <a:pt x="1" y="9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8" name="任意多边形: 形状 717">
                <a:extLst>
                  <a:ext uri="{FF2B5EF4-FFF2-40B4-BE49-F238E27FC236}">
                    <a16:creationId xmlns:a16="http://schemas.microsoft.com/office/drawing/2014/main" id="{40C7C806-A0FB-4314-BA8B-A5A18E6217B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2062"/>
                <a:ext cx="18" cy="13"/>
              </a:xfrm>
              <a:custGeom>
                <a:avLst/>
                <a:gdLst>
                  <a:gd name="T0" fmla="*/ 0 w 9"/>
                  <a:gd name="T1" fmla="*/ 1 h 6"/>
                  <a:gd name="T2" fmla="*/ 5 w 9"/>
                  <a:gd name="T3" fmla="*/ 6 h 6"/>
                  <a:gd name="T4" fmla="*/ 8 w 9"/>
                  <a:gd name="T5" fmla="*/ 2 h 6"/>
                  <a:gd name="T6" fmla="*/ 0 w 9"/>
                  <a:gd name="T7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6">
                    <a:moveTo>
                      <a:pt x="0" y="1"/>
                    </a:moveTo>
                    <a:cubicBezTo>
                      <a:pt x="1" y="5"/>
                      <a:pt x="3" y="2"/>
                      <a:pt x="5" y="6"/>
                    </a:cubicBezTo>
                    <a:cubicBezTo>
                      <a:pt x="5" y="4"/>
                      <a:pt x="9" y="5"/>
                      <a:pt x="8" y="2"/>
                    </a:cubicBezTo>
                    <a:cubicBezTo>
                      <a:pt x="5" y="6"/>
                      <a:pt x="3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19" name="任意多边形: 形状 718">
                <a:extLst>
                  <a:ext uri="{FF2B5EF4-FFF2-40B4-BE49-F238E27FC236}">
                    <a16:creationId xmlns:a16="http://schemas.microsoft.com/office/drawing/2014/main" id="{F529B4A3-0E1C-427E-9FC4-2FBFEE90C7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13" y="1913"/>
                <a:ext cx="21" cy="25"/>
              </a:xfrm>
              <a:custGeom>
                <a:avLst/>
                <a:gdLst>
                  <a:gd name="T0" fmla="*/ 6 w 10"/>
                  <a:gd name="T1" fmla="*/ 0 h 12"/>
                  <a:gd name="T2" fmla="*/ 9 w 10"/>
                  <a:gd name="T3" fmla="*/ 5 h 12"/>
                  <a:gd name="T4" fmla="*/ 6 w 10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2">
                    <a:moveTo>
                      <a:pt x="6" y="0"/>
                    </a:moveTo>
                    <a:cubicBezTo>
                      <a:pt x="0" y="0"/>
                      <a:pt x="10" y="12"/>
                      <a:pt x="9" y="5"/>
                    </a:cubicBezTo>
                    <a:cubicBezTo>
                      <a:pt x="5" y="7"/>
                      <a:pt x="7" y="2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0" name="任意多边形: 形状 719">
                <a:extLst>
                  <a:ext uri="{FF2B5EF4-FFF2-40B4-BE49-F238E27FC236}">
                    <a16:creationId xmlns:a16="http://schemas.microsoft.com/office/drawing/2014/main" id="{76F1DAD6-16ED-4172-A765-2121D4E0643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99" y="1872"/>
                <a:ext cx="16" cy="14"/>
              </a:xfrm>
              <a:custGeom>
                <a:avLst/>
                <a:gdLst>
                  <a:gd name="T0" fmla="*/ 3 w 8"/>
                  <a:gd name="T1" fmla="*/ 1 h 7"/>
                  <a:gd name="T2" fmla="*/ 7 w 8"/>
                  <a:gd name="T3" fmla="*/ 5 h 7"/>
                  <a:gd name="T4" fmla="*/ 5 w 8"/>
                  <a:gd name="T5" fmla="*/ 3 h 7"/>
                  <a:gd name="T6" fmla="*/ 8 w 8"/>
                  <a:gd name="T7" fmla="*/ 0 h 7"/>
                  <a:gd name="T8" fmla="*/ 3 w 8"/>
                  <a:gd name="T9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7">
                    <a:moveTo>
                      <a:pt x="3" y="1"/>
                    </a:moveTo>
                    <a:cubicBezTo>
                      <a:pt x="6" y="0"/>
                      <a:pt x="4" y="7"/>
                      <a:pt x="7" y="5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6" y="2"/>
                      <a:pt x="8" y="2"/>
                      <a:pt x="8" y="0"/>
                    </a:cubicBezTo>
                    <a:cubicBezTo>
                      <a:pt x="7" y="0"/>
                      <a:pt x="0" y="0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1" name="任意多边形: 形状 720">
                <a:extLst>
                  <a:ext uri="{FF2B5EF4-FFF2-40B4-BE49-F238E27FC236}">
                    <a16:creationId xmlns:a16="http://schemas.microsoft.com/office/drawing/2014/main" id="{952A6830-AFCF-4C6D-84EA-9E04EBC9D9F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928" y="1567"/>
                <a:ext cx="25" cy="8"/>
              </a:xfrm>
              <a:custGeom>
                <a:avLst/>
                <a:gdLst>
                  <a:gd name="T0" fmla="*/ 3 w 12"/>
                  <a:gd name="T1" fmla="*/ 3 h 4"/>
                  <a:gd name="T2" fmla="*/ 6 w 12"/>
                  <a:gd name="T3" fmla="*/ 4 h 4"/>
                  <a:gd name="T4" fmla="*/ 11 w 12"/>
                  <a:gd name="T5" fmla="*/ 1 h 4"/>
                  <a:gd name="T6" fmla="*/ 3 w 12"/>
                  <a:gd name="T7" fmla="*/ 3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4">
                    <a:moveTo>
                      <a:pt x="3" y="3"/>
                    </a:moveTo>
                    <a:cubicBezTo>
                      <a:pt x="4" y="3"/>
                      <a:pt x="5" y="3"/>
                      <a:pt x="6" y="4"/>
                    </a:cubicBezTo>
                    <a:cubicBezTo>
                      <a:pt x="11" y="1"/>
                      <a:pt x="11" y="1"/>
                      <a:pt x="11" y="1"/>
                    </a:cubicBezTo>
                    <a:cubicBezTo>
                      <a:pt x="12" y="0"/>
                      <a:pt x="0" y="3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2" name="任意多边形: 形状 721">
                <a:extLst>
                  <a:ext uri="{FF2B5EF4-FFF2-40B4-BE49-F238E27FC236}">
                    <a16:creationId xmlns:a16="http://schemas.microsoft.com/office/drawing/2014/main" id="{BB988E65-4DFD-452F-97CF-E96D016558A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28" y="1876"/>
                <a:ext cx="23" cy="18"/>
              </a:xfrm>
              <a:custGeom>
                <a:avLst/>
                <a:gdLst>
                  <a:gd name="T0" fmla="*/ 0 w 11"/>
                  <a:gd name="T1" fmla="*/ 3 h 9"/>
                  <a:gd name="T2" fmla="*/ 10 w 11"/>
                  <a:gd name="T3" fmla="*/ 9 h 9"/>
                  <a:gd name="T4" fmla="*/ 9 w 11"/>
                  <a:gd name="T5" fmla="*/ 4 h 9"/>
                  <a:gd name="T6" fmla="*/ 5 w 11"/>
                  <a:gd name="T7" fmla="*/ 2 h 9"/>
                  <a:gd name="T8" fmla="*/ 5 w 11"/>
                  <a:gd name="T9" fmla="*/ 0 h 9"/>
                  <a:gd name="T10" fmla="*/ 0 w 11"/>
                  <a:gd name="T11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">
                    <a:moveTo>
                      <a:pt x="0" y="3"/>
                    </a:moveTo>
                    <a:cubicBezTo>
                      <a:pt x="4" y="6"/>
                      <a:pt x="7" y="4"/>
                      <a:pt x="10" y="9"/>
                    </a:cubicBezTo>
                    <a:cubicBezTo>
                      <a:pt x="9" y="7"/>
                      <a:pt x="11" y="7"/>
                      <a:pt x="9" y="4"/>
                    </a:cubicBezTo>
                    <a:cubicBezTo>
                      <a:pt x="8" y="5"/>
                      <a:pt x="7" y="4"/>
                      <a:pt x="5" y="2"/>
                    </a:cubicBezTo>
                    <a:cubicBezTo>
                      <a:pt x="6" y="1"/>
                      <a:pt x="6" y="0"/>
                      <a:pt x="5" y="0"/>
                    </a:cubicBezTo>
                    <a:cubicBezTo>
                      <a:pt x="7" y="5"/>
                      <a:pt x="2" y="2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3" name="任意多边形: 形状 722">
                <a:extLst>
                  <a:ext uri="{FF2B5EF4-FFF2-40B4-BE49-F238E27FC236}">
                    <a16:creationId xmlns:a16="http://schemas.microsoft.com/office/drawing/2014/main" id="{5636F3D6-6CAA-45C0-BA06-544146E1176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4" y="1888"/>
                <a:ext cx="2" cy="2"/>
              </a:xfrm>
              <a:custGeom>
                <a:avLst/>
                <a:gdLst>
                  <a:gd name="T0" fmla="*/ 1 w 1"/>
                  <a:gd name="T1" fmla="*/ 0 h 1"/>
                  <a:gd name="T2" fmla="*/ 0 w 1"/>
                  <a:gd name="T3" fmla="*/ 0 h 1"/>
                  <a:gd name="T4" fmla="*/ 0 w 1"/>
                  <a:gd name="T5" fmla="*/ 1 h 1"/>
                  <a:gd name="T6" fmla="*/ 1 w 1"/>
                  <a:gd name="T7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4" name="任意多边形: 形状 723">
                <a:extLst>
                  <a:ext uri="{FF2B5EF4-FFF2-40B4-BE49-F238E27FC236}">
                    <a16:creationId xmlns:a16="http://schemas.microsoft.com/office/drawing/2014/main" id="{77B6728A-B590-467D-B14A-DC9022A9C57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5" y="1865"/>
                <a:ext cx="23" cy="36"/>
              </a:xfrm>
              <a:custGeom>
                <a:avLst/>
                <a:gdLst>
                  <a:gd name="T0" fmla="*/ 1 w 11"/>
                  <a:gd name="T1" fmla="*/ 4 h 17"/>
                  <a:gd name="T2" fmla="*/ 0 w 11"/>
                  <a:gd name="T3" fmla="*/ 17 h 17"/>
                  <a:gd name="T4" fmla="*/ 9 w 11"/>
                  <a:gd name="T5" fmla="*/ 11 h 17"/>
                  <a:gd name="T6" fmla="*/ 9 w 11"/>
                  <a:gd name="T7" fmla="*/ 6 h 17"/>
                  <a:gd name="T8" fmla="*/ 3 w 11"/>
                  <a:gd name="T9" fmla="*/ 8 h 17"/>
                  <a:gd name="T10" fmla="*/ 9 w 11"/>
                  <a:gd name="T11" fmla="*/ 1 h 17"/>
                  <a:gd name="T12" fmla="*/ 1 w 11"/>
                  <a:gd name="T13" fmla="*/ 4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1" h="17">
                    <a:moveTo>
                      <a:pt x="1" y="4"/>
                    </a:moveTo>
                    <a:cubicBezTo>
                      <a:pt x="3" y="11"/>
                      <a:pt x="0" y="10"/>
                      <a:pt x="0" y="17"/>
                    </a:cubicBezTo>
                    <a:cubicBezTo>
                      <a:pt x="3" y="12"/>
                      <a:pt x="5" y="12"/>
                      <a:pt x="9" y="11"/>
                    </a:cubicBezTo>
                    <a:cubicBezTo>
                      <a:pt x="8" y="9"/>
                      <a:pt x="10" y="8"/>
                      <a:pt x="9" y="6"/>
                    </a:cubicBezTo>
                    <a:cubicBezTo>
                      <a:pt x="5" y="6"/>
                      <a:pt x="6" y="12"/>
                      <a:pt x="3" y="8"/>
                    </a:cubicBezTo>
                    <a:cubicBezTo>
                      <a:pt x="3" y="3"/>
                      <a:pt x="11" y="6"/>
                      <a:pt x="9" y="1"/>
                    </a:cubicBezTo>
                    <a:cubicBezTo>
                      <a:pt x="4" y="0"/>
                      <a:pt x="6" y="1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5" name="任意多边形: 形状 724">
                <a:extLst>
                  <a:ext uri="{FF2B5EF4-FFF2-40B4-BE49-F238E27FC236}">
                    <a16:creationId xmlns:a16="http://schemas.microsoft.com/office/drawing/2014/main" id="{65E178C3-8955-4A26-9F14-D7B0AB046A5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2" y="1882"/>
                <a:ext cx="8" cy="6"/>
              </a:xfrm>
              <a:custGeom>
                <a:avLst/>
                <a:gdLst>
                  <a:gd name="T0" fmla="*/ 3 w 4"/>
                  <a:gd name="T1" fmla="*/ 0 h 3"/>
                  <a:gd name="T2" fmla="*/ 2 w 4"/>
                  <a:gd name="T3" fmla="*/ 3 h 3"/>
                  <a:gd name="T4" fmla="*/ 4 w 4"/>
                  <a:gd name="T5" fmla="*/ 3 h 3"/>
                  <a:gd name="T6" fmla="*/ 3 w 4"/>
                  <a:gd name="T7" fmla="*/ 0 h 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" h="3">
                    <a:moveTo>
                      <a:pt x="3" y="0"/>
                    </a:moveTo>
                    <a:cubicBezTo>
                      <a:pt x="0" y="0"/>
                      <a:pt x="3" y="3"/>
                      <a:pt x="2" y="3"/>
                    </a:cubicBezTo>
                    <a:cubicBezTo>
                      <a:pt x="2" y="3"/>
                      <a:pt x="3" y="3"/>
                      <a:pt x="4" y="3"/>
                    </a:cubicBezTo>
                    <a:cubicBezTo>
                      <a:pt x="3" y="2"/>
                      <a:pt x="3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6" name="任意多边形: 形状 725">
                <a:extLst>
                  <a:ext uri="{FF2B5EF4-FFF2-40B4-BE49-F238E27FC236}">
                    <a16:creationId xmlns:a16="http://schemas.microsoft.com/office/drawing/2014/main" id="{634081DE-52E4-486A-9DCE-745F337973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3" y="1813"/>
                <a:ext cx="16" cy="27"/>
              </a:xfrm>
              <a:custGeom>
                <a:avLst/>
                <a:gdLst>
                  <a:gd name="T0" fmla="*/ 1 w 8"/>
                  <a:gd name="T1" fmla="*/ 13 h 13"/>
                  <a:gd name="T2" fmla="*/ 6 w 8"/>
                  <a:gd name="T3" fmla="*/ 0 h 13"/>
                  <a:gd name="T4" fmla="*/ 1 w 8"/>
                  <a:gd name="T5" fmla="*/ 1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13">
                    <a:moveTo>
                      <a:pt x="1" y="13"/>
                    </a:moveTo>
                    <a:cubicBezTo>
                      <a:pt x="1" y="7"/>
                      <a:pt x="8" y="6"/>
                      <a:pt x="6" y="0"/>
                    </a:cubicBezTo>
                    <a:cubicBezTo>
                      <a:pt x="4" y="4"/>
                      <a:pt x="0" y="8"/>
                      <a:pt x="1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7" name="任意多边形: 形状 726">
                <a:extLst>
                  <a:ext uri="{FF2B5EF4-FFF2-40B4-BE49-F238E27FC236}">
                    <a16:creationId xmlns:a16="http://schemas.microsoft.com/office/drawing/2014/main" id="{F9F37941-0428-44B2-A26A-AB82D4B87C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0" y="1836"/>
                <a:ext cx="48" cy="46"/>
              </a:xfrm>
              <a:custGeom>
                <a:avLst/>
                <a:gdLst>
                  <a:gd name="T0" fmla="*/ 21 w 23"/>
                  <a:gd name="T1" fmla="*/ 3 h 22"/>
                  <a:gd name="T2" fmla="*/ 16 w 23"/>
                  <a:gd name="T3" fmla="*/ 1 h 22"/>
                  <a:gd name="T4" fmla="*/ 15 w 23"/>
                  <a:gd name="T5" fmla="*/ 7 h 22"/>
                  <a:gd name="T6" fmla="*/ 13 w 23"/>
                  <a:gd name="T7" fmla="*/ 5 h 22"/>
                  <a:gd name="T8" fmla="*/ 14 w 23"/>
                  <a:gd name="T9" fmla="*/ 2 h 22"/>
                  <a:gd name="T10" fmla="*/ 12 w 23"/>
                  <a:gd name="T11" fmla="*/ 7 h 22"/>
                  <a:gd name="T12" fmla="*/ 0 w 23"/>
                  <a:gd name="T13" fmla="*/ 15 h 22"/>
                  <a:gd name="T14" fmla="*/ 0 w 23"/>
                  <a:gd name="T15" fmla="*/ 22 h 22"/>
                  <a:gd name="T16" fmla="*/ 9 w 23"/>
                  <a:gd name="T17" fmla="*/ 16 h 22"/>
                  <a:gd name="T18" fmla="*/ 10 w 23"/>
                  <a:gd name="T19" fmla="*/ 22 h 22"/>
                  <a:gd name="T20" fmla="*/ 11 w 23"/>
                  <a:gd name="T21" fmla="*/ 16 h 22"/>
                  <a:gd name="T22" fmla="*/ 19 w 23"/>
                  <a:gd name="T23" fmla="*/ 15 h 22"/>
                  <a:gd name="T24" fmla="*/ 17 w 23"/>
                  <a:gd name="T25" fmla="*/ 10 h 22"/>
                  <a:gd name="T26" fmla="*/ 22 w 23"/>
                  <a:gd name="T27" fmla="*/ 12 h 22"/>
                  <a:gd name="T28" fmla="*/ 21 w 23"/>
                  <a:gd name="T29" fmla="*/ 3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3" h="22">
                    <a:moveTo>
                      <a:pt x="21" y="3"/>
                    </a:moveTo>
                    <a:cubicBezTo>
                      <a:pt x="20" y="7"/>
                      <a:pt x="18" y="1"/>
                      <a:pt x="16" y="1"/>
                    </a:cubicBezTo>
                    <a:cubicBezTo>
                      <a:pt x="18" y="6"/>
                      <a:pt x="13" y="3"/>
                      <a:pt x="15" y="7"/>
                    </a:cubicBezTo>
                    <a:cubicBezTo>
                      <a:pt x="14" y="6"/>
                      <a:pt x="13" y="6"/>
                      <a:pt x="13" y="5"/>
                    </a:cubicBezTo>
                    <a:cubicBezTo>
                      <a:pt x="13" y="4"/>
                      <a:pt x="14" y="3"/>
                      <a:pt x="14" y="2"/>
                    </a:cubicBezTo>
                    <a:cubicBezTo>
                      <a:pt x="10" y="0"/>
                      <a:pt x="12" y="5"/>
                      <a:pt x="12" y="7"/>
                    </a:cubicBezTo>
                    <a:cubicBezTo>
                      <a:pt x="5" y="11"/>
                      <a:pt x="2" y="9"/>
                      <a:pt x="0" y="15"/>
                    </a:cubicBezTo>
                    <a:cubicBezTo>
                      <a:pt x="1" y="15"/>
                      <a:pt x="0" y="20"/>
                      <a:pt x="0" y="22"/>
                    </a:cubicBezTo>
                    <a:cubicBezTo>
                      <a:pt x="5" y="21"/>
                      <a:pt x="3" y="12"/>
                      <a:pt x="9" y="16"/>
                    </a:cubicBezTo>
                    <a:cubicBezTo>
                      <a:pt x="8" y="19"/>
                      <a:pt x="9" y="21"/>
                      <a:pt x="10" y="22"/>
                    </a:cubicBezTo>
                    <a:cubicBezTo>
                      <a:pt x="11" y="20"/>
                      <a:pt x="11" y="18"/>
                      <a:pt x="11" y="16"/>
                    </a:cubicBezTo>
                    <a:cubicBezTo>
                      <a:pt x="14" y="13"/>
                      <a:pt x="16" y="15"/>
                      <a:pt x="19" y="15"/>
                    </a:cubicBezTo>
                    <a:cubicBezTo>
                      <a:pt x="18" y="14"/>
                      <a:pt x="16" y="11"/>
                      <a:pt x="17" y="10"/>
                    </a:cubicBezTo>
                    <a:cubicBezTo>
                      <a:pt x="18" y="10"/>
                      <a:pt x="22" y="17"/>
                      <a:pt x="22" y="12"/>
                    </a:cubicBezTo>
                    <a:cubicBezTo>
                      <a:pt x="19" y="11"/>
                      <a:pt x="23" y="6"/>
                      <a:pt x="2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8" name="任意多边形: 形状 727">
                <a:extLst>
                  <a:ext uri="{FF2B5EF4-FFF2-40B4-BE49-F238E27FC236}">
                    <a16:creationId xmlns:a16="http://schemas.microsoft.com/office/drawing/2014/main" id="{DD397ACD-6F88-46E6-861C-50508C0130F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98" y="2036"/>
                <a:ext cx="21" cy="12"/>
              </a:xfrm>
              <a:custGeom>
                <a:avLst/>
                <a:gdLst>
                  <a:gd name="T0" fmla="*/ 1 w 10"/>
                  <a:gd name="T1" fmla="*/ 6 h 6"/>
                  <a:gd name="T2" fmla="*/ 10 w 10"/>
                  <a:gd name="T3" fmla="*/ 4 h 6"/>
                  <a:gd name="T4" fmla="*/ 2 w 10"/>
                  <a:gd name="T5" fmla="*/ 1 h 6"/>
                  <a:gd name="T6" fmla="*/ 1 w 10"/>
                  <a:gd name="T7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6">
                    <a:moveTo>
                      <a:pt x="1" y="6"/>
                    </a:moveTo>
                    <a:cubicBezTo>
                      <a:pt x="4" y="5"/>
                      <a:pt x="5" y="1"/>
                      <a:pt x="10" y="4"/>
                    </a:cubicBezTo>
                    <a:cubicBezTo>
                      <a:pt x="8" y="0"/>
                      <a:pt x="5" y="3"/>
                      <a:pt x="2" y="1"/>
                    </a:cubicBezTo>
                    <a:cubicBezTo>
                      <a:pt x="4" y="3"/>
                      <a:pt x="0" y="4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29" name="任意多边形: 形状 728">
                <a:extLst>
                  <a:ext uri="{FF2B5EF4-FFF2-40B4-BE49-F238E27FC236}">
                    <a16:creationId xmlns:a16="http://schemas.microsoft.com/office/drawing/2014/main" id="{04863981-244C-4FB7-809E-EFA517D1ECB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1" y="1803"/>
                <a:ext cx="11" cy="15"/>
              </a:xfrm>
              <a:custGeom>
                <a:avLst/>
                <a:gdLst>
                  <a:gd name="T0" fmla="*/ 0 w 5"/>
                  <a:gd name="T1" fmla="*/ 3 h 7"/>
                  <a:gd name="T2" fmla="*/ 1 w 5"/>
                  <a:gd name="T3" fmla="*/ 7 h 7"/>
                  <a:gd name="T4" fmla="*/ 4 w 5"/>
                  <a:gd name="T5" fmla="*/ 0 h 7"/>
                  <a:gd name="T6" fmla="*/ 0 w 5"/>
                  <a:gd name="T7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7">
                    <a:moveTo>
                      <a:pt x="0" y="3"/>
                    </a:moveTo>
                    <a:cubicBezTo>
                      <a:pt x="1" y="5"/>
                      <a:pt x="1" y="6"/>
                      <a:pt x="1" y="7"/>
                    </a:cubicBezTo>
                    <a:cubicBezTo>
                      <a:pt x="4" y="6"/>
                      <a:pt x="5" y="4"/>
                      <a:pt x="4" y="0"/>
                    </a:cubicBezTo>
                    <a:cubicBezTo>
                      <a:pt x="3" y="3"/>
                      <a:pt x="3" y="5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0" name="任意多边形: 形状 729">
                <a:extLst>
                  <a:ext uri="{FF2B5EF4-FFF2-40B4-BE49-F238E27FC236}">
                    <a16:creationId xmlns:a16="http://schemas.microsoft.com/office/drawing/2014/main" id="{C7B92FB4-5ED8-40AC-9FEA-AEFDA2631C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57" y="1782"/>
                <a:ext cx="18" cy="17"/>
              </a:xfrm>
              <a:custGeom>
                <a:avLst/>
                <a:gdLst>
                  <a:gd name="T0" fmla="*/ 1 w 9"/>
                  <a:gd name="T1" fmla="*/ 4 h 8"/>
                  <a:gd name="T2" fmla="*/ 4 w 9"/>
                  <a:gd name="T3" fmla="*/ 7 h 8"/>
                  <a:gd name="T4" fmla="*/ 9 w 9"/>
                  <a:gd name="T5" fmla="*/ 7 h 8"/>
                  <a:gd name="T6" fmla="*/ 9 w 9"/>
                  <a:gd name="T7" fmla="*/ 3 h 8"/>
                  <a:gd name="T8" fmla="*/ 6 w 9"/>
                  <a:gd name="T9" fmla="*/ 6 h 8"/>
                  <a:gd name="T10" fmla="*/ 1 w 9"/>
                  <a:gd name="T11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8">
                    <a:moveTo>
                      <a:pt x="1" y="4"/>
                    </a:moveTo>
                    <a:cubicBezTo>
                      <a:pt x="2" y="4"/>
                      <a:pt x="3" y="5"/>
                      <a:pt x="4" y="7"/>
                    </a:cubicBezTo>
                    <a:cubicBezTo>
                      <a:pt x="6" y="8"/>
                      <a:pt x="7" y="6"/>
                      <a:pt x="9" y="7"/>
                    </a:cubicBezTo>
                    <a:cubicBezTo>
                      <a:pt x="8" y="5"/>
                      <a:pt x="9" y="4"/>
                      <a:pt x="9" y="3"/>
                    </a:cubicBezTo>
                    <a:cubicBezTo>
                      <a:pt x="6" y="1"/>
                      <a:pt x="7" y="5"/>
                      <a:pt x="6" y="6"/>
                    </a:cubicBezTo>
                    <a:cubicBezTo>
                      <a:pt x="4" y="6"/>
                      <a:pt x="0" y="0"/>
                      <a:pt x="1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1" name="任意多边形: 形状 730">
                <a:extLst>
                  <a:ext uri="{FF2B5EF4-FFF2-40B4-BE49-F238E27FC236}">
                    <a16:creationId xmlns:a16="http://schemas.microsoft.com/office/drawing/2014/main" id="{217481F5-F5F0-4B80-9EBE-818CD3291A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46" y="2067"/>
                <a:ext cx="21" cy="25"/>
              </a:xfrm>
              <a:custGeom>
                <a:avLst/>
                <a:gdLst>
                  <a:gd name="T0" fmla="*/ 0 w 10"/>
                  <a:gd name="T1" fmla="*/ 5 h 12"/>
                  <a:gd name="T2" fmla="*/ 1 w 10"/>
                  <a:gd name="T3" fmla="*/ 12 h 12"/>
                  <a:gd name="T4" fmla="*/ 10 w 10"/>
                  <a:gd name="T5" fmla="*/ 8 h 12"/>
                  <a:gd name="T6" fmla="*/ 0 w 10"/>
                  <a:gd name="T7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5"/>
                    </a:moveTo>
                    <a:cubicBezTo>
                      <a:pt x="4" y="6"/>
                      <a:pt x="0" y="10"/>
                      <a:pt x="1" y="12"/>
                    </a:cubicBezTo>
                    <a:cubicBezTo>
                      <a:pt x="5" y="11"/>
                      <a:pt x="7" y="7"/>
                      <a:pt x="10" y="8"/>
                    </a:cubicBezTo>
                    <a:cubicBezTo>
                      <a:pt x="7" y="7"/>
                      <a:pt x="1" y="0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2" name="任意多边形: 形状 731">
                <a:extLst>
                  <a:ext uri="{FF2B5EF4-FFF2-40B4-BE49-F238E27FC236}">
                    <a16:creationId xmlns:a16="http://schemas.microsoft.com/office/drawing/2014/main" id="{1CAA3FBF-0613-4813-A87E-00DA2A0B8BA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9" y="1957"/>
                <a:ext cx="11" cy="10"/>
              </a:xfrm>
              <a:custGeom>
                <a:avLst/>
                <a:gdLst>
                  <a:gd name="T0" fmla="*/ 5 w 5"/>
                  <a:gd name="T1" fmla="*/ 3 h 5"/>
                  <a:gd name="T2" fmla="*/ 3 w 5"/>
                  <a:gd name="T3" fmla="*/ 0 h 5"/>
                  <a:gd name="T4" fmla="*/ 0 w 5"/>
                  <a:gd name="T5" fmla="*/ 5 h 5"/>
                  <a:gd name="T6" fmla="*/ 3 w 5"/>
                  <a:gd name="T7" fmla="*/ 4 h 5"/>
                  <a:gd name="T8" fmla="*/ 3 w 5"/>
                  <a:gd name="T9" fmla="*/ 1 h 5"/>
                  <a:gd name="T10" fmla="*/ 5 w 5"/>
                  <a:gd name="T11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" h="5">
                    <a:moveTo>
                      <a:pt x="5" y="3"/>
                    </a:moveTo>
                    <a:cubicBezTo>
                      <a:pt x="3" y="0"/>
                      <a:pt x="3" y="0"/>
                      <a:pt x="3" y="0"/>
                    </a:cubicBezTo>
                    <a:cubicBezTo>
                      <a:pt x="2" y="2"/>
                      <a:pt x="0" y="2"/>
                      <a:pt x="0" y="5"/>
                    </a:cubicBezTo>
                    <a:cubicBezTo>
                      <a:pt x="1" y="4"/>
                      <a:pt x="2" y="5"/>
                      <a:pt x="3" y="4"/>
                    </a:cubicBezTo>
                    <a:cubicBezTo>
                      <a:pt x="3" y="3"/>
                      <a:pt x="2" y="2"/>
                      <a:pt x="3" y="1"/>
                    </a:cubicBezTo>
                    <a:cubicBezTo>
                      <a:pt x="4" y="2"/>
                      <a:pt x="4" y="4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3" name="任意多边形: 形状 732">
                <a:extLst>
                  <a:ext uri="{FF2B5EF4-FFF2-40B4-BE49-F238E27FC236}">
                    <a16:creationId xmlns:a16="http://schemas.microsoft.com/office/drawing/2014/main" id="{6A5D282E-BA23-442D-B917-55CE5A5BBC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86" y="1801"/>
                <a:ext cx="19" cy="10"/>
              </a:xfrm>
              <a:custGeom>
                <a:avLst/>
                <a:gdLst>
                  <a:gd name="T0" fmla="*/ 4 w 9"/>
                  <a:gd name="T1" fmla="*/ 0 h 5"/>
                  <a:gd name="T2" fmla="*/ 3 w 9"/>
                  <a:gd name="T3" fmla="*/ 5 h 5"/>
                  <a:gd name="T4" fmla="*/ 5 w 9"/>
                  <a:gd name="T5" fmla="*/ 1 h 5"/>
                  <a:gd name="T6" fmla="*/ 6 w 9"/>
                  <a:gd name="T7" fmla="*/ 5 h 5"/>
                  <a:gd name="T8" fmla="*/ 4 w 9"/>
                  <a:gd name="T9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" h="5">
                    <a:moveTo>
                      <a:pt x="4" y="0"/>
                    </a:moveTo>
                    <a:cubicBezTo>
                      <a:pt x="2" y="0"/>
                      <a:pt x="0" y="5"/>
                      <a:pt x="3" y="5"/>
                    </a:cubicBezTo>
                    <a:cubicBezTo>
                      <a:pt x="2" y="3"/>
                      <a:pt x="3" y="2"/>
                      <a:pt x="5" y="1"/>
                    </a:cubicBezTo>
                    <a:cubicBezTo>
                      <a:pt x="6" y="3"/>
                      <a:pt x="6" y="4"/>
                      <a:pt x="6" y="5"/>
                    </a:cubicBezTo>
                    <a:cubicBezTo>
                      <a:pt x="9" y="3"/>
                      <a:pt x="6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4" name="任意多边形: 形状 733">
                <a:extLst>
                  <a:ext uri="{FF2B5EF4-FFF2-40B4-BE49-F238E27FC236}">
                    <a16:creationId xmlns:a16="http://schemas.microsoft.com/office/drawing/2014/main" id="{31217D13-8353-4515-B734-9F4B701C170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8" y="1677"/>
                <a:ext cx="23" cy="18"/>
              </a:xfrm>
              <a:custGeom>
                <a:avLst/>
                <a:gdLst>
                  <a:gd name="T0" fmla="*/ 2 w 11"/>
                  <a:gd name="T1" fmla="*/ 9 h 9"/>
                  <a:gd name="T2" fmla="*/ 11 w 11"/>
                  <a:gd name="T3" fmla="*/ 0 h 9"/>
                  <a:gd name="T4" fmla="*/ 2 w 11"/>
                  <a:gd name="T5" fmla="*/ 4 h 9"/>
                  <a:gd name="T6" fmla="*/ 2 w 11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9">
                    <a:moveTo>
                      <a:pt x="2" y="9"/>
                    </a:moveTo>
                    <a:cubicBezTo>
                      <a:pt x="4" y="6"/>
                      <a:pt x="11" y="5"/>
                      <a:pt x="11" y="0"/>
                    </a:cubicBezTo>
                    <a:cubicBezTo>
                      <a:pt x="8" y="3"/>
                      <a:pt x="6" y="4"/>
                      <a:pt x="2" y="4"/>
                    </a:cubicBezTo>
                    <a:cubicBezTo>
                      <a:pt x="5" y="7"/>
                      <a:pt x="0" y="6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5" name="任意多边形: 形状 734">
                <a:extLst>
                  <a:ext uri="{FF2B5EF4-FFF2-40B4-BE49-F238E27FC236}">
                    <a16:creationId xmlns:a16="http://schemas.microsoft.com/office/drawing/2014/main" id="{AA1AA8CE-88B4-4CD5-88AD-13F559EEED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07" y="1774"/>
                <a:ext cx="39" cy="54"/>
              </a:xfrm>
              <a:custGeom>
                <a:avLst/>
                <a:gdLst>
                  <a:gd name="T0" fmla="*/ 14 w 19"/>
                  <a:gd name="T1" fmla="*/ 7 h 26"/>
                  <a:gd name="T2" fmla="*/ 10 w 19"/>
                  <a:gd name="T3" fmla="*/ 6 h 26"/>
                  <a:gd name="T4" fmla="*/ 13 w 19"/>
                  <a:gd name="T5" fmla="*/ 0 h 26"/>
                  <a:gd name="T6" fmla="*/ 0 w 19"/>
                  <a:gd name="T7" fmla="*/ 11 h 26"/>
                  <a:gd name="T8" fmla="*/ 2 w 19"/>
                  <a:gd name="T9" fmla="*/ 17 h 26"/>
                  <a:gd name="T10" fmla="*/ 11 w 19"/>
                  <a:gd name="T11" fmla="*/ 13 h 26"/>
                  <a:gd name="T12" fmla="*/ 16 w 19"/>
                  <a:gd name="T13" fmla="*/ 24 h 26"/>
                  <a:gd name="T14" fmla="*/ 14 w 19"/>
                  <a:gd name="T15" fmla="*/ 22 h 26"/>
                  <a:gd name="T16" fmla="*/ 17 w 19"/>
                  <a:gd name="T17" fmla="*/ 26 h 26"/>
                  <a:gd name="T18" fmla="*/ 19 w 19"/>
                  <a:gd name="T19" fmla="*/ 22 h 26"/>
                  <a:gd name="T20" fmla="*/ 14 w 19"/>
                  <a:gd name="T21" fmla="*/ 7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" h="26">
                    <a:moveTo>
                      <a:pt x="14" y="7"/>
                    </a:moveTo>
                    <a:cubicBezTo>
                      <a:pt x="13" y="6"/>
                      <a:pt x="11" y="8"/>
                      <a:pt x="10" y="6"/>
                    </a:cubicBezTo>
                    <a:cubicBezTo>
                      <a:pt x="10" y="4"/>
                      <a:pt x="16" y="5"/>
                      <a:pt x="13" y="0"/>
                    </a:cubicBezTo>
                    <a:cubicBezTo>
                      <a:pt x="8" y="7"/>
                      <a:pt x="1" y="6"/>
                      <a:pt x="0" y="11"/>
                    </a:cubicBezTo>
                    <a:cubicBezTo>
                      <a:pt x="1" y="10"/>
                      <a:pt x="2" y="16"/>
                      <a:pt x="2" y="17"/>
                    </a:cubicBezTo>
                    <a:cubicBezTo>
                      <a:pt x="6" y="15"/>
                      <a:pt x="11" y="19"/>
                      <a:pt x="11" y="13"/>
                    </a:cubicBezTo>
                    <a:cubicBezTo>
                      <a:pt x="14" y="17"/>
                      <a:pt x="19" y="20"/>
                      <a:pt x="16" y="24"/>
                    </a:cubicBezTo>
                    <a:cubicBezTo>
                      <a:pt x="15" y="23"/>
                      <a:pt x="15" y="22"/>
                      <a:pt x="14" y="22"/>
                    </a:cubicBezTo>
                    <a:cubicBezTo>
                      <a:pt x="15" y="24"/>
                      <a:pt x="16" y="26"/>
                      <a:pt x="17" y="26"/>
                    </a:cubicBezTo>
                    <a:cubicBezTo>
                      <a:pt x="16" y="24"/>
                      <a:pt x="17" y="23"/>
                      <a:pt x="19" y="22"/>
                    </a:cubicBezTo>
                    <a:cubicBezTo>
                      <a:pt x="16" y="14"/>
                      <a:pt x="17" y="14"/>
                      <a:pt x="14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6" name="任意多边形: 形状 735">
                <a:extLst>
                  <a:ext uri="{FF2B5EF4-FFF2-40B4-BE49-F238E27FC236}">
                    <a16:creationId xmlns:a16="http://schemas.microsoft.com/office/drawing/2014/main" id="{6A98FF69-D03D-4CF3-B7DD-94C89D89299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6" y="1805"/>
                <a:ext cx="52" cy="56"/>
              </a:xfrm>
              <a:custGeom>
                <a:avLst/>
                <a:gdLst>
                  <a:gd name="T0" fmla="*/ 25 w 25"/>
                  <a:gd name="T1" fmla="*/ 7 h 27"/>
                  <a:gd name="T2" fmla="*/ 22 w 25"/>
                  <a:gd name="T3" fmla="*/ 6 h 27"/>
                  <a:gd name="T4" fmla="*/ 17 w 25"/>
                  <a:gd name="T5" fmla="*/ 6 h 27"/>
                  <a:gd name="T6" fmla="*/ 14 w 25"/>
                  <a:gd name="T7" fmla="*/ 0 h 27"/>
                  <a:gd name="T8" fmla="*/ 11 w 25"/>
                  <a:gd name="T9" fmla="*/ 3 h 27"/>
                  <a:gd name="T10" fmla="*/ 13 w 25"/>
                  <a:gd name="T11" fmla="*/ 8 h 27"/>
                  <a:gd name="T12" fmla="*/ 17 w 25"/>
                  <a:gd name="T13" fmla="*/ 9 h 27"/>
                  <a:gd name="T14" fmla="*/ 5 w 25"/>
                  <a:gd name="T15" fmla="*/ 8 h 27"/>
                  <a:gd name="T16" fmla="*/ 0 w 25"/>
                  <a:gd name="T17" fmla="*/ 14 h 27"/>
                  <a:gd name="T18" fmla="*/ 2 w 25"/>
                  <a:gd name="T19" fmla="*/ 19 h 27"/>
                  <a:gd name="T20" fmla="*/ 14 w 25"/>
                  <a:gd name="T21" fmla="*/ 27 h 27"/>
                  <a:gd name="T22" fmla="*/ 8 w 25"/>
                  <a:gd name="T23" fmla="*/ 19 h 27"/>
                  <a:gd name="T24" fmla="*/ 17 w 25"/>
                  <a:gd name="T25" fmla="*/ 12 h 27"/>
                  <a:gd name="T26" fmla="*/ 25 w 25"/>
                  <a:gd name="T27" fmla="*/ 11 h 27"/>
                  <a:gd name="T28" fmla="*/ 25 w 25"/>
                  <a:gd name="T29" fmla="*/ 7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5" h="27">
                    <a:moveTo>
                      <a:pt x="25" y="7"/>
                    </a:moveTo>
                    <a:cubicBezTo>
                      <a:pt x="24" y="8"/>
                      <a:pt x="23" y="8"/>
                      <a:pt x="22" y="6"/>
                    </a:cubicBezTo>
                    <a:cubicBezTo>
                      <a:pt x="20" y="8"/>
                      <a:pt x="19" y="10"/>
                      <a:pt x="17" y="6"/>
                    </a:cubicBezTo>
                    <a:cubicBezTo>
                      <a:pt x="21" y="6"/>
                      <a:pt x="15" y="5"/>
                      <a:pt x="14" y="0"/>
                    </a:cubicBezTo>
                    <a:cubicBezTo>
                      <a:pt x="13" y="1"/>
                      <a:pt x="11" y="1"/>
                      <a:pt x="11" y="3"/>
                    </a:cubicBezTo>
                    <a:cubicBezTo>
                      <a:pt x="16" y="1"/>
                      <a:pt x="9" y="8"/>
                      <a:pt x="13" y="8"/>
                    </a:cubicBezTo>
                    <a:cubicBezTo>
                      <a:pt x="12" y="5"/>
                      <a:pt x="16" y="6"/>
                      <a:pt x="17" y="9"/>
                    </a:cubicBezTo>
                    <a:cubicBezTo>
                      <a:pt x="13" y="11"/>
                      <a:pt x="9" y="7"/>
                      <a:pt x="5" y="8"/>
                    </a:cubicBezTo>
                    <a:cubicBezTo>
                      <a:pt x="9" y="14"/>
                      <a:pt x="3" y="16"/>
                      <a:pt x="0" y="14"/>
                    </a:cubicBezTo>
                    <a:cubicBezTo>
                      <a:pt x="0" y="18"/>
                      <a:pt x="2" y="16"/>
                      <a:pt x="2" y="19"/>
                    </a:cubicBezTo>
                    <a:cubicBezTo>
                      <a:pt x="6" y="18"/>
                      <a:pt x="10" y="26"/>
                      <a:pt x="14" y="27"/>
                    </a:cubicBezTo>
                    <a:cubicBezTo>
                      <a:pt x="13" y="24"/>
                      <a:pt x="7" y="21"/>
                      <a:pt x="8" y="19"/>
                    </a:cubicBezTo>
                    <a:cubicBezTo>
                      <a:pt x="15" y="24"/>
                      <a:pt x="13" y="16"/>
                      <a:pt x="17" y="12"/>
                    </a:cubicBezTo>
                    <a:cubicBezTo>
                      <a:pt x="22" y="15"/>
                      <a:pt x="21" y="10"/>
                      <a:pt x="25" y="11"/>
                    </a:cubicBezTo>
                    <a:cubicBezTo>
                      <a:pt x="24" y="9"/>
                      <a:pt x="25" y="9"/>
                      <a:pt x="25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7" name="任意多边形: 形状 736">
                <a:extLst>
                  <a:ext uri="{FF2B5EF4-FFF2-40B4-BE49-F238E27FC236}">
                    <a16:creationId xmlns:a16="http://schemas.microsoft.com/office/drawing/2014/main" id="{147E8A89-209B-42E2-9E08-5606D504861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2" y="2017"/>
                <a:ext cx="4" cy="2"/>
              </a:xfrm>
              <a:custGeom>
                <a:avLst/>
                <a:gdLst>
                  <a:gd name="T0" fmla="*/ 2 w 2"/>
                  <a:gd name="T1" fmla="*/ 0 h 1"/>
                  <a:gd name="T2" fmla="*/ 0 w 2"/>
                  <a:gd name="T3" fmla="*/ 1 h 1"/>
                  <a:gd name="T4" fmla="*/ 2 w 2"/>
                  <a:gd name="T5" fmla="*/ 0 h 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1" y="0"/>
                      <a:pt x="1" y="0"/>
                      <a:pt x="0" y="1"/>
                    </a:cubicBezTo>
                    <a:cubicBezTo>
                      <a:pt x="1" y="1"/>
                      <a:pt x="1" y="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8" name="任意多边形: 形状 737">
                <a:extLst>
                  <a:ext uri="{FF2B5EF4-FFF2-40B4-BE49-F238E27FC236}">
                    <a16:creationId xmlns:a16="http://schemas.microsoft.com/office/drawing/2014/main" id="{3BAE22C0-0126-4267-9C99-086E957004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56" y="2004"/>
                <a:ext cx="31" cy="21"/>
              </a:xfrm>
              <a:custGeom>
                <a:avLst/>
                <a:gdLst>
                  <a:gd name="T0" fmla="*/ 15 w 15"/>
                  <a:gd name="T1" fmla="*/ 3 h 10"/>
                  <a:gd name="T2" fmla="*/ 14 w 15"/>
                  <a:gd name="T3" fmla="*/ 0 h 10"/>
                  <a:gd name="T4" fmla="*/ 0 w 15"/>
                  <a:gd name="T5" fmla="*/ 6 h 10"/>
                  <a:gd name="T6" fmla="*/ 8 w 15"/>
                  <a:gd name="T7" fmla="*/ 9 h 10"/>
                  <a:gd name="T8" fmla="*/ 7 w 15"/>
                  <a:gd name="T9" fmla="*/ 5 h 10"/>
                  <a:gd name="T10" fmla="*/ 15 w 15"/>
                  <a:gd name="T11" fmla="*/ 3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0">
                    <a:moveTo>
                      <a:pt x="15" y="3"/>
                    </a:moveTo>
                    <a:cubicBezTo>
                      <a:pt x="14" y="3"/>
                      <a:pt x="14" y="2"/>
                      <a:pt x="14" y="0"/>
                    </a:cubicBezTo>
                    <a:cubicBezTo>
                      <a:pt x="10" y="4"/>
                      <a:pt x="3" y="4"/>
                      <a:pt x="0" y="6"/>
                    </a:cubicBezTo>
                    <a:cubicBezTo>
                      <a:pt x="3" y="5"/>
                      <a:pt x="5" y="10"/>
                      <a:pt x="8" y="9"/>
                    </a:cubicBezTo>
                    <a:cubicBezTo>
                      <a:pt x="9" y="6"/>
                      <a:pt x="5" y="7"/>
                      <a:pt x="7" y="5"/>
                    </a:cubicBezTo>
                    <a:cubicBezTo>
                      <a:pt x="10" y="2"/>
                      <a:pt x="14" y="6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39" name="任意多边形: 形状 738">
                <a:extLst>
                  <a:ext uri="{FF2B5EF4-FFF2-40B4-BE49-F238E27FC236}">
                    <a16:creationId xmlns:a16="http://schemas.microsoft.com/office/drawing/2014/main" id="{65FC880A-6C43-4B16-9DE0-24190680FFA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69" y="1687"/>
                <a:ext cx="17" cy="14"/>
              </a:xfrm>
              <a:custGeom>
                <a:avLst/>
                <a:gdLst>
                  <a:gd name="T0" fmla="*/ 1 w 8"/>
                  <a:gd name="T1" fmla="*/ 7 h 7"/>
                  <a:gd name="T2" fmla="*/ 8 w 8"/>
                  <a:gd name="T3" fmla="*/ 1 h 7"/>
                  <a:gd name="T4" fmla="*/ 1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1" y="7"/>
                    </a:moveTo>
                    <a:cubicBezTo>
                      <a:pt x="4" y="4"/>
                      <a:pt x="7" y="5"/>
                      <a:pt x="8" y="1"/>
                    </a:cubicBezTo>
                    <a:cubicBezTo>
                      <a:pt x="5" y="4"/>
                      <a:pt x="0" y="0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0" name="任意多边形: 形状 739">
                <a:extLst>
                  <a:ext uri="{FF2B5EF4-FFF2-40B4-BE49-F238E27FC236}">
                    <a16:creationId xmlns:a16="http://schemas.microsoft.com/office/drawing/2014/main" id="{4E46CB0E-8B57-459C-BE9B-30973EEB5ED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1" y="1674"/>
                <a:ext cx="15" cy="21"/>
              </a:xfrm>
              <a:custGeom>
                <a:avLst/>
                <a:gdLst>
                  <a:gd name="T0" fmla="*/ 1 w 7"/>
                  <a:gd name="T1" fmla="*/ 0 h 10"/>
                  <a:gd name="T2" fmla="*/ 0 w 7"/>
                  <a:gd name="T3" fmla="*/ 7 h 10"/>
                  <a:gd name="T4" fmla="*/ 6 w 7"/>
                  <a:gd name="T5" fmla="*/ 5 h 10"/>
                  <a:gd name="T6" fmla="*/ 3 w 7"/>
                  <a:gd name="T7" fmla="*/ 4 h 10"/>
                  <a:gd name="T8" fmla="*/ 1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1" y="0"/>
                    </a:moveTo>
                    <a:cubicBezTo>
                      <a:pt x="2" y="3"/>
                      <a:pt x="0" y="4"/>
                      <a:pt x="0" y="7"/>
                    </a:cubicBezTo>
                    <a:cubicBezTo>
                      <a:pt x="2" y="3"/>
                      <a:pt x="7" y="10"/>
                      <a:pt x="6" y="5"/>
                    </a:cubicBezTo>
                    <a:cubicBezTo>
                      <a:pt x="5" y="5"/>
                      <a:pt x="4" y="5"/>
                      <a:pt x="3" y="4"/>
                    </a:cubicBezTo>
                    <a:cubicBezTo>
                      <a:pt x="2" y="2"/>
                      <a:pt x="3" y="1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1" name="任意多边形: 形状 740">
                <a:extLst>
                  <a:ext uri="{FF2B5EF4-FFF2-40B4-BE49-F238E27FC236}">
                    <a16:creationId xmlns:a16="http://schemas.microsoft.com/office/drawing/2014/main" id="{DF5E1D74-0277-40BF-B6AC-0E8B843C389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56" y="1795"/>
                <a:ext cx="11" cy="23"/>
              </a:xfrm>
              <a:custGeom>
                <a:avLst/>
                <a:gdLst>
                  <a:gd name="T0" fmla="*/ 3 w 5"/>
                  <a:gd name="T1" fmla="*/ 0 h 11"/>
                  <a:gd name="T2" fmla="*/ 2 w 5"/>
                  <a:gd name="T3" fmla="*/ 11 h 11"/>
                  <a:gd name="T4" fmla="*/ 4 w 5"/>
                  <a:gd name="T5" fmla="*/ 8 h 11"/>
                  <a:gd name="T6" fmla="*/ 3 w 5"/>
                  <a:gd name="T7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1">
                    <a:moveTo>
                      <a:pt x="3" y="0"/>
                    </a:moveTo>
                    <a:cubicBezTo>
                      <a:pt x="0" y="2"/>
                      <a:pt x="1" y="10"/>
                      <a:pt x="2" y="11"/>
                    </a:cubicBezTo>
                    <a:cubicBezTo>
                      <a:pt x="1" y="9"/>
                      <a:pt x="2" y="9"/>
                      <a:pt x="4" y="8"/>
                    </a:cubicBezTo>
                    <a:cubicBezTo>
                      <a:pt x="0" y="4"/>
                      <a:pt x="5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2" name="任意多边形: 形状 741">
                <a:extLst>
                  <a:ext uri="{FF2B5EF4-FFF2-40B4-BE49-F238E27FC236}">
                    <a16:creationId xmlns:a16="http://schemas.microsoft.com/office/drawing/2014/main" id="{65221812-0CBC-4B8F-834F-5F2FF7751B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15" y="1718"/>
                <a:ext cx="10" cy="19"/>
              </a:xfrm>
              <a:custGeom>
                <a:avLst/>
                <a:gdLst>
                  <a:gd name="T0" fmla="*/ 3 w 5"/>
                  <a:gd name="T1" fmla="*/ 0 h 9"/>
                  <a:gd name="T2" fmla="*/ 1 w 5"/>
                  <a:gd name="T3" fmla="*/ 9 h 9"/>
                  <a:gd name="T4" fmla="*/ 3 w 5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3" y="0"/>
                    </a:moveTo>
                    <a:cubicBezTo>
                      <a:pt x="0" y="2"/>
                      <a:pt x="3" y="6"/>
                      <a:pt x="1" y="9"/>
                    </a:cubicBezTo>
                    <a:cubicBezTo>
                      <a:pt x="5" y="7"/>
                      <a:pt x="3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3" name="任意多边形: 形状 742">
                <a:extLst>
                  <a:ext uri="{FF2B5EF4-FFF2-40B4-BE49-F238E27FC236}">
                    <a16:creationId xmlns:a16="http://schemas.microsoft.com/office/drawing/2014/main" id="{0E1CCE93-090C-4FB9-9FCB-76D7E02305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98" y="1681"/>
                <a:ext cx="46" cy="25"/>
              </a:xfrm>
              <a:custGeom>
                <a:avLst/>
                <a:gdLst>
                  <a:gd name="T0" fmla="*/ 4 w 22"/>
                  <a:gd name="T1" fmla="*/ 6 h 12"/>
                  <a:gd name="T2" fmla="*/ 1 w 22"/>
                  <a:gd name="T3" fmla="*/ 12 h 12"/>
                  <a:gd name="T4" fmla="*/ 22 w 22"/>
                  <a:gd name="T5" fmla="*/ 4 h 12"/>
                  <a:gd name="T6" fmla="*/ 22 w 22"/>
                  <a:gd name="T7" fmla="*/ 1 h 12"/>
                  <a:gd name="T8" fmla="*/ 11 w 22"/>
                  <a:gd name="T9" fmla="*/ 4 h 12"/>
                  <a:gd name="T10" fmla="*/ 13 w 22"/>
                  <a:gd name="T11" fmla="*/ 6 h 12"/>
                  <a:gd name="T12" fmla="*/ 4 w 22"/>
                  <a:gd name="T13" fmla="*/ 6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2" h="12">
                    <a:moveTo>
                      <a:pt x="4" y="6"/>
                    </a:moveTo>
                    <a:cubicBezTo>
                      <a:pt x="3" y="8"/>
                      <a:pt x="0" y="9"/>
                      <a:pt x="1" y="12"/>
                    </a:cubicBezTo>
                    <a:cubicBezTo>
                      <a:pt x="10" y="8"/>
                      <a:pt x="15" y="9"/>
                      <a:pt x="22" y="4"/>
                    </a:cubicBezTo>
                    <a:cubicBezTo>
                      <a:pt x="21" y="2"/>
                      <a:pt x="21" y="1"/>
                      <a:pt x="22" y="1"/>
                    </a:cubicBezTo>
                    <a:cubicBezTo>
                      <a:pt x="20" y="0"/>
                      <a:pt x="14" y="3"/>
                      <a:pt x="11" y="4"/>
                    </a:cubicBezTo>
                    <a:cubicBezTo>
                      <a:pt x="12" y="4"/>
                      <a:pt x="14" y="5"/>
                      <a:pt x="13" y="6"/>
                    </a:cubicBezTo>
                    <a:cubicBezTo>
                      <a:pt x="10" y="7"/>
                      <a:pt x="7" y="5"/>
                      <a:pt x="4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4" name="任意多边形: 形状 743">
                <a:extLst>
                  <a:ext uri="{FF2B5EF4-FFF2-40B4-BE49-F238E27FC236}">
                    <a16:creationId xmlns:a16="http://schemas.microsoft.com/office/drawing/2014/main" id="{47B4515B-2713-4D4D-9F5C-7A0F76C273A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1585"/>
                <a:ext cx="19" cy="13"/>
              </a:xfrm>
              <a:custGeom>
                <a:avLst/>
                <a:gdLst>
                  <a:gd name="T0" fmla="*/ 9 w 9"/>
                  <a:gd name="T1" fmla="*/ 0 h 6"/>
                  <a:gd name="T2" fmla="*/ 9 w 9"/>
                  <a:gd name="T3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9" h="6">
                    <a:moveTo>
                      <a:pt x="9" y="0"/>
                    </a:moveTo>
                    <a:cubicBezTo>
                      <a:pt x="0" y="2"/>
                      <a:pt x="5" y="6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5" name="任意多边形: 形状 744">
                <a:extLst>
                  <a:ext uri="{FF2B5EF4-FFF2-40B4-BE49-F238E27FC236}">
                    <a16:creationId xmlns:a16="http://schemas.microsoft.com/office/drawing/2014/main" id="{3491E571-3E6D-41C9-B046-FAD5888E63D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6" y="1747"/>
                <a:ext cx="12" cy="15"/>
              </a:xfrm>
              <a:custGeom>
                <a:avLst/>
                <a:gdLst>
                  <a:gd name="T0" fmla="*/ 0 w 6"/>
                  <a:gd name="T1" fmla="*/ 6 h 7"/>
                  <a:gd name="T2" fmla="*/ 5 w 6"/>
                  <a:gd name="T3" fmla="*/ 1 h 7"/>
                  <a:gd name="T4" fmla="*/ 0 w 6"/>
                  <a:gd name="T5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7">
                    <a:moveTo>
                      <a:pt x="0" y="6"/>
                    </a:moveTo>
                    <a:cubicBezTo>
                      <a:pt x="2" y="1"/>
                      <a:pt x="6" y="7"/>
                      <a:pt x="5" y="1"/>
                    </a:cubicBezTo>
                    <a:cubicBezTo>
                      <a:pt x="2" y="0"/>
                      <a:pt x="0" y="4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6" name="任意多边形: 形状 745">
                <a:extLst>
                  <a:ext uri="{FF2B5EF4-FFF2-40B4-BE49-F238E27FC236}">
                    <a16:creationId xmlns:a16="http://schemas.microsoft.com/office/drawing/2014/main" id="{9DCE0AA2-A021-41D1-8BB2-9CDB2E4966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48" y="1755"/>
                <a:ext cx="42" cy="36"/>
              </a:xfrm>
              <a:custGeom>
                <a:avLst/>
                <a:gdLst>
                  <a:gd name="T0" fmla="*/ 4 w 20"/>
                  <a:gd name="T1" fmla="*/ 5 h 17"/>
                  <a:gd name="T2" fmla="*/ 2 w 20"/>
                  <a:gd name="T3" fmla="*/ 0 h 17"/>
                  <a:gd name="T4" fmla="*/ 0 w 20"/>
                  <a:gd name="T5" fmla="*/ 1 h 17"/>
                  <a:gd name="T6" fmla="*/ 0 w 20"/>
                  <a:gd name="T7" fmla="*/ 3 h 17"/>
                  <a:gd name="T8" fmla="*/ 4 w 20"/>
                  <a:gd name="T9" fmla="*/ 6 h 17"/>
                  <a:gd name="T10" fmla="*/ 1 w 20"/>
                  <a:gd name="T11" fmla="*/ 12 h 17"/>
                  <a:gd name="T12" fmla="*/ 5 w 20"/>
                  <a:gd name="T13" fmla="*/ 12 h 17"/>
                  <a:gd name="T14" fmla="*/ 8 w 20"/>
                  <a:gd name="T15" fmla="*/ 9 h 17"/>
                  <a:gd name="T16" fmla="*/ 12 w 20"/>
                  <a:gd name="T17" fmla="*/ 17 h 17"/>
                  <a:gd name="T18" fmla="*/ 18 w 20"/>
                  <a:gd name="T19" fmla="*/ 12 h 17"/>
                  <a:gd name="T20" fmla="*/ 11 w 20"/>
                  <a:gd name="T21" fmla="*/ 9 h 17"/>
                  <a:gd name="T22" fmla="*/ 15 w 20"/>
                  <a:gd name="T23" fmla="*/ 8 h 17"/>
                  <a:gd name="T24" fmla="*/ 4 w 20"/>
                  <a:gd name="T25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0" h="17">
                    <a:moveTo>
                      <a:pt x="4" y="5"/>
                    </a:moveTo>
                    <a:cubicBezTo>
                      <a:pt x="3" y="2"/>
                      <a:pt x="4" y="2"/>
                      <a:pt x="2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2"/>
                      <a:pt x="1" y="3"/>
                      <a:pt x="0" y="3"/>
                    </a:cubicBezTo>
                    <a:cubicBezTo>
                      <a:pt x="2" y="7"/>
                      <a:pt x="3" y="2"/>
                      <a:pt x="4" y="6"/>
                    </a:cubicBezTo>
                    <a:cubicBezTo>
                      <a:pt x="4" y="9"/>
                      <a:pt x="0" y="9"/>
                      <a:pt x="1" y="12"/>
                    </a:cubicBezTo>
                    <a:cubicBezTo>
                      <a:pt x="2" y="9"/>
                      <a:pt x="3" y="12"/>
                      <a:pt x="5" y="12"/>
                    </a:cubicBezTo>
                    <a:cubicBezTo>
                      <a:pt x="3" y="10"/>
                      <a:pt x="7" y="10"/>
                      <a:pt x="8" y="9"/>
                    </a:cubicBezTo>
                    <a:cubicBezTo>
                      <a:pt x="9" y="12"/>
                      <a:pt x="10" y="14"/>
                      <a:pt x="12" y="17"/>
                    </a:cubicBezTo>
                    <a:cubicBezTo>
                      <a:pt x="13" y="13"/>
                      <a:pt x="20" y="13"/>
                      <a:pt x="18" y="12"/>
                    </a:cubicBezTo>
                    <a:cubicBezTo>
                      <a:pt x="16" y="10"/>
                      <a:pt x="13" y="14"/>
                      <a:pt x="11" y="9"/>
                    </a:cubicBezTo>
                    <a:cubicBezTo>
                      <a:pt x="12" y="9"/>
                      <a:pt x="13" y="9"/>
                      <a:pt x="15" y="8"/>
                    </a:cubicBezTo>
                    <a:cubicBezTo>
                      <a:pt x="12" y="4"/>
                      <a:pt x="6" y="1"/>
                      <a:pt x="4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7" name="任意多边形: 形状 746">
                <a:extLst>
                  <a:ext uri="{FF2B5EF4-FFF2-40B4-BE49-F238E27FC236}">
                    <a16:creationId xmlns:a16="http://schemas.microsoft.com/office/drawing/2014/main" id="{60513ABC-4591-47C4-BC82-25811E5998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7" y="1784"/>
                <a:ext cx="11" cy="19"/>
              </a:xfrm>
              <a:custGeom>
                <a:avLst/>
                <a:gdLst>
                  <a:gd name="T0" fmla="*/ 0 w 5"/>
                  <a:gd name="T1" fmla="*/ 8 h 9"/>
                  <a:gd name="T2" fmla="*/ 5 w 5"/>
                  <a:gd name="T3" fmla="*/ 1 h 9"/>
                  <a:gd name="T4" fmla="*/ 0 w 5"/>
                  <a:gd name="T5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9">
                    <a:moveTo>
                      <a:pt x="0" y="8"/>
                    </a:moveTo>
                    <a:cubicBezTo>
                      <a:pt x="3" y="9"/>
                      <a:pt x="3" y="3"/>
                      <a:pt x="5" y="1"/>
                    </a:cubicBezTo>
                    <a:cubicBezTo>
                      <a:pt x="2" y="0"/>
                      <a:pt x="1" y="5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8" name="任意多边形: 形状 747">
                <a:extLst>
                  <a:ext uri="{FF2B5EF4-FFF2-40B4-BE49-F238E27FC236}">
                    <a16:creationId xmlns:a16="http://schemas.microsoft.com/office/drawing/2014/main" id="{E51F0F94-B542-4AF5-910C-24763FCF86A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7" y="2040"/>
                <a:ext cx="21" cy="18"/>
              </a:xfrm>
              <a:custGeom>
                <a:avLst/>
                <a:gdLst>
                  <a:gd name="T0" fmla="*/ 10 w 10"/>
                  <a:gd name="T1" fmla="*/ 6 h 9"/>
                  <a:gd name="T2" fmla="*/ 0 w 10"/>
                  <a:gd name="T3" fmla="*/ 0 h 9"/>
                  <a:gd name="T4" fmla="*/ 1 w 10"/>
                  <a:gd name="T5" fmla="*/ 7 h 9"/>
                  <a:gd name="T6" fmla="*/ 2 w 10"/>
                  <a:gd name="T7" fmla="*/ 3 h 9"/>
                  <a:gd name="T8" fmla="*/ 10 w 10"/>
                  <a:gd name="T9" fmla="*/ 6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9">
                    <a:moveTo>
                      <a:pt x="10" y="6"/>
                    </a:moveTo>
                    <a:cubicBezTo>
                      <a:pt x="6" y="4"/>
                      <a:pt x="3" y="3"/>
                      <a:pt x="0" y="0"/>
                    </a:cubicBezTo>
                    <a:cubicBezTo>
                      <a:pt x="0" y="2"/>
                      <a:pt x="1" y="5"/>
                      <a:pt x="1" y="7"/>
                    </a:cubicBezTo>
                    <a:cubicBezTo>
                      <a:pt x="3" y="6"/>
                      <a:pt x="2" y="4"/>
                      <a:pt x="2" y="3"/>
                    </a:cubicBezTo>
                    <a:cubicBezTo>
                      <a:pt x="4" y="7"/>
                      <a:pt x="9" y="9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49" name="任意多边形: 形状 748">
                <a:extLst>
                  <a:ext uri="{FF2B5EF4-FFF2-40B4-BE49-F238E27FC236}">
                    <a16:creationId xmlns:a16="http://schemas.microsoft.com/office/drawing/2014/main" id="{97421CC0-4C05-450B-BE8A-BD397CE2C4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7" y="1747"/>
                <a:ext cx="11" cy="25"/>
              </a:xfrm>
              <a:custGeom>
                <a:avLst/>
                <a:gdLst>
                  <a:gd name="T0" fmla="*/ 0 w 5"/>
                  <a:gd name="T1" fmla="*/ 8 h 12"/>
                  <a:gd name="T2" fmla="*/ 5 w 5"/>
                  <a:gd name="T3" fmla="*/ 6 h 12"/>
                  <a:gd name="T4" fmla="*/ 1 w 5"/>
                  <a:gd name="T5" fmla="*/ 1 h 12"/>
                  <a:gd name="T6" fmla="*/ 0 w 5"/>
                  <a:gd name="T7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12">
                    <a:moveTo>
                      <a:pt x="0" y="8"/>
                    </a:moveTo>
                    <a:cubicBezTo>
                      <a:pt x="3" y="12"/>
                      <a:pt x="4" y="9"/>
                      <a:pt x="5" y="6"/>
                    </a:cubicBezTo>
                    <a:cubicBezTo>
                      <a:pt x="2" y="4"/>
                      <a:pt x="4" y="0"/>
                      <a:pt x="1" y="1"/>
                    </a:cubicBezTo>
                    <a:cubicBezTo>
                      <a:pt x="3" y="5"/>
                      <a:pt x="3" y="8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0" name="任意多边形: 形状 749">
                <a:extLst>
                  <a:ext uri="{FF2B5EF4-FFF2-40B4-BE49-F238E27FC236}">
                    <a16:creationId xmlns:a16="http://schemas.microsoft.com/office/drawing/2014/main" id="{8560C57F-8AA9-4CA3-90E2-6998167410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04" y="1677"/>
                <a:ext cx="19" cy="18"/>
              </a:xfrm>
              <a:custGeom>
                <a:avLst/>
                <a:gdLst>
                  <a:gd name="T0" fmla="*/ 3 w 9"/>
                  <a:gd name="T1" fmla="*/ 9 h 9"/>
                  <a:gd name="T2" fmla="*/ 7 w 9"/>
                  <a:gd name="T3" fmla="*/ 6 h 9"/>
                  <a:gd name="T4" fmla="*/ 1 w 9"/>
                  <a:gd name="T5" fmla="*/ 1 h 9"/>
                  <a:gd name="T6" fmla="*/ 3 w 9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9">
                    <a:moveTo>
                      <a:pt x="3" y="9"/>
                    </a:moveTo>
                    <a:cubicBezTo>
                      <a:pt x="4" y="9"/>
                      <a:pt x="9" y="9"/>
                      <a:pt x="7" y="6"/>
                    </a:cubicBezTo>
                    <a:cubicBezTo>
                      <a:pt x="5" y="4"/>
                      <a:pt x="0" y="0"/>
                      <a:pt x="1" y="1"/>
                    </a:cubicBezTo>
                    <a:cubicBezTo>
                      <a:pt x="7" y="5"/>
                      <a:pt x="2" y="9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1" name="任意多边形: 形状 750">
                <a:extLst>
                  <a:ext uri="{FF2B5EF4-FFF2-40B4-BE49-F238E27FC236}">
                    <a16:creationId xmlns:a16="http://schemas.microsoft.com/office/drawing/2014/main" id="{181E1CC2-E733-4F3C-9D7C-323E9BB545A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16" y="1857"/>
                <a:ext cx="17" cy="19"/>
              </a:xfrm>
              <a:custGeom>
                <a:avLst/>
                <a:gdLst>
                  <a:gd name="T0" fmla="*/ 7 w 8"/>
                  <a:gd name="T1" fmla="*/ 8 h 9"/>
                  <a:gd name="T2" fmla="*/ 6 w 8"/>
                  <a:gd name="T3" fmla="*/ 0 h 9"/>
                  <a:gd name="T4" fmla="*/ 3 w 8"/>
                  <a:gd name="T5" fmla="*/ 6 h 9"/>
                  <a:gd name="T6" fmla="*/ 7 w 8"/>
                  <a:gd name="T7" fmla="*/ 5 h 9"/>
                  <a:gd name="T8" fmla="*/ 7 w 8"/>
                  <a:gd name="T9" fmla="*/ 8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9">
                    <a:moveTo>
                      <a:pt x="7" y="8"/>
                    </a:moveTo>
                    <a:cubicBezTo>
                      <a:pt x="8" y="4"/>
                      <a:pt x="6" y="4"/>
                      <a:pt x="6" y="0"/>
                    </a:cubicBezTo>
                    <a:cubicBezTo>
                      <a:pt x="4" y="0"/>
                      <a:pt x="0" y="5"/>
                      <a:pt x="3" y="6"/>
                    </a:cubicBezTo>
                    <a:cubicBezTo>
                      <a:pt x="2" y="4"/>
                      <a:pt x="6" y="4"/>
                      <a:pt x="7" y="5"/>
                    </a:cubicBezTo>
                    <a:cubicBezTo>
                      <a:pt x="5" y="5"/>
                      <a:pt x="4" y="9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2" name="任意多边形: 形状 751">
                <a:extLst>
                  <a:ext uri="{FF2B5EF4-FFF2-40B4-BE49-F238E27FC236}">
                    <a16:creationId xmlns:a16="http://schemas.microsoft.com/office/drawing/2014/main" id="{3F1910DC-9C89-47F9-A1A9-C86A966B055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331" y="1699"/>
                <a:ext cx="23" cy="27"/>
              </a:xfrm>
              <a:custGeom>
                <a:avLst/>
                <a:gdLst>
                  <a:gd name="T0" fmla="*/ 0 w 11"/>
                  <a:gd name="T1" fmla="*/ 6 h 13"/>
                  <a:gd name="T2" fmla="*/ 10 w 11"/>
                  <a:gd name="T3" fmla="*/ 9 h 13"/>
                  <a:gd name="T4" fmla="*/ 8 w 11"/>
                  <a:gd name="T5" fmla="*/ 0 h 13"/>
                  <a:gd name="T6" fmla="*/ 8 w 11"/>
                  <a:gd name="T7" fmla="*/ 7 h 13"/>
                  <a:gd name="T8" fmla="*/ 0 w 11"/>
                  <a:gd name="T9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3">
                    <a:moveTo>
                      <a:pt x="0" y="6"/>
                    </a:moveTo>
                    <a:cubicBezTo>
                      <a:pt x="4" y="13"/>
                      <a:pt x="7" y="9"/>
                      <a:pt x="10" y="9"/>
                    </a:cubicBezTo>
                    <a:cubicBezTo>
                      <a:pt x="9" y="6"/>
                      <a:pt x="11" y="4"/>
                      <a:pt x="8" y="0"/>
                    </a:cubicBezTo>
                    <a:cubicBezTo>
                      <a:pt x="10" y="7"/>
                      <a:pt x="2" y="3"/>
                      <a:pt x="8" y="7"/>
                    </a:cubicBezTo>
                    <a:cubicBezTo>
                      <a:pt x="5" y="9"/>
                      <a:pt x="2" y="7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3" name="任意多边形: 形状 752">
                <a:extLst>
                  <a:ext uri="{FF2B5EF4-FFF2-40B4-BE49-F238E27FC236}">
                    <a16:creationId xmlns:a16="http://schemas.microsoft.com/office/drawing/2014/main" id="{E501F890-AAB3-4562-ADB9-9EF838EFFDC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5" y="1581"/>
                <a:ext cx="21" cy="19"/>
              </a:xfrm>
              <a:custGeom>
                <a:avLst/>
                <a:gdLst>
                  <a:gd name="T0" fmla="*/ 6 w 10"/>
                  <a:gd name="T1" fmla="*/ 9 h 9"/>
                  <a:gd name="T2" fmla="*/ 10 w 10"/>
                  <a:gd name="T3" fmla="*/ 5 h 9"/>
                  <a:gd name="T4" fmla="*/ 0 w 10"/>
                  <a:gd name="T5" fmla="*/ 6 h 9"/>
                  <a:gd name="T6" fmla="*/ 6 w 10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6" y="9"/>
                    </a:moveTo>
                    <a:cubicBezTo>
                      <a:pt x="7" y="5"/>
                      <a:pt x="10" y="8"/>
                      <a:pt x="10" y="5"/>
                    </a:cubicBezTo>
                    <a:cubicBezTo>
                      <a:pt x="7" y="6"/>
                      <a:pt x="1" y="0"/>
                      <a:pt x="0" y="6"/>
                    </a:cubicBezTo>
                    <a:cubicBezTo>
                      <a:pt x="3" y="4"/>
                      <a:pt x="6" y="5"/>
                      <a:pt x="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4" name="任意多边形: 形状 753">
                <a:extLst>
                  <a:ext uri="{FF2B5EF4-FFF2-40B4-BE49-F238E27FC236}">
                    <a16:creationId xmlns:a16="http://schemas.microsoft.com/office/drawing/2014/main" id="{A51013F0-49CF-4059-B92C-77EE3078593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36" y="1510"/>
                <a:ext cx="18" cy="38"/>
              </a:xfrm>
              <a:custGeom>
                <a:avLst/>
                <a:gdLst>
                  <a:gd name="T0" fmla="*/ 9 w 9"/>
                  <a:gd name="T1" fmla="*/ 16 h 18"/>
                  <a:gd name="T2" fmla="*/ 5 w 9"/>
                  <a:gd name="T3" fmla="*/ 0 h 18"/>
                  <a:gd name="T4" fmla="*/ 9 w 9"/>
                  <a:gd name="T5" fmla="*/ 16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8">
                    <a:moveTo>
                      <a:pt x="9" y="16"/>
                    </a:moveTo>
                    <a:cubicBezTo>
                      <a:pt x="7" y="11"/>
                      <a:pt x="4" y="5"/>
                      <a:pt x="5" y="0"/>
                    </a:cubicBezTo>
                    <a:cubicBezTo>
                      <a:pt x="0" y="2"/>
                      <a:pt x="9" y="18"/>
                      <a:pt x="9" y="1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5" name="任意多边形: 形状 754">
                <a:extLst>
                  <a:ext uri="{FF2B5EF4-FFF2-40B4-BE49-F238E27FC236}">
                    <a16:creationId xmlns:a16="http://schemas.microsoft.com/office/drawing/2014/main" id="{ED2C5B2F-004F-47D6-BBE6-91E33DDEBF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273" y="1517"/>
                <a:ext cx="13" cy="20"/>
              </a:xfrm>
              <a:custGeom>
                <a:avLst/>
                <a:gdLst>
                  <a:gd name="T0" fmla="*/ 1 w 6"/>
                  <a:gd name="T1" fmla="*/ 10 h 10"/>
                  <a:gd name="T2" fmla="*/ 3 w 6"/>
                  <a:gd name="T3" fmla="*/ 0 h 10"/>
                  <a:gd name="T4" fmla="*/ 1 w 6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10">
                    <a:moveTo>
                      <a:pt x="1" y="10"/>
                    </a:moveTo>
                    <a:cubicBezTo>
                      <a:pt x="3" y="7"/>
                      <a:pt x="6" y="2"/>
                      <a:pt x="3" y="0"/>
                    </a:cubicBezTo>
                    <a:cubicBezTo>
                      <a:pt x="5" y="4"/>
                      <a:pt x="0" y="5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6" name="任意多边形: 形状 755">
                <a:extLst>
                  <a:ext uri="{FF2B5EF4-FFF2-40B4-BE49-F238E27FC236}">
                    <a16:creationId xmlns:a16="http://schemas.microsoft.com/office/drawing/2014/main" id="{EFDE0C95-2E70-47DD-ADD4-3AA169A482A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66" y="2023"/>
                <a:ext cx="23" cy="21"/>
              </a:xfrm>
              <a:custGeom>
                <a:avLst/>
                <a:gdLst>
                  <a:gd name="T0" fmla="*/ 2 w 11"/>
                  <a:gd name="T1" fmla="*/ 8 h 10"/>
                  <a:gd name="T2" fmla="*/ 11 w 11"/>
                  <a:gd name="T3" fmla="*/ 0 h 10"/>
                  <a:gd name="T4" fmla="*/ 5 w 11"/>
                  <a:gd name="T5" fmla="*/ 2 h 10"/>
                  <a:gd name="T6" fmla="*/ 2 w 11"/>
                  <a:gd name="T7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10">
                    <a:moveTo>
                      <a:pt x="2" y="8"/>
                    </a:moveTo>
                    <a:cubicBezTo>
                      <a:pt x="8" y="6"/>
                      <a:pt x="9" y="5"/>
                      <a:pt x="11" y="0"/>
                    </a:cubicBezTo>
                    <a:cubicBezTo>
                      <a:pt x="8" y="2"/>
                      <a:pt x="8" y="3"/>
                      <a:pt x="5" y="2"/>
                    </a:cubicBezTo>
                    <a:cubicBezTo>
                      <a:pt x="9" y="10"/>
                      <a:pt x="0" y="3"/>
                      <a:pt x="2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7" name="任意多边形: 形状 756">
                <a:extLst>
                  <a:ext uri="{FF2B5EF4-FFF2-40B4-BE49-F238E27FC236}">
                    <a16:creationId xmlns:a16="http://schemas.microsoft.com/office/drawing/2014/main" id="{4B095D99-03D0-4AE2-98E2-39A6BF70900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41" y="1948"/>
                <a:ext cx="27" cy="21"/>
              </a:xfrm>
              <a:custGeom>
                <a:avLst/>
                <a:gdLst>
                  <a:gd name="T0" fmla="*/ 0 w 13"/>
                  <a:gd name="T1" fmla="*/ 10 h 10"/>
                  <a:gd name="T2" fmla="*/ 12 w 13"/>
                  <a:gd name="T3" fmla="*/ 0 h 10"/>
                  <a:gd name="T4" fmla="*/ 0 w 13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0">
                    <a:moveTo>
                      <a:pt x="0" y="10"/>
                    </a:moveTo>
                    <a:cubicBezTo>
                      <a:pt x="3" y="7"/>
                      <a:pt x="13" y="8"/>
                      <a:pt x="12" y="0"/>
                    </a:cubicBezTo>
                    <a:cubicBezTo>
                      <a:pt x="11" y="6"/>
                      <a:pt x="2" y="4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8" name="任意多边形: 形状 757">
                <a:extLst>
                  <a:ext uri="{FF2B5EF4-FFF2-40B4-BE49-F238E27FC236}">
                    <a16:creationId xmlns:a16="http://schemas.microsoft.com/office/drawing/2014/main" id="{3749B8A2-EEAD-4ECF-BE47-219E0B92A9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6" y="1832"/>
                <a:ext cx="15" cy="21"/>
              </a:xfrm>
              <a:custGeom>
                <a:avLst/>
                <a:gdLst>
                  <a:gd name="T0" fmla="*/ 6 w 7"/>
                  <a:gd name="T1" fmla="*/ 10 h 10"/>
                  <a:gd name="T2" fmla="*/ 7 w 7"/>
                  <a:gd name="T3" fmla="*/ 10 h 10"/>
                  <a:gd name="T4" fmla="*/ 7 w 7"/>
                  <a:gd name="T5" fmla="*/ 7 h 10"/>
                  <a:gd name="T6" fmla="*/ 1 w 7"/>
                  <a:gd name="T7" fmla="*/ 6 h 10"/>
                  <a:gd name="T8" fmla="*/ 2 w 7"/>
                  <a:gd name="T9" fmla="*/ 8 h 10"/>
                  <a:gd name="T10" fmla="*/ 6 w 7"/>
                  <a:gd name="T11" fmla="*/ 9 h 10"/>
                  <a:gd name="T12" fmla="*/ 6 w 7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10">
                    <a:moveTo>
                      <a:pt x="6" y="10"/>
                    </a:moveTo>
                    <a:cubicBezTo>
                      <a:pt x="7" y="10"/>
                      <a:pt x="7" y="10"/>
                      <a:pt x="7" y="10"/>
                    </a:cubicBezTo>
                    <a:cubicBezTo>
                      <a:pt x="7" y="8"/>
                      <a:pt x="7" y="8"/>
                      <a:pt x="7" y="7"/>
                    </a:cubicBezTo>
                    <a:cubicBezTo>
                      <a:pt x="5" y="10"/>
                      <a:pt x="0" y="0"/>
                      <a:pt x="1" y="6"/>
                    </a:cubicBezTo>
                    <a:cubicBezTo>
                      <a:pt x="2" y="5"/>
                      <a:pt x="2" y="7"/>
                      <a:pt x="2" y="8"/>
                    </a:cubicBezTo>
                    <a:cubicBezTo>
                      <a:pt x="4" y="7"/>
                      <a:pt x="5" y="8"/>
                      <a:pt x="6" y="9"/>
                    </a:cubicBezTo>
                    <a:cubicBezTo>
                      <a:pt x="5" y="9"/>
                      <a:pt x="5" y="10"/>
                      <a:pt x="6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59" name="任意多边形: 形状 758">
                <a:extLst>
                  <a:ext uri="{FF2B5EF4-FFF2-40B4-BE49-F238E27FC236}">
                    <a16:creationId xmlns:a16="http://schemas.microsoft.com/office/drawing/2014/main" id="{5B8058D7-E497-48E1-B562-7DBD2DED5E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01" y="1950"/>
                <a:ext cx="58" cy="63"/>
              </a:xfrm>
              <a:custGeom>
                <a:avLst/>
                <a:gdLst>
                  <a:gd name="T0" fmla="*/ 10 w 28"/>
                  <a:gd name="T1" fmla="*/ 13 h 30"/>
                  <a:gd name="T2" fmla="*/ 6 w 28"/>
                  <a:gd name="T3" fmla="*/ 10 h 30"/>
                  <a:gd name="T4" fmla="*/ 0 w 28"/>
                  <a:gd name="T5" fmla="*/ 16 h 30"/>
                  <a:gd name="T6" fmla="*/ 2 w 28"/>
                  <a:gd name="T7" fmla="*/ 16 h 30"/>
                  <a:gd name="T8" fmla="*/ 3 w 28"/>
                  <a:gd name="T9" fmla="*/ 17 h 30"/>
                  <a:gd name="T10" fmla="*/ 5 w 28"/>
                  <a:gd name="T11" fmla="*/ 14 h 30"/>
                  <a:gd name="T12" fmla="*/ 9 w 28"/>
                  <a:gd name="T13" fmla="*/ 18 h 30"/>
                  <a:gd name="T14" fmla="*/ 9 w 28"/>
                  <a:gd name="T15" fmla="*/ 25 h 30"/>
                  <a:gd name="T16" fmla="*/ 22 w 28"/>
                  <a:gd name="T17" fmla="*/ 30 h 30"/>
                  <a:gd name="T18" fmla="*/ 11 w 28"/>
                  <a:gd name="T19" fmla="*/ 23 h 30"/>
                  <a:gd name="T20" fmla="*/ 11 w 28"/>
                  <a:gd name="T21" fmla="*/ 15 h 30"/>
                  <a:gd name="T22" fmla="*/ 17 w 28"/>
                  <a:gd name="T23" fmla="*/ 18 h 30"/>
                  <a:gd name="T24" fmla="*/ 15 w 28"/>
                  <a:gd name="T25" fmla="*/ 14 h 30"/>
                  <a:gd name="T26" fmla="*/ 18 w 28"/>
                  <a:gd name="T27" fmla="*/ 11 h 30"/>
                  <a:gd name="T28" fmla="*/ 21 w 28"/>
                  <a:gd name="T29" fmla="*/ 15 h 30"/>
                  <a:gd name="T30" fmla="*/ 17 w 28"/>
                  <a:gd name="T31" fmla="*/ 14 h 30"/>
                  <a:gd name="T32" fmla="*/ 19 w 28"/>
                  <a:gd name="T33" fmla="*/ 19 h 30"/>
                  <a:gd name="T34" fmla="*/ 27 w 28"/>
                  <a:gd name="T35" fmla="*/ 8 h 30"/>
                  <a:gd name="T36" fmla="*/ 24 w 28"/>
                  <a:gd name="T37" fmla="*/ 12 h 30"/>
                  <a:gd name="T38" fmla="*/ 24 w 28"/>
                  <a:gd name="T39" fmla="*/ 7 h 30"/>
                  <a:gd name="T40" fmla="*/ 18 w 28"/>
                  <a:gd name="T41" fmla="*/ 9 h 30"/>
                  <a:gd name="T42" fmla="*/ 15 w 28"/>
                  <a:gd name="T43" fmla="*/ 7 h 30"/>
                  <a:gd name="T44" fmla="*/ 16 w 28"/>
                  <a:gd name="T45" fmla="*/ 10 h 30"/>
                  <a:gd name="T46" fmla="*/ 13 w 28"/>
                  <a:gd name="T47" fmla="*/ 10 h 30"/>
                  <a:gd name="T48" fmla="*/ 13 w 28"/>
                  <a:gd name="T49" fmla="*/ 2 h 30"/>
                  <a:gd name="T50" fmla="*/ 12 w 28"/>
                  <a:gd name="T51" fmla="*/ 8 h 30"/>
                  <a:gd name="T52" fmla="*/ 10 w 28"/>
                  <a:gd name="T53" fmla="*/ 13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8" h="30">
                    <a:moveTo>
                      <a:pt x="10" y="13"/>
                    </a:moveTo>
                    <a:cubicBezTo>
                      <a:pt x="7" y="9"/>
                      <a:pt x="7" y="16"/>
                      <a:pt x="6" y="10"/>
                    </a:cubicBezTo>
                    <a:cubicBezTo>
                      <a:pt x="6" y="15"/>
                      <a:pt x="0" y="11"/>
                      <a:pt x="0" y="16"/>
                    </a:cubicBezTo>
                    <a:cubicBezTo>
                      <a:pt x="1" y="15"/>
                      <a:pt x="1" y="15"/>
                      <a:pt x="2" y="16"/>
                    </a:cubicBezTo>
                    <a:cubicBezTo>
                      <a:pt x="2" y="17"/>
                      <a:pt x="3" y="18"/>
                      <a:pt x="3" y="17"/>
                    </a:cubicBezTo>
                    <a:cubicBezTo>
                      <a:pt x="3" y="16"/>
                      <a:pt x="4" y="15"/>
                      <a:pt x="5" y="14"/>
                    </a:cubicBezTo>
                    <a:cubicBezTo>
                      <a:pt x="6" y="19"/>
                      <a:pt x="7" y="19"/>
                      <a:pt x="9" y="18"/>
                    </a:cubicBezTo>
                    <a:cubicBezTo>
                      <a:pt x="10" y="21"/>
                      <a:pt x="13" y="25"/>
                      <a:pt x="9" y="25"/>
                    </a:cubicBezTo>
                    <a:cubicBezTo>
                      <a:pt x="13" y="29"/>
                      <a:pt x="17" y="28"/>
                      <a:pt x="22" y="30"/>
                    </a:cubicBezTo>
                    <a:cubicBezTo>
                      <a:pt x="18" y="25"/>
                      <a:pt x="15" y="28"/>
                      <a:pt x="11" y="23"/>
                    </a:cubicBezTo>
                    <a:cubicBezTo>
                      <a:pt x="15" y="22"/>
                      <a:pt x="8" y="16"/>
                      <a:pt x="11" y="15"/>
                    </a:cubicBezTo>
                    <a:cubicBezTo>
                      <a:pt x="15" y="13"/>
                      <a:pt x="14" y="20"/>
                      <a:pt x="17" y="18"/>
                    </a:cubicBezTo>
                    <a:cubicBezTo>
                      <a:pt x="19" y="16"/>
                      <a:pt x="13" y="15"/>
                      <a:pt x="15" y="14"/>
                    </a:cubicBezTo>
                    <a:cubicBezTo>
                      <a:pt x="19" y="17"/>
                      <a:pt x="16" y="11"/>
                      <a:pt x="18" y="11"/>
                    </a:cubicBezTo>
                    <a:cubicBezTo>
                      <a:pt x="19" y="11"/>
                      <a:pt x="23" y="14"/>
                      <a:pt x="21" y="15"/>
                    </a:cubicBezTo>
                    <a:cubicBezTo>
                      <a:pt x="20" y="16"/>
                      <a:pt x="19" y="15"/>
                      <a:pt x="17" y="14"/>
                    </a:cubicBezTo>
                    <a:cubicBezTo>
                      <a:pt x="19" y="16"/>
                      <a:pt x="19" y="18"/>
                      <a:pt x="19" y="19"/>
                    </a:cubicBezTo>
                    <a:cubicBezTo>
                      <a:pt x="22" y="17"/>
                      <a:pt x="28" y="16"/>
                      <a:pt x="27" y="8"/>
                    </a:cubicBezTo>
                    <a:cubicBezTo>
                      <a:pt x="24" y="7"/>
                      <a:pt x="27" y="11"/>
                      <a:pt x="24" y="12"/>
                    </a:cubicBezTo>
                    <a:cubicBezTo>
                      <a:pt x="19" y="8"/>
                      <a:pt x="19" y="6"/>
                      <a:pt x="24" y="7"/>
                    </a:cubicBezTo>
                    <a:cubicBezTo>
                      <a:pt x="21" y="3"/>
                      <a:pt x="18" y="5"/>
                      <a:pt x="18" y="9"/>
                    </a:cubicBezTo>
                    <a:cubicBezTo>
                      <a:pt x="17" y="7"/>
                      <a:pt x="16" y="7"/>
                      <a:pt x="15" y="7"/>
                    </a:cubicBezTo>
                    <a:cubicBezTo>
                      <a:pt x="16" y="8"/>
                      <a:pt x="17" y="10"/>
                      <a:pt x="16" y="10"/>
                    </a:cubicBezTo>
                    <a:cubicBezTo>
                      <a:pt x="15" y="11"/>
                      <a:pt x="14" y="11"/>
                      <a:pt x="13" y="10"/>
                    </a:cubicBezTo>
                    <a:cubicBezTo>
                      <a:pt x="13" y="7"/>
                      <a:pt x="13" y="4"/>
                      <a:pt x="13" y="2"/>
                    </a:cubicBezTo>
                    <a:cubicBezTo>
                      <a:pt x="11" y="0"/>
                      <a:pt x="10" y="8"/>
                      <a:pt x="12" y="8"/>
                    </a:cubicBezTo>
                    <a:cubicBezTo>
                      <a:pt x="10" y="9"/>
                      <a:pt x="11" y="12"/>
                      <a:pt x="10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0" name="任意多边形: 形状 759">
                <a:extLst>
                  <a:ext uri="{FF2B5EF4-FFF2-40B4-BE49-F238E27FC236}">
                    <a16:creationId xmlns:a16="http://schemas.microsoft.com/office/drawing/2014/main" id="{3E611822-9B9C-4334-ABA3-5B97A49E829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97" y="1950"/>
                <a:ext cx="17" cy="13"/>
              </a:xfrm>
              <a:custGeom>
                <a:avLst/>
                <a:gdLst>
                  <a:gd name="T0" fmla="*/ 0 w 8"/>
                  <a:gd name="T1" fmla="*/ 1 h 6"/>
                  <a:gd name="T2" fmla="*/ 8 w 8"/>
                  <a:gd name="T3" fmla="*/ 6 h 6"/>
                  <a:gd name="T4" fmla="*/ 0 w 8"/>
                  <a:gd name="T5" fmla="*/ 1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0" y="1"/>
                    </a:moveTo>
                    <a:cubicBezTo>
                      <a:pt x="2" y="3"/>
                      <a:pt x="5" y="6"/>
                      <a:pt x="8" y="6"/>
                    </a:cubicBezTo>
                    <a:cubicBezTo>
                      <a:pt x="5" y="3"/>
                      <a:pt x="3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1" name="任意多边形: 形状 760">
                <a:extLst>
                  <a:ext uri="{FF2B5EF4-FFF2-40B4-BE49-F238E27FC236}">
                    <a16:creationId xmlns:a16="http://schemas.microsoft.com/office/drawing/2014/main" id="{3201B960-4EF9-4A89-8957-29AC0177B7C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556" y="1803"/>
                <a:ext cx="20" cy="25"/>
              </a:xfrm>
              <a:custGeom>
                <a:avLst/>
                <a:gdLst>
                  <a:gd name="T0" fmla="*/ 0 w 10"/>
                  <a:gd name="T1" fmla="*/ 4 h 12"/>
                  <a:gd name="T2" fmla="*/ 3 w 10"/>
                  <a:gd name="T3" fmla="*/ 12 h 12"/>
                  <a:gd name="T4" fmla="*/ 10 w 10"/>
                  <a:gd name="T5" fmla="*/ 0 h 12"/>
                  <a:gd name="T6" fmla="*/ 0 w 10"/>
                  <a:gd name="T7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2">
                    <a:moveTo>
                      <a:pt x="0" y="4"/>
                    </a:moveTo>
                    <a:cubicBezTo>
                      <a:pt x="3" y="7"/>
                      <a:pt x="1" y="12"/>
                      <a:pt x="3" y="12"/>
                    </a:cubicBezTo>
                    <a:cubicBezTo>
                      <a:pt x="4" y="7"/>
                      <a:pt x="9" y="5"/>
                      <a:pt x="10" y="0"/>
                    </a:cubicBezTo>
                    <a:cubicBezTo>
                      <a:pt x="6" y="2"/>
                      <a:pt x="5" y="7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2" name="任意多边形: 形状 761">
                <a:extLst>
                  <a:ext uri="{FF2B5EF4-FFF2-40B4-BE49-F238E27FC236}">
                    <a16:creationId xmlns:a16="http://schemas.microsoft.com/office/drawing/2014/main" id="{51CF2E71-A5D0-48A1-A5ED-2A611D8970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37" y="1926"/>
                <a:ext cx="14" cy="20"/>
              </a:xfrm>
              <a:custGeom>
                <a:avLst/>
                <a:gdLst>
                  <a:gd name="T0" fmla="*/ 2 w 7"/>
                  <a:gd name="T1" fmla="*/ 0 h 10"/>
                  <a:gd name="T2" fmla="*/ 0 w 7"/>
                  <a:gd name="T3" fmla="*/ 3 h 10"/>
                  <a:gd name="T4" fmla="*/ 6 w 7"/>
                  <a:gd name="T5" fmla="*/ 7 h 10"/>
                  <a:gd name="T6" fmla="*/ 1 w 7"/>
                  <a:gd name="T7" fmla="*/ 3 h 10"/>
                  <a:gd name="T8" fmla="*/ 2 w 7"/>
                  <a:gd name="T9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10">
                    <a:moveTo>
                      <a:pt x="2" y="0"/>
                    </a:moveTo>
                    <a:cubicBezTo>
                      <a:pt x="0" y="0"/>
                      <a:pt x="1" y="2"/>
                      <a:pt x="0" y="3"/>
                    </a:cubicBezTo>
                    <a:cubicBezTo>
                      <a:pt x="1" y="6"/>
                      <a:pt x="7" y="10"/>
                      <a:pt x="6" y="7"/>
                    </a:cubicBezTo>
                    <a:cubicBezTo>
                      <a:pt x="5" y="6"/>
                      <a:pt x="3" y="6"/>
                      <a:pt x="1" y="3"/>
                    </a:cubicBezTo>
                    <a:cubicBezTo>
                      <a:pt x="2" y="2"/>
                      <a:pt x="4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3" name="任意多边形: 形状 762">
                <a:extLst>
                  <a:ext uri="{FF2B5EF4-FFF2-40B4-BE49-F238E27FC236}">
                    <a16:creationId xmlns:a16="http://schemas.microsoft.com/office/drawing/2014/main" id="{E988F414-58C7-4A82-9409-BC0C58593C7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80" y="1959"/>
                <a:ext cx="17" cy="16"/>
              </a:xfrm>
              <a:custGeom>
                <a:avLst/>
                <a:gdLst>
                  <a:gd name="T0" fmla="*/ 2 w 8"/>
                  <a:gd name="T1" fmla="*/ 6 h 8"/>
                  <a:gd name="T2" fmla="*/ 1 w 8"/>
                  <a:gd name="T3" fmla="*/ 8 h 8"/>
                  <a:gd name="T4" fmla="*/ 5 w 8"/>
                  <a:gd name="T5" fmla="*/ 0 h 8"/>
                  <a:gd name="T6" fmla="*/ 0 w 8"/>
                  <a:gd name="T7" fmla="*/ 4 h 8"/>
                  <a:gd name="T8" fmla="*/ 2 w 8"/>
                  <a:gd name="T9" fmla="*/ 6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8">
                    <a:moveTo>
                      <a:pt x="2" y="6"/>
                    </a:moveTo>
                    <a:cubicBezTo>
                      <a:pt x="1" y="6"/>
                      <a:pt x="0" y="7"/>
                      <a:pt x="1" y="8"/>
                    </a:cubicBezTo>
                    <a:cubicBezTo>
                      <a:pt x="4" y="6"/>
                      <a:pt x="8" y="6"/>
                      <a:pt x="5" y="0"/>
                    </a:cubicBezTo>
                    <a:cubicBezTo>
                      <a:pt x="4" y="4"/>
                      <a:pt x="0" y="4"/>
                      <a:pt x="0" y="4"/>
                    </a:cubicBezTo>
                    <a:cubicBezTo>
                      <a:pt x="0" y="5"/>
                      <a:pt x="1" y="5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4" name="任意多边形: 形状 763">
                <a:extLst>
                  <a:ext uri="{FF2B5EF4-FFF2-40B4-BE49-F238E27FC236}">
                    <a16:creationId xmlns:a16="http://schemas.microsoft.com/office/drawing/2014/main" id="{EEFF2770-74EF-4184-B715-00333A0DE8B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668" y="1919"/>
                <a:ext cx="14" cy="13"/>
              </a:xfrm>
              <a:custGeom>
                <a:avLst/>
                <a:gdLst>
                  <a:gd name="T0" fmla="*/ 0 w 7"/>
                  <a:gd name="T1" fmla="*/ 0 h 6"/>
                  <a:gd name="T2" fmla="*/ 2 w 7"/>
                  <a:gd name="T3" fmla="*/ 4 h 6"/>
                  <a:gd name="T4" fmla="*/ 7 w 7"/>
                  <a:gd name="T5" fmla="*/ 4 h 6"/>
                  <a:gd name="T6" fmla="*/ 0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0" y="0"/>
                    </a:moveTo>
                    <a:cubicBezTo>
                      <a:pt x="2" y="2"/>
                      <a:pt x="1" y="4"/>
                      <a:pt x="2" y="4"/>
                    </a:cubicBezTo>
                    <a:cubicBezTo>
                      <a:pt x="1" y="0"/>
                      <a:pt x="6" y="6"/>
                      <a:pt x="7" y="4"/>
                    </a:cubicBezTo>
                    <a:cubicBezTo>
                      <a:pt x="5" y="0"/>
                      <a:pt x="3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5" name="任意多边形: 形状 764">
                <a:extLst>
                  <a:ext uri="{FF2B5EF4-FFF2-40B4-BE49-F238E27FC236}">
                    <a16:creationId xmlns:a16="http://schemas.microsoft.com/office/drawing/2014/main" id="{B7D0EF53-A2B7-4320-9FD3-3BE30CFB45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31" y="1417"/>
                <a:ext cx="23" cy="10"/>
              </a:xfrm>
              <a:custGeom>
                <a:avLst/>
                <a:gdLst>
                  <a:gd name="T0" fmla="*/ 10 w 11"/>
                  <a:gd name="T1" fmla="*/ 0 h 5"/>
                  <a:gd name="T2" fmla="*/ 0 w 11"/>
                  <a:gd name="T3" fmla="*/ 0 h 5"/>
                  <a:gd name="T4" fmla="*/ 4 w 11"/>
                  <a:gd name="T5" fmla="*/ 5 h 5"/>
                  <a:gd name="T6" fmla="*/ 2 w 11"/>
                  <a:gd name="T7" fmla="*/ 1 h 5"/>
                  <a:gd name="T8" fmla="*/ 9 w 11"/>
                  <a:gd name="T9" fmla="*/ 5 h 5"/>
                  <a:gd name="T10" fmla="*/ 10 w 11"/>
                  <a:gd name="T11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5">
                    <a:moveTo>
                      <a:pt x="10" y="0"/>
                    </a:moveTo>
                    <a:cubicBezTo>
                      <a:pt x="6" y="2"/>
                      <a:pt x="3" y="0"/>
                      <a:pt x="0" y="0"/>
                    </a:cubicBezTo>
                    <a:cubicBezTo>
                      <a:pt x="0" y="2"/>
                      <a:pt x="2" y="4"/>
                      <a:pt x="4" y="5"/>
                    </a:cubicBezTo>
                    <a:cubicBezTo>
                      <a:pt x="3" y="3"/>
                      <a:pt x="2" y="2"/>
                      <a:pt x="2" y="1"/>
                    </a:cubicBezTo>
                    <a:cubicBezTo>
                      <a:pt x="4" y="3"/>
                      <a:pt x="7" y="4"/>
                      <a:pt x="9" y="5"/>
                    </a:cubicBezTo>
                    <a:cubicBezTo>
                      <a:pt x="6" y="2"/>
                      <a:pt x="11" y="2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6" name="任意多边形: 形状 765">
                <a:extLst>
                  <a:ext uri="{FF2B5EF4-FFF2-40B4-BE49-F238E27FC236}">
                    <a16:creationId xmlns:a16="http://schemas.microsoft.com/office/drawing/2014/main" id="{28974A7E-443D-4DFF-BD11-5D7AA7B4B6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91" y="1446"/>
                <a:ext cx="21" cy="21"/>
              </a:xfrm>
              <a:custGeom>
                <a:avLst/>
                <a:gdLst>
                  <a:gd name="T0" fmla="*/ 1 w 10"/>
                  <a:gd name="T1" fmla="*/ 10 h 10"/>
                  <a:gd name="T2" fmla="*/ 9 w 10"/>
                  <a:gd name="T3" fmla="*/ 3 h 10"/>
                  <a:gd name="T4" fmla="*/ 7 w 10"/>
                  <a:gd name="T5" fmla="*/ 0 h 10"/>
                  <a:gd name="T6" fmla="*/ 5 w 10"/>
                  <a:gd name="T7" fmla="*/ 1 h 10"/>
                  <a:gd name="T8" fmla="*/ 1 w 10"/>
                  <a:gd name="T9" fmla="*/ 7 h 10"/>
                  <a:gd name="T10" fmla="*/ 2 w 10"/>
                  <a:gd name="T11" fmla="*/ 7 h 10"/>
                  <a:gd name="T12" fmla="*/ 1 w 10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10">
                    <a:moveTo>
                      <a:pt x="1" y="10"/>
                    </a:moveTo>
                    <a:cubicBezTo>
                      <a:pt x="4" y="10"/>
                      <a:pt x="6" y="5"/>
                      <a:pt x="9" y="3"/>
                    </a:cubicBezTo>
                    <a:cubicBezTo>
                      <a:pt x="8" y="1"/>
                      <a:pt x="7" y="0"/>
                      <a:pt x="7" y="0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10" y="7"/>
                      <a:pt x="1" y="4"/>
                      <a:pt x="1" y="7"/>
                    </a:cubicBezTo>
                    <a:cubicBezTo>
                      <a:pt x="1" y="6"/>
                      <a:pt x="2" y="6"/>
                      <a:pt x="2" y="7"/>
                    </a:cubicBezTo>
                    <a:cubicBezTo>
                      <a:pt x="1" y="8"/>
                      <a:pt x="0" y="8"/>
                      <a:pt x="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7" name="任意多边形: 形状 766">
                <a:extLst>
                  <a:ext uri="{FF2B5EF4-FFF2-40B4-BE49-F238E27FC236}">
                    <a16:creationId xmlns:a16="http://schemas.microsoft.com/office/drawing/2014/main" id="{7A24E987-9532-4F7A-9CCB-C0A212EF8A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42" y="1872"/>
                <a:ext cx="15" cy="16"/>
              </a:xfrm>
              <a:custGeom>
                <a:avLst/>
                <a:gdLst>
                  <a:gd name="T0" fmla="*/ 7 w 7"/>
                  <a:gd name="T1" fmla="*/ 5 h 8"/>
                  <a:gd name="T2" fmla="*/ 5 w 7"/>
                  <a:gd name="T3" fmla="*/ 1 h 8"/>
                  <a:gd name="T4" fmla="*/ 3 w 7"/>
                  <a:gd name="T5" fmla="*/ 8 h 8"/>
                  <a:gd name="T6" fmla="*/ 7 w 7"/>
                  <a:gd name="T7" fmla="*/ 5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8">
                    <a:moveTo>
                      <a:pt x="7" y="5"/>
                    </a:moveTo>
                    <a:cubicBezTo>
                      <a:pt x="5" y="4"/>
                      <a:pt x="7" y="0"/>
                      <a:pt x="5" y="1"/>
                    </a:cubicBezTo>
                    <a:cubicBezTo>
                      <a:pt x="6" y="6"/>
                      <a:pt x="0" y="2"/>
                      <a:pt x="3" y="8"/>
                    </a:cubicBezTo>
                    <a:cubicBezTo>
                      <a:pt x="5" y="7"/>
                      <a:pt x="5" y="4"/>
                      <a:pt x="7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8" name="任意多边形: 形状 767">
                <a:extLst>
                  <a:ext uri="{FF2B5EF4-FFF2-40B4-BE49-F238E27FC236}">
                    <a16:creationId xmlns:a16="http://schemas.microsoft.com/office/drawing/2014/main" id="{DC2E7475-A0E7-42F8-BB1E-2F1BFDF90A0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61" y="1876"/>
                <a:ext cx="19" cy="25"/>
              </a:xfrm>
              <a:custGeom>
                <a:avLst/>
                <a:gdLst>
                  <a:gd name="T0" fmla="*/ 0 w 9"/>
                  <a:gd name="T1" fmla="*/ 3 h 12"/>
                  <a:gd name="T2" fmla="*/ 2 w 9"/>
                  <a:gd name="T3" fmla="*/ 12 h 12"/>
                  <a:gd name="T4" fmla="*/ 4 w 9"/>
                  <a:gd name="T5" fmla="*/ 10 h 12"/>
                  <a:gd name="T6" fmla="*/ 2 w 9"/>
                  <a:gd name="T7" fmla="*/ 4 h 12"/>
                  <a:gd name="T8" fmla="*/ 8 w 9"/>
                  <a:gd name="T9" fmla="*/ 1 h 12"/>
                  <a:gd name="T10" fmla="*/ 0 w 9"/>
                  <a:gd name="T11" fmla="*/ 3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9" h="12">
                    <a:moveTo>
                      <a:pt x="0" y="3"/>
                    </a:moveTo>
                    <a:cubicBezTo>
                      <a:pt x="1" y="6"/>
                      <a:pt x="0" y="8"/>
                      <a:pt x="2" y="12"/>
                    </a:cubicBezTo>
                    <a:cubicBezTo>
                      <a:pt x="4" y="10"/>
                      <a:pt x="4" y="10"/>
                      <a:pt x="4" y="10"/>
                    </a:cubicBezTo>
                    <a:cubicBezTo>
                      <a:pt x="4" y="8"/>
                      <a:pt x="0" y="5"/>
                      <a:pt x="2" y="4"/>
                    </a:cubicBezTo>
                    <a:cubicBezTo>
                      <a:pt x="2" y="5"/>
                      <a:pt x="9" y="4"/>
                      <a:pt x="8" y="1"/>
                    </a:cubicBezTo>
                    <a:cubicBezTo>
                      <a:pt x="4" y="0"/>
                      <a:pt x="3" y="6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69" name="任意多边形: 形状 768">
                <a:extLst>
                  <a:ext uri="{FF2B5EF4-FFF2-40B4-BE49-F238E27FC236}">
                    <a16:creationId xmlns:a16="http://schemas.microsoft.com/office/drawing/2014/main" id="{7F50BBE3-553C-49F0-815D-4164B47DFBD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28" y="1973"/>
                <a:ext cx="16" cy="15"/>
              </a:xfrm>
              <a:custGeom>
                <a:avLst/>
                <a:gdLst>
                  <a:gd name="T0" fmla="*/ 0 w 8"/>
                  <a:gd name="T1" fmla="*/ 1 h 7"/>
                  <a:gd name="T2" fmla="*/ 1 w 8"/>
                  <a:gd name="T3" fmla="*/ 6 h 7"/>
                  <a:gd name="T4" fmla="*/ 8 w 8"/>
                  <a:gd name="T5" fmla="*/ 5 h 7"/>
                  <a:gd name="T6" fmla="*/ 0 w 8"/>
                  <a:gd name="T7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7">
                    <a:moveTo>
                      <a:pt x="0" y="1"/>
                    </a:moveTo>
                    <a:cubicBezTo>
                      <a:pt x="0" y="3"/>
                      <a:pt x="0" y="4"/>
                      <a:pt x="1" y="6"/>
                    </a:cubicBezTo>
                    <a:cubicBezTo>
                      <a:pt x="5" y="7"/>
                      <a:pt x="4" y="3"/>
                      <a:pt x="8" y="5"/>
                    </a:cubicBezTo>
                    <a:cubicBezTo>
                      <a:pt x="4" y="3"/>
                      <a:pt x="4" y="0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0" name="任意多边形: 形状 769">
                <a:extLst>
                  <a:ext uri="{FF2B5EF4-FFF2-40B4-BE49-F238E27FC236}">
                    <a16:creationId xmlns:a16="http://schemas.microsoft.com/office/drawing/2014/main" id="{7429F745-9BA4-4C83-B6C1-D0ABFA38A81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90" y="1876"/>
                <a:ext cx="13" cy="20"/>
              </a:xfrm>
              <a:custGeom>
                <a:avLst/>
                <a:gdLst>
                  <a:gd name="T0" fmla="*/ 6 w 6"/>
                  <a:gd name="T1" fmla="*/ 2 h 10"/>
                  <a:gd name="T2" fmla="*/ 1 w 6"/>
                  <a:gd name="T3" fmla="*/ 2 h 10"/>
                  <a:gd name="T4" fmla="*/ 0 w 6"/>
                  <a:gd name="T5" fmla="*/ 0 h 10"/>
                  <a:gd name="T6" fmla="*/ 2 w 6"/>
                  <a:gd name="T7" fmla="*/ 8 h 10"/>
                  <a:gd name="T8" fmla="*/ 6 w 6"/>
                  <a:gd name="T9" fmla="*/ 7 h 10"/>
                  <a:gd name="T10" fmla="*/ 6 w 6"/>
                  <a:gd name="T11" fmla="*/ 2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" h="10">
                    <a:moveTo>
                      <a:pt x="6" y="2"/>
                    </a:moveTo>
                    <a:cubicBezTo>
                      <a:pt x="3" y="1"/>
                      <a:pt x="4" y="5"/>
                      <a:pt x="1" y="2"/>
                    </a:cubicBezTo>
                    <a:cubicBezTo>
                      <a:pt x="1" y="1"/>
                      <a:pt x="1" y="0"/>
                      <a:pt x="0" y="0"/>
                    </a:cubicBezTo>
                    <a:cubicBezTo>
                      <a:pt x="0" y="1"/>
                      <a:pt x="1" y="10"/>
                      <a:pt x="2" y="8"/>
                    </a:cubicBezTo>
                    <a:cubicBezTo>
                      <a:pt x="1" y="4"/>
                      <a:pt x="5" y="6"/>
                      <a:pt x="6" y="7"/>
                    </a:cubicBezTo>
                    <a:cubicBezTo>
                      <a:pt x="5" y="5"/>
                      <a:pt x="6" y="4"/>
                      <a:pt x="6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1" name="任意多边形: 形状 770">
                <a:extLst>
                  <a:ext uri="{FF2B5EF4-FFF2-40B4-BE49-F238E27FC236}">
                    <a16:creationId xmlns:a16="http://schemas.microsoft.com/office/drawing/2014/main" id="{EB16D959-52F8-40F0-9959-B415BA3DB7B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69" y="1965"/>
                <a:ext cx="10" cy="19"/>
              </a:xfrm>
              <a:custGeom>
                <a:avLst/>
                <a:gdLst>
                  <a:gd name="T0" fmla="*/ 0 w 5"/>
                  <a:gd name="T1" fmla="*/ 0 h 9"/>
                  <a:gd name="T2" fmla="*/ 3 w 5"/>
                  <a:gd name="T3" fmla="*/ 9 h 9"/>
                  <a:gd name="T4" fmla="*/ 5 w 5"/>
                  <a:gd name="T5" fmla="*/ 8 h 9"/>
                  <a:gd name="T6" fmla="*/ 0 w 5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0" y="0"/>
                    </a:moveTo>
                    <a:cubicBezTo>
                      <a:pt x="1" y="2"/>
                      <a:pt x="3" y="8"/>
                      <a:pt x="3" y="9"/>
                    </a:cubicBezTo>
                    <a:cubicBezTo>
                      <a:pt x="3" y="7"/>
                      <a:pt x="4" y="7"/>
                      <a:pt x="5" y="8"/>
                    </a:cubicBezTo>
                    <a:cubicBezTo>
                      <a:pt x="5" y="5"/>
                      <a:pt x="2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2" name="任意多边形: 形状 771">
                <a:extLst>
                  <a:ext uri="{FF2B5EF4-FFF2-40B4-BE49-F238E27FC236}">
                    <a16:creationId xmlns:a16="http://schemas.microsoft.com/office/drawing/2014/main" id="{59904D55-BF56-465A-87AB-77C33416EA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88" y="1913"/>
                <a:ext cx="18" cy="23"/>
              </a:xfrm>
              <a:custGeom>
                <a:avLst/>
                <a:gdLst>
                  <a:gd name="T0" fmla="*/ 0 w 9"/>
                  <a:gd name="T1" fmla="*/ 3 h 11"/>
                  <a:gd name="T2" fmla="*/ 6 w 9"/>
                  <a:gd name="T3" fmla="*/ 11 h 11"/>
                  <a:gd name="T4" fmla="*/ 0 w 9"/>
                  <a:gd name="T5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11">
                    <a:moveTo>
                      <a:pt x="0" y="3"/>
                    </a:moveTo>
                    <a:cubicBezTo>
                      <a:pt x="5" y="4"/>
                      <a:pt x="3" y="8"/>
                      <a:pt x="6" y="11"/>
                    </a:cubicBezTo>
                    <a:cubicBezTo>
                      <a:pt x="9" y="9"/>
                      <a:pt x="3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3" name="任意多边形: 形状 772">
                <a:extLst>
                  <a:ext uri="{FF2B5EF4-FFF2-40B4-BE49-F238E27FC236}">
                    <a16:creationId xmlns:a16="http://schemas.microsoft.com/office/drawing/2014/main" id="{7ADEA978-F3E6-4DA3-A410-4AC1A9AD594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468" y="1143"/>
                <a:ext cx="50" cy="31"/>
              </a:xfrm>
              <a:custGeom>
                <a:avLst/>
                <a:gdLst>
                  <a:gd name="T0" fmla="*/ 5 w 24"/>
                  <a:gd name="T1" fmla="*/ 10 h 15"/>
                  <a:gd name="T2" fmla="*/ 8 w 24"/>
                  <a:gd name="T3" fmla="*/ 12 h 15"/>
                  <a:gd name="T4" fmla="*/ 12 w 24"/>
                  <a:gd name="T5" fmla="*/ 7 h 15"/>
                  <a:gd name="T6" fmla="*/ 8 w 24"/>
                  <a:gd name="T7" fmla="*/ 9 h 15"/>
                  <a:gd name="T8" fmla="*/ 0 w 24"/>
                  <a:gd name="T9" fmla="*/ 13 h 15"/>
                  <a:gd name="T10" fmla="*/ 5 w 24"/>
                  <a:gd name="T11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4" h="15">
                    <a:moveTo>
                      <a:pt x="5" y="10"/>
                    </a:moveTo>
                    <a:cubicBezTo>
                      <a:pt x="6" y="11"/>
                      <a:pt x="7" y="12"/>
                      <a:pt x="8" y="12"/>
                    </a:cubicBezTo>
                    <a:cubicBezTo>
                      <a:pt x="8" y="9"/>
                      <a:pt x="12" y="11"/>
                      <a:pt x="12" y="7"/>
                    </a:cubicBezTo>
                    <a:cubicBezTo>
                      <a:pt x="24" y="0"/>
                      <a:pt x="3" y="7"/>
                      <a:pt x="8" y="9"/>
                    </a:cubicBezTo>
                    <a:cubicBezTo>
                      <a:pt x="4" y="9"/>
                      <a:pt x="1" y="8"/>
                      <a:pt x="0" y="13"/>
                    </a:cubicBezTo>
                    <a:cubicBezTo>
                      <a:pt x="4" y="15"/>
                      <a:pt x="4" y="12"/>
                      <a:pt x="5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4" name="任意多边形: 形状 773">
                <a:extLst>
                  <a:ext uri="{FF2B5EF4-FFF2-40B4-BE49-F238E27FC236}">
                    <a16:creationId xmlns:a16="http://schemas.microsoft.com/office/drawing/2014/main" id="{CF78AE44-0904-47D3-9D7F-1C42D9FC6A9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917" y="1919"/>
                <a:ext cx="21" cy="23"/>
              </a:xfrm>
              <a:custGeom>
                <a:avLst/>
                <a:gdLst>
                  <a:gd name="T0" fmla="*/ 0 w 10"/>
                  <a:gd name="T1" fmla="*/ 6 h 11"/>
                  <a:gd name="T2" fmla="*/ 9 w 10"/>
                  <a:gd name="T3" fmla="*/ 3 h 11"/>
                  <a:gd name="T4" fmla="*/ 0 w 10"/>
                  <a:gd name="T5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11">
                    <a:moveTo>
                      <a:pt x="0" y="6"/>
                    </a:moveTo>
                    <a:cubicBezTo>
                      <a:pt x="3" y="4"/>
                      <a:pt x="10" y="11"/>
                      <a:pt x="9" y="3"/>
                    </a:cubicBezTo>
                    <a:cubicBezTo>
                      <a:pt x="6" y="9"/>
                      <a:pt x="0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5" name="任意多边形: 形状 774">
                <a:extLst>
                  <a:ext uri="{FF2B5EF4-FFF2-40B4-BE49-F238E27FC236}">
                    <a16:creationId xmlns:a16="http://schemas.microsoft.com/office/drawing/2014/main" id="{A0B86CD3-2D9B-4EDE-A09B-346389DA6A2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734" y="979"/>
                <a:ext cx="112" cy="77"/>
              </a:xfrm>
              <a:custGeom>
                <a:avLst/>
                <a:gdLst>
                  <a:gd name="T0" fmla="*/ 9 w 54"/>
                  <a:gd name="T1" fmla="*/ 37 h 37"/>
                  <a:gd name="T2" fmla="*/ 27 w 54"/>
                  <a:gd name="T3" fmla="*/ 22 h 37"/>
                  <a:gd name="T4" fmla="*/ 25 w 54"/>
                  <a:gd name="T5" fmla="*/ 21 h 37"/>
                  <a:gd name="T6" fmla="*/ 40 w 54"/>
                  <a:gd name="T7" fmla="*/ 12 h 37"/>
                  <a:gd name="T8" fmla="*/ 38 w 54"/>
                  <a:gd name="T9" fmla="*/ 10 h 37"/>
                  <a:gd name="T10" fmla="*/ 54 w 54"/>
                  <a:gd name="T11" fmla="*/ 1 h 37"/>
                  <a:gd name="T12" fmla="*/ 41 w 54"/>
                  <a:gd name="T13" fmla="*/ 3 h 37"/>
                  <a:gd name="T14" fmla="*/ 16 w 54"/>
                  <a:gd name="T15" fmla="*/ 14 h 37"/>
                  <a:gd name="T16" fmla="*/ 0 w 54"/>
                  <a:gd name="T17" fmla="*/ 23 h 37"/>
                  <a:gd name="T18" fmla="*/ 9 w 54"/>
                  <a:gd name="T19" fmla="*/ 37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" h="37">
                    <a:moveTo>
                      <a:pt x="9" y="37"/>
                    </a:moveTo>
                    <a:cubicBezTo>
                      <a:pt x="14" y="30"/>
                      <a:pt x="22" y="26"/>
                      <a:pt x="27" y="22"/>
                    </a:cubicBezTo>
                    <a:cubicBezTo>
                      <a:pt x="26" y="22"/>
                      <a:pt x="25" y="22"/>
                      <a:pt x="25" y="21"/>
                    </a:cubicBezTo>
                    <a:cubicBezTo>
                      <a:pt x="30" y="17"/>
                      <a:pt x="36" y="14"/>
                      <a:pt x="40" y="12"/>
                    </a:cubicBezTo>
                    <a:cubicBezTo>
                      <a:pt x="39" y="12"/>
                      <a:pt x="38" y="11"/>
                      <a:pt x="38" y="10"/>
                    </a:cubicBezTo>
                    <a:cubicBezTo>
                      <a:pt x="43" y="4"/>
                      <a:pt x="54" y="10"/>
                      <a:pt x="54" y="1"/>
                    </a:cubicBezTo>
                    <a:cubicBezTo>
                      <a:pt x="49" y="0"/>
                      <a:pt x="46" y="9"/>
                      <a:pt x="41" y="3"/>
                    </a:cubicBezTo>
                    <a:cubicBezTo>
                      <a:pt x="33" y="5"/>
                      <a:pt x="27" y="16"/>
                      <a:pt x="16" y="14"/>
                    </a:cubicBezTo>
                    <a:cubicBezTo>
                      <a:pt x="16" y="23"/>
                      <a:pt x="5" y="24"/>
                      <a:pt x="0" y="23"/>
                    </a:cubicBezTo>
                    <a:cubicBezTo>
                      <a:pt x="4" y="24"/>
                      <a:pt x="12" y="29"/>
                      <a:pt x="9" y="3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6" name="任意多边形: 形状 775">
                <a:extLst>
                  <a:ext uri="{FF2B5EF4-FFF2-40B4-BE49-F238E27FC236}">
                    <a16:creationId xmlns:a16="http://schemas.microsoft.com/office/drawing/2014/main" id="{0DC9AE79-E04E-4B38-B175-8AFC13EBCA88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844" y="963"/>
                <a:ext cx="35" cy="22"/>
              </a:xfrm>
              <a:custGeom>
                <a:avLst/>
                <a:gdLst>
                  <a:gd name="T0" fmla="*/ 10 w 17"/>
                  <a:gd name="T1" fmla="*/ 8 h 11"/>
                  <a:gd name="T2" fmla="*/ 14 w 17"/>
                  <a:gd name="T3" fmla="*/ 1 h 11"/>
                  <a:gd name="T4" fmla="*/ 1 w 17"/>
                  <a:gd name="T5" fmla="*/ 4 h 11"/>
                  <a:gd name="T6" fmla="*/ 0 w 17"/>
                  <a:gd name="T7" fmla="*/ 4 h 11"/>
                  <a:gd name="T8" fmla="*/ 3 w 17"/>
                  <a:gd name="T9" fmla="*/ 9 h 11"/>
                  <a:gd name="T10" fmla="*/ 10 w 17"/>
                  <a:gd name="T11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" h="11">
                    <a:moveTo>
                      <a:pt x="10" y="8"/>
                    </a:moveTo>
                    <a:cubicBezTo>
                      <a:pt x="4" y="0"/>
                      <a:pt x="17" y="8"/>
                      <a:pt x="14" y="1"/>
                    </a:cubicBezTo>
                    <a:cubicBezTo>
                      <a:pt x="9" y="4"/>
                      <a:pt x="4" y="4"/>
                      <a:pt x="1" y="4"/>
                    </a:cubicBezTo>
                    <a:cubicBezTo>
                      <a:pt x="1" y="4"/>
                      <a:pt x="0" y="3"/>
                      <a:pt x="0" y="4"/>
                    </a:cubicBezTo>
                    <a:cubicBezTo>
                      <a:pt x="2" y="6"/>
                      <a:pt x="3" y="6"/>
                      <a:pt x="3" y="9"/>
                    </a:cubicBezTo>
                    <a:cubicBezTo>
                      <a:pt x="5" y="11"/>
                      <a:pt x="8" y="7"/>
                      <a:pt x="1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7" name="任意多边形: 形状 776">
                <a:extLst>
                  <a:ext uri="{FF2B5EF4-FFF2-40B4-BE49-F238E27FC236}">
                    <a16:creationId xmlns:a16="http://schemas.microsoft.com/office/drawing/2014/main" id="{3D4C033B-DD82-4901-9E41-8C9728DF58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083" y="822"/>
                <a:ext cx="27" cy="20"/>
              </a:xfrm>
              <a:custGeom>
                <a:avLst/>
                <a:gdLst>
                  <a:gd name="T0" fmla="*/ 10 w 13"/>
                  <a:gd name="T1" fmla="*/ 10 h 10"/>
                  <a:gd name="T2" fmla="*/ 13 w 13"/>
                  <a:gd name="T3" fmla="*/ 3 h 10"/>
                  <a:gd name="T4" fmla="*/ 8 w 13"/>
                  <a:gd name="T5" fmla="*/ 2 h 10"/>
                  <a:gd name="T6" fmla="*/ 10 w 13"/>
                  <a:gd name="T7" fmla="*/ 6 h 10"/>
                  <a:gd name="T8" fmla="*/ 4 w 13"/>
                  <a:gd name="T9" fmla="*/ 9 h 10"/>
                  <a:gd name="T10" fmla="*/ 10 w 13"/>
                  <a:gd name="T11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3" h="10">
                    <a:moveTo>
                      <a:pt x="10" y="10"/>
                    </a:moveTo>
                    <a:cubicBezTo>
                      <a:pt x="13" y="8"/>
                      <a:pt x="12" y="5"/>
                      <a:pt x="13" y="3"/>
                    </a:cubicBezTo>
                    <a:cubicBezTo>
                      <a:pt x="12" y="0"/>
                      <a:pt x="7" y="0"/>
                      <a:pt x="8" y="2"/>
                    </a:cubicBezTo>
                    <a:cubicBezTo>
                      <a:pt x="10" y="2"/>
                      <a:pt x="12" y="4"/>
                      <a:pt x="10" y="6"/>
                    </a:cubicBezTo>
                    <a:cubicBezTo>
                      <a:pt x="8" y="6"/>
                      <a:pt x="0" y="2"/>
                      <a:pt x="4" y="9"/>
                    </a:cubicBezTo>
                    <a:cubicBezTo>
                      <a:pt x="6" y="7"/>
                      <a:pt x="8" y="5"/>
                      <a:pt x="1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8" name="任意多边形: 形状 777">
                <a:extLst>
                  <a:ext uri="{FF2B5EF4-FFF2-40B4-BE49-F238E27FC236}">
                    <a16:creationId xmlns:a16="http://schemas.microsoft.com/office/drawing/2014/main" id="{27F1CAFB-5AFA-46B9-98C8-5132B1A8FD3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112" y="788"/>
                <a:ext cx="42" cy="52"/>
              </a:xfrm>
              <a:custGeom>
                <a:avLst/>
                <a:gdLst>
                  <a:gd name="T0" fmla="*/ 4 w 20"/>
                  <a:gd name="T1" fmla="*/ 25 h 25"/>
                  <a:gd name="T2" fmla="*/ 13 w 20"/>
                  <a:gd name="T3" fmla="*/ 7 h 25"/>
                  <a:gd name="T4" fmla="*/ 18 w 20"/>
                  <a:gd name="T5" fmla="*/ 8 h 25"/>
                  <a:gd name="T6" fmla="*/ 16 w 20"/>
                  <a:gd name="T7" fmla="*/ 11 h 25"/>
                  <a:gd name="T8" fmla="*/ 20 w 20"/>
                  <a:gd name="T9" fmla="*/ 10 h 25"/>
                  <a:gd name="T10" fmla="*/ 11 w 20"/>
                  <a:gd name="T11" fmla="*/ 0 h 25"/>
                  <a:gd name="T12" fmla="*/ 0 w 20"/>
                  <a:gd name="T13" fmla="*/ 16 h 25"/>
                  <a:gd name="T14" fmla="*/ 4 w 20"/>
                  <a:gd name="T15" fmla="*/ 25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0" h="25">
                    <a:moveTo>
                      <a:pt x="4" y="25"/>
                    </a:moveTo>
                    <a:cubicBezTo>
                      <a:pt x="8" y="19"/>
                      <a:pt x="15" y="17"/>
                      <a:pt x="13" y="7"/>
                    </a:cubicBezTo>
                    <a:cubicBezTo>
                      <a:pt x="15" y="9"/>
                      <a:pt x="16" y="6"/>
                      <a:pt x="18" y="8"/>
                    </a:cubicBezTo>
                    <a:cubicBezTo>
                      <a:pt x="17" y="9"/>
                      <a:pt x="15" y="10"/>
                      <a:pt x="16" y="11"/>
                    </a:cubicBezTo>
                    <a:cubicBezTo>
                      <a:pt x="17" y="9"/>
                      <a:pt x="19" y="12"/>
                      <a:pt x="20" y="10"/>
                    </a:cubicBezTo>
                    <a:cubicBezTo>
                      <a:pt x="15" y="5"/>
                      <a:pt x="14" y="6"/>
                      <a:pt x="11" y="0"/>
                    </a:cubicBezTo>
                    <a:cubicBezTo>
                      <a:pt x="16" y="11"/>
                      <a:pt x="4" y="15"/>
                      <a:pt x="0" y="16"/>
                    </a:cubicBezTo>
                    <a:cubicBezTo>
                      <a:pt x="5" y="15"/>
                      <a:pt x="3" y="21"/>
                      <a:pt x="4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79" name="任意多边形: 形状 778">
                <a:extLst>
                  <a:ext uri="{FF2B5EF4-FFF2-40B4-BE49-F238E27FC236}">
                    <a16:creationId xmlns:a16="http://schemas.microsoft.com/office/drawing/2014/main" id="{D315E76A-B345-4DBF-BA19-CAEC46625D6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203" y="753"/>
                <a:ext cx="17" cy="8"/>
              </a:xfrm>
              <a:custGeom>
                <a:avLst/>
                <a:gdLst>
                  <a:gd name="T0" fmla="*/ 8 w 8"/>
                  <a:gd name="T1" fmla="*/ 2 h 4"/>
                  <a:gd name="T2" fmla="*/ 0 w 8"/>
                  <a:gd name="T3" fmla="*/ 0 h 4"/>
                  <a:gd name="T4" fmla="*/ 8 w 8"/>
                  <a:gd name="T5" fmla="*/ 2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8" y="2"/>
                    </a:moveTo>
                    <a:cubicBezTo>
                      <a:pt x="5" y="2"/>
                      <a:pt x="3" y="0"/>
                      <a:pt x="0" y="0"/>
                    </a:cubicBezTo>
                    <a:cubicBezTo>
                      <a:pt x="2" y="4"/>
                      <a:pt x="8" y="4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0" name="任意多边形: 形状 779">
                <a:extLst>
                  <a:ext uri="{FF2B5EF4-FFF2-40B4-BE49-F238E27FC236}">
                    <a16:creationId xmlns:a16="http://schemas.microsoft.com/office/drawing/2014/main" id="{57CB57B6-F4B5-4494-B391-922B7F76442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73" y="745"/>
                <a:ext cx="22" cy="18"/>
              </a:xfrm>
              <a:custGeom>
                <a:avLst/>
                <a:gdLst>
                  <a:gd name="T0" fmla="*/ 8 w 11"/>
                  <a:gd name="T1" fmla="*/ 9 h 9"/>
                  <a:gd name="T2" fmla="*/ 7 w 11"/>
                  <a:gd name="T3" fmla="*/ 2 h 9"/>
                  <a:gd name="T4" fmla="*/ 4 w 11"/>
                  <a:gd name="T5" fmla="*/ 0 h 9"/>
                  <a:gd name="T6" fmla="*/ 3 w 11"/>
                  <a:gd name="T7" fmla="*/ 5 h 9"/>
                  <a:gd name="T8" fmla="*/ 8 w 11"/>
                  <a:gd name="T9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9">
                    <a:moveTo>
                      <a:pt x="8" y="9"/>
                    </a:moveTo>
                    <a:cubicBezTo>
                      <a:pt x="10" y="7"/>
                      <a:pt x="11" y="1"/>
                      <a:pt x="7" y="2"/>
                    </a:cubicBezTo>
                    <a:cubicBezTo>
                      <a:pt x="9" y="8"/>
                      <a:pt x="5" y="0"/>
                      <a:pt x="4" y="0"/>
                    </a:cubicBezTo>
                    <a:cubicBezTo>
                      <a:pt x="7" y="3"/>
                      <a:pt x="0" y="2"/>
                      <a:pt x="3" y="5"/>
                    </a:cubicBezTo>
                    <a:cubicBezTo>
                      <a:pt x="6" y="3"/>
                      <a:pt x="7" y="5"/>
                      <a:pt x="8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1" name="任意多边形: 形状 780">
                <a:extLst>
                  <a:ext uri="{FF2B5EF4-FFF2-40B4-BE49-F238E27FC236}">
                    <a16:creationId xmlns:a16="http://schemas.microsoft.com/office/drawing/2014/main" id="{F3D19F34-2CB6-4E3B-99E2-1DEAC63768C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773" y="705"/>
                <a:ext cx="20" cy="21"/>
              </a:xfrm>
              <a:custGeom>
                <a:avLst/>
                <a:gdLst>
                  <a:gd name="T0" fmla="*/ 7 w 10"/>
                  <a:gd name="T1" fmla="*/ 0 h 10"/>
                  <a:gd name="T2" fmla="*/ 2 w 10"/>
                  <a:gd name="T3" fmla="*/ 10 h 10"/>
                  <a:gd name="T4" fmla="*/ 9 w 10"/>
                  <a:gd name="T5" fmla="*/ 6 h 10"/>
                  <a:gd name="T6" fmla="*/ 7 w 10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0">
                    <a:moveTo>
                      <a:pt x="7" y="0"/>
                    </a:moveTo>
                    <a:cubicBezTo>
                      <a:pt x="5" y="3"/>
                      <a:pt x="0" y="5"/>
                      <a:pt x="2" y="10"/>
                    </a:cubicBezTo>
                    <a:cubicBezTo>
                      <a:pt x="4" y="7"/>
                      <a:pt x="4" y="2"/>
                      <a:pt x="9" y="6"/>
                    </a:cubicBezTo>
                    <a:cubicBezTo>
                      <a:pt x="7" y="3"/>
                      <a:pt x="10" y="0"/>
                      <a:pt x="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2" name="任意多边形: 形状 781">
                <a:extLst>
                  <a:ext uri="{FF2B5EF4-FFF2-40B4-BE49-F238E27FC236}">
                    <a16:creationId xmlns:a16="http://schemas.microsoft.com/office/drawing/2014/main" id="{2906D58A-1762-4A12-9198-9CCB15251EC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42" y="479"/>
                <a:ext cx="14" cy="17"/>
              </a:xfrm>
              <a:custGeom>
                <a:avLst/>
                <a:gdLst>
                  <a:gd name="T0" fmla="*/ 5 w 7"/>
                  <a:gd name="T1" fmla="*/ 4 h 8"/>
                  <a:gd name="T2" fmla="*/ 6 w 7"/>
                  <a:gd name="T3" fmla="*/ 3 h 8"/>
                  <a:gd name="T4" fmla="*/ 5 w 7"/>
                  <a:gd name="T5" fmla="*/ 3 h 8"/>
                  <a:gd name="T6" fmla="*/ 5 w 7"/>
                  <a:gd name="T7" fmla="*/ 1 h 8"/>
                  <a:gd name="T8" fmla="*/ 0 w 7"/>
                  <a:gd name="T9" fmla="*/ 2 h 8"/>
                  <a:gd name="T10" fmla="*/ 3 w 7"/>
                  <a:gd name="T11" fmla="*/ 8 h 8"/>
                  <a:gd name="T12" fmla="*/ 5 w 7"/>
                  <a:gd name="T13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" h="8">
                    <a:moveTo>
                      <a:pt x="5" y="4"/>
                    </a:moveTo>
                    <a:cubicBezTo>
                      <a:pt x="6" y="4"/>
                      <a:pt x="7" y="5"/>
                      <a:pt x="6" y="3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2"/>
                      <a:pt x="6" y="2"/>
                      <a:pt x="5" y="1"/>
                    </a:cubicBezTo>
                    <a:cubicBezTo>
                      <a:pt x="4" y="3"/>
                      <a:pt x="2" y="0"/>
                      <a:pt x="0" y="2"/>
                    </a:cubicBezTo>
                    <a:cubicBezTo>
                      <a:pt x="2" y="5"/>
                      <a:pt x="3" y="7"/>
                      <a:pt x="3" y="8"/>
                    </a:cubicBezTo>
                    <a:cubicBezTo>
                      <a:pt x="6" y="8"/>
                      <a:pt x="3" y="4"/>
                      <a:pt x="5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3" name="任意多边形: 形状 782">
                <a:extLst>
                  <a:ext uri="{FF2B5EF4-FFF2-40B4-BE49-F238E27FC236}">
                    <a16:creationId xmlns:a16="http://schemas.microsoft.com/office/drawing/2014/main" id="{D77593FC-C213-4128-8F6B-97CCD8195E9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800" y="682"/>
                <a:ext cx="39" cy="23"/>
              </a:xfrm>
              <a:custGeom>
                <a:avLst/>
                <a:gdLst>
                  <a:gd name="T0" fmla="*/ 3 w 19"/>
                  <a:gd name="T1" fmla="*/ 9 h 11"/>
                  <a:gd name="T2" fmla="*/ 19 w 19"/>
                  <a:gd name="T3" fmla="*/ 8 h 11"/>
                  <a:gd name="T4" fmla="*/ 12 w 19"/>
                  <a:gd name="T5" fmla="*/ 8 h 11"/>
                  <a:gd name="T6" fmla="*/ 3 w 19"/>
                  <a:gd name="T7" fmla="*/ 9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11">
                    <a:moveTo>
                      <a:pt x="3" y="9"/>
                    </a:moveTo>
                    <a:cubicBezTo>
                      <a:pt x="8" y="9"/>
                      <a:pt x="17" y="11"/>
                      <a:pt x="19" y="8"/>
                    </a:cubicBezTo>
                    <a:cubicBezTo>
                      <a:pt x="15" y="10"/>
                      <a:pt x="12" y="1"/>
                      <a:pt x="12" y="8"/>
                    </a:cubicBezTo>
                    <a:cubicBezTo>
                      <a:pt x="9" y="6"/>
                      <a:pt x="0" y="0"/>
                      <a:pt x="3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4" name="任意多边形: 形状 783">
                <a:extLst>
                  <a:ext uri="{FF2B5EF4-FFF2-40B4-BE49-F238E27FC236}">
                    <a16:creationId xmlns:a16="http://schemas.microsoft.com/office/drawing/2014/main" id="{07C9ECAD-EAC8-4EA3-99DF-23F31B75BA6D}"/>
                  </a:ext>
                </a:extLst>
              </p:cNvPr>
              <p:cNvSpPr>
                <a:spLocks noEditPoints="1"/>
              </p:cNvSpPr>
              <p:nvPr userDrawn="1"/>
            </p:nvSpPr>
            <p:spPr bwMode="auto">
              <a:xfrm>
                <a:off x="3827" y="670"/>
                <a:ext cx="68" cy="58"/>
              </a:xfrm>
              <a:custGeom>
                <a:avLst/>
                <a:gdLst>
                  <a:gd name="T0" fmla="*/ 2 w 33"/>
                  <a:gd name="T1" fmla="*/ 9 h 28"/>
                  <a:gd name="T2" fmla="*/ 6 w 33"/>
                  <a:gd name="T3" fmla="*/ 10 h 28"/>
                  <a:gd name="T4" fmla="*/ 5 w 33"/>
                  <a:gd name="T5" fmla="*/ 12 h 28"/>
                  <a:gd name="T6" fmla="*/ 9 w 33"/>
                  <a:gd name="T7" fmla="*/ 16 h 28"/>
                  <a:gd name="T8" fmla="*/ 11 w 33"/>
                  <a:gd name="T9" fmla="*/ 8 h 28"/>
                  <a:gd name="T10" fmla="*/ 14 w 33"/>
                  <a:gd name="T11" fmla="*/ 14 h 28"/>
                  <a:gd name="T12" fmla="*/ 11 w 33"/>
                  <a:gd name="T13" fmla="*/ 14 h 28"/>
                  <a:gd name="T14" fmla="*/ 12 w 33"/>
                  <a:gd name="T15" fmla="*/ 23 h 28"/>
                  <a:gd name="T16" fmla="*/ 14 w 33"/>
                  <a:gd name="T17" fmla="*/ 18 h 28"/>
                  <a:gd name="T18" fmla="*/ 23 w 33"/>
                  <a:gd name="T19" fmla="*/ 22 h 28"/>
                  <a:gd name="T20" fmla="*/ 23 w 33"/>
                  <a:gd name="T21" fmla="*/ 25 h 28"/>
                  <a:gd name="T22" fmla="*/ 28 w 33"/>
                  <a:gd name="T23" fmla="*/ 26 h 28"/>
                  <a:gd name="T24" fmla="*/ 24 w 33"/>
                  <a:gd name="T25" fmla="*/ 21 h 28"/>
                  <a:gd name="T26" fmla="*/ 29 w 33"/>
                  <a:gd name="T27" fmla="*/ 24 h 28"/>
                  <a:gd name="T28" fmla="*/ 33 w 33"/>
                  <a:gd name="T29" fmla="*/ 21 h 28"/>
                  <a:gd name="T30" fmla="*/ 27 w 33"/>
                  <a:gd name="T31" fmla="*/ 16 h 28"/>
                  <a:gd name="T32" fmla="*/ 25 w 33"/>
                  <a:gd name="T33" fmla="*/ 19 h 28"/>
                  <a:gd name="T34" fmla="*/ 21 w 33"/>
                  <a:gd name="T35" fmla="*/ 19 h 28"/>
                  <a:gd name="T36" fmla="*/ 18 w 33"/>
                  <a:gd name="T37" fmla="*/ 16 h 28"/>
                  <a:gd name="T38" fmla="*/ 22 w 33"/>
                  <a:gd name="T39" fmla="*/ 10 h 28"/>
                  <a:gd name="T40" fmla="*/ 19 w 33"/>
                  <a:gd name="T41" fmla="*/ 6 h 28"/>
                  <a:gd name="T42" fmla="*/ 11 w 33"/>
                  <a:gd name="T43" fmla="*/ 5 h 28"/>
                  <a:gd name="T44" fmla="*/ 13 w 33"/>
                  <a:gd name="T45" fmla="*/ 6 h 28"/>
                  <a:gd name="T46" fmla="*/ 2 w 33"/>
                  <a:gd name="T47" fmla="*/ 3 h 28"/>
                  <a:gd name="T48" fmla="*/ 2 w 33"/>
                  <a:gd name="T49" fmla="*/ 9 h 28"/>
                  <a:gd name="T50" fmla="*/ 17 w 33"/>
                  <a:gd name="T51" fmla="*/ 10 h 28"/>
                  <a:gd name="T52" fmla="*/ 17 w 33"/>
                  <a:gd name="T53" fmla="*/ 16 h 28"/>
                  <a:gd name="T54" fmla="*/ 17 w 33"/>
                  <a:gd name="T55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3" h="28">
                    <a:moveTo>
                      <a:pt x="2" y="9"/>
                    </a:moveTo>
                    <a:cubicBezTo>
                      <a:pt x="3" y="10"/>
                      <a:pt x="5" y="8"/>
                      <a:pt x="6" y="10"/>
                    </a:cubicBezTo>
                    <a:cubicBezTo>
                      <a:pt x="7" y="11"/>
                      <a:pt x="6" y="11"/>
                      <a:pt x="5" y="12"/>
                    </a:cubicBezTo>
                    <a:cubicBezTo>
                      <a:pt x="6" y="14"/>
                      <a:pt x="7" y="15"/>
                      <a:pt x="9" y="16"/>
                    </a:cubicBezTo>
                    <a:cubicBezTo>
                      <a:pt x="5" y="11"/>
                      <a:pt x="11" y="12"/>
                      <a:pt x="11" y="8"/>
                    </a:cubicBezTo>
                    <a:cubicBezTo>
                      <a:pt x="13" y="10"/>
                      <a:pt x="15" y="11"/>
                      <a:pt x="14" y="14"/>
                    </a:cubicBezTo>
                    <a:cubicBezTo>
                      <a:pt x="13" y="14"/>
                      <a:pt x="12" y="13"/>
                      <a:pt x="11" y="14"/>
                    </a:cubicBezTo>
                    <a:cubicBezTo>
                      <a:pt x="16" y="18"/>
                      <a:pt x="10" y="19"/>
                      <a:pt x="12" y="23"/>
                    </a:cubicBezTo>
                    <a:cubicBezTo>
                      <a:pt x="15" y="24"/>
                      <a:pt x="14" y="20"/>
                      <a:pt x="14" y="18"/>
                    </a:cubicBezTo>
                    <a:cubicBezTo>
                      <a:pt x="17" y="18"/>
                      <a:pt x="20" y="19"/>
                      <a:pt x="23" y="22"/>
                    </a:cubicBezTo>
                    <a:cubicBezTo>
                      <a:pt x="22" y="22"/>
                      <a:pt x="22" y="24"/>
                      <a:pt x="23" y="25"/>
                    </a:cubicBezTo>
                    <a:cubicBezTo>
                      <a:pt x="24" y="26"/>
                      <a:pt x="26" y="28"/>
                      <a:pt x="28" y="26"/>
                    </a:cubicBezTo>
                    <a:cubicBezTo>
                      <a:pt x="27" y="23"/>
                      <a:pt x="25" y="25"/>
                      <a:pt x="24" y="21"/>
                    </a:cubicBezTo>
                    <a:cubicBezTo>
                      <a:pt x="28" y="23"/>
                      <a:pt x="27" y="18"/>
                      <a:pt x="29" y="24"/>
                    </a:cubicBezTo>
                    <a:cubicBezTo>
                      <a:pt x="31" y="23"/>
                      <a:pt x="33" y="25"/>
                      <a:pt x="33" y="21"/>
                    </a:cubicBezTo>
                    <a:cubicBezTo>
                      <a:pt x="31" y="20"/>
                      <a:pt x="29" y="18"/>
                      <a:pt x="27" y="16"/>
                    </a:cubicBezTo>
                    <a:cubicBezTo>
                      <a:pt x="28" y="18"/>
                      <a:pt x="26" y="18"/>
                      <a:pt x="25" y="19"/>
                    </a:cubicBezTo>
                    <a:cubicBezTo>
                      <a:pt x="24" y="15"/>
                      <a:pt x="22" y="18"/>
                      <a:pt x="21" y="19"/>
                    </a:cubicBezTo>
                    <a:cubicBezTo>
                      <a:pt x="20" y="17"/>
                      <a:pt x="19" y="17"/>
                      <a:pt x="18" y="16"/>
                    </a:cubicBezTo>
                    <a:cubicBezTo>
                      <a:pt x="20" y="15"/>
                      <a:pt x="22" y="13"/>
                      <a:pt x="22" y="10"/>
                    </a:cubicBezTo>
                    <a:cubicBezTo>
                      <a:pt x="19" y="11"/>
                      <a:pt x="18" y="8"/>
                      <a:pt x="19" y="6"/>
                    </a:cubicBezTo>
                    <a:cubicBezTo>
                      <a:pt x="17" y="7"/>
                      <a:pt x="11" y="0"/>
                      <a:pt x="11" y="5"/>
                    </a:cubicBezTo>
                    <a:cubicBezTo>
                      <a:pt x="12" y="4"/>
                      <a:pt x="14" y="5"/>
                      <a:pt x="13" y="6"/>
                    </a:cubicBezTo>
                    <a:cubicBezTo>
                      <a:pt x="10" y="6"/>
                      <a:pt x="4" y="10"/>
                      <a:pt x="2" y="3"/>
                    </a:cubicBezTo>
                    <a:cubicBezTo>
                      <a:pt x="0" y="4"/>
                      <a:pt x="2" y="7"/>
                      <a:pt x="2" y="9"/>
                    </a:cubicBezTo>
                    <a:close/>
                    <a:moveTo>
                      <a:pt x="17" y="10"/>
                    </a:moveTo>
                    <a:cubicBezTo>
                      <a:pt x="20" y="14"/>
                      <a:pt x="16" y="14"/>
                      <a:pt x="17" y="16"/>
                    </a:cubicBezTo>
                    <a:cubicBezTo>
                      <a:pt x="15" y="16"/>
                      <a:pt x="14" y="10"/>
                      <a:pt x="17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5" name="任意多边形: 形状 784">
                <a:extLst>
                  <a:ext uri="{FF2B5EF4-FFF2-40B4-BE49-F238E27FC236}">
                    <a16:creationId xmlns:a16="http://schemas.microsoft.com/office/drawing/2014/main" id="{CF4F35A8-BB03-4D18-9966-4BDCD6B700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3685" y="475"/>
                <a:ext cx="23" cy="21"/>
              </a:xfrm>
              <a:custGeom>
                <a:avLst/>
                <a:gdLst>
                  <a:gd name="T0" fmla="*/ 10 w 11"/>
                  <a:gd name="T1" fmla="*/ 10 h 10"/>
                  <a:gd name="T2" fmla="*/ 10 w 11"/>
                  <a:gd name="T3" fmla="*/ 5 h 10"/>
                  <a:gd name="T4" fmla="*/ 5 w 11"/>
                  <a:gd name="T5" fmla="*/ 0 h 10"/>
                  <a:gd name="T6" fmla="*/ 1 w 11"/>
                  <a:gd name="T7" fmla="*/ 5 h 10"/>
                  <a:gd name="T8" fmla="*/ 10 w 11"/>
                  <a:gd name="T9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0">
                    <a:moveTo>
                      <a:pt x="10" y="10"/>
                    </a:moveTo>
                    <a:cubicBezTo>
                      <a:pt x="8" y="7"/>
                      <a:pt x="11" y="7"/>
                      <a:pt x="10" y="5"/>
                    </a:cubicBezTo>
                    <a:cubicBezTo>
                      <a:pt x="7" y="5"/>
                      <a:pt x="8" y="0"/>
                      <a:pt x="5" y="0"/>
                    </a:cubicBezTo>
                    <a:cubicBezTo>
                      <a:pt x="8" y="6"/>
                      <a:pt x="0" y="2"/>
                      <a:pt x="1" y="5"/>
                    </a:cubicBezTo>
                    <a:cubicBezTo>
                      <a:pt x="4" y="4"/>
                      <a:pt x="8" y="5"/>
                      <a:pt x="1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6" name="任意多边形: 形状 785">
                <a:extLst>
                  <a:ext uri="{FF2B5EF4-FFF2-40B4-BE49-F238E27FC236}">
                    <a16:creationId xmlns:a16="http://schemas.microsoft.com/office/drawing/2014/main" id="{6D90E894-D836-41C3-BCF8-63576E3B376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30" y="917"/>
                <a:ext cx="19" cy="27"/>
              </a:xfrm>
              <a:custGeom>
                <a:avLst/>
                <a:gdLst>
                  <a:gd name="T0" fmla="*/ 2 w 9"/>
                  <a:gd name="T1" fmla="*/ 6 h 13"/>
                  <a:gd name="T2" fmla="*/ 5 w 9"/>
                  <a:gd name="T3" fmla="*/ 5 h 13"/>
                  <a:gd name="T4" fmla="*/ 4 w 9"/>
                  <a:gd name="T5" fmla="*/ 11 h 13"/>
                  <a:gd name="T6" fmla="*/ 2 w 9"/>
                  <a:gd name="T7" fmla="*/ 9 h 13"/>
                  <a:gd name="T8" fmla="*/ 5 w 9"/>
                  <a:gd name="T9" fmla="*/ 13 h 13"/>
                  <a:gd name="T10" fmla="*/ 9 w 9"/>
                  <a:gd name="T11" fmla="*/ 3 h 13"/>
                  <a:gd name="T12" fmla="*/ 2 w 9"/>
                  <a:gd name="T13" fmla="*/ 6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3">
                    <a:moveTo>
                      <a:pt x="2" y="6"/>
                    </a:moveTo>
                    <a:cubicBezTo>
                      <a:pt x="4" y="9"/>
                      <a:pt x="3" y="1"/>
                      <a:pt x="5" y="5"/>
                    </a:cubicBezTo>
                    <a:cubicBezTo>
                      <a:pt x="5" y="7"/>
                      <a:pt x="5" y="10"/>
                      <a:pt x="4" y="11"/>
                    </a:cubicBezTo>
                    <a:cubicBezTo>
                      <a:pt x="3" y="10"/>
                      <a:pt x="2" y="9"/>
                      <a:pt x="2" y="9"/>
                    </a:cubicBezTo>
                    <a:cubicBezTo>
                      <a:pt x="4" y="11"/>
                      <a:pt x="3" y="13"/>
                      <a:pt x="5" y="13"/>
                    </a:cubicBezTo>
                    <a:cubicBezTo>
                      <a:pt x="6" y="9"/>
                      <a:pt x="9" y="7"/>
                      <a:pt x="9" y="3"/>
                    </a:cubicBezTo>
                    <a:cubicBezTo>
                      <a:pt x="7" y="4"/>
                      <a:pt x="0" y="0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7" name="任意多边形: 形状 786">
                <a:extLst>
                  <a:ext uri="{FF2B5EF4-FFF2-40B4-BE49-F238E27FC236}">
                    <a16:creationId xmlns:a16="http://schemas.microsoft.com/office/drawing/2014/main" id="{BDDBDE22-8948-46C6-A7FD-DB2453C75C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01" y="707"/>
                <a:ext cx="48" cy="27"/>
              </a:xfrm>
              <a:custGeom>
                <a:avLst/>
                <a:gdLst>
                  <a:gd name="T0" fmla="*/ 15 w 23"/>
                  <a:gd name="T1" fmla="*/ 11 h 13"/>
                  <a:gd name="T2" fmla="*/ 8 w 23"/>
                  <a:gd name="T3" fmla="*/ 0 h 13"/>
                  <a:gd name="T4" fmla="*/ 0 w 23"/>
                  <a:gd name="T5" fmla="*/ 8 h 13"/>
                  <a:gd name="T6" fmla="*/ 14 w 23"/>
                  <a:gd name="T7" fmla="*/ 13 h 13"/>
                  <a:gd name="T8" fmla="*/ 20 w 23"/>
                  <a:gd name="T9" fmla="*/ 5 h 13"/>
                  <a:gd name="T10" fmla="*/ 15 w 23"/>
                  <a:gd name="T11" fmla="*/ 11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" h="13">
                    <a:moveTo>
                      <a:pt x="15" y="11"/>
                    </a:moveTo>
                    <a:cubicBezTo>
                      <a:pt x="12" y="9"/>
                      <a:pt x="9" y="3"/>
                      <a:pt x="8" y="0"/>
                    </a:cubicBezTo>
                    <a:cubicBezTo>
                      <a:pt x="5" y="2"/>
                      <a:pt x="1" y="3"/>
                      <a:pt x="0" y="8"/>
                    </a:cubicBezTo>
                    <a:cubicBezTo>
                      <a:pt x="6" y="0"/>
                      <a:pt x="10" y="5"/>
                      <a:pt x="14" y="13"/>
                    </a:cubicBezTo>
                    <a:cubicBezTo>
                      <a:pt x="17" y="10"/>
                      <a:pt x="23" y="9"/>
                      <a:pt x="20" y="5"/>
                    </a:cubicBezTo>
                    <a:cubicBezTo>
                      <a:pt x="19" y="7"/>
                      <a:pt x="14" y="7"/>
                      <a:pt x="15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8" name="任意多边形: 形状 787">
                <a:extLst>
                  <a:ext uri="{FF2B5EF4-FFF2-40B4-BE49-F238E27FC236}">
                    <a16:creationId xmlns:a16="http://schemas.microsoft.com/office/drawing/2014/main" id="{D13564D8-43AF-4B7C-B6E3-60EE057186F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30" y="851"/>
                <a:ext cx="16" cy="10"/>
              </a:xfrm>
              <a:custGeom>
                <a:avLst/>
                <a:gdLst>
                  <a:gd name="T0" fmla="*/ 0 w 8"/>
                  <a:gd name="T1" fmla="*/ 2 h 5"/>
                  <a:gd name="T2" fmla="*/ 6 w 8"/>
                  <a:gd name="T3" fmla="*/ 0 h 5"/>
                  <a:gd name="T4" fmla="*/ 0 w 8"/>
                  <a:gd name="T5" fmla="*/ 2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5">
                    <a:moveTo>
                      <a:pt x="0" y="2"/>
                    </a:moveTo>
                    <a:cubicBezTo>
                      <a:pt x="3" y="5"/>
                      <a:pt x="8" y="4"/>
                      <a:pt x="6" y="0"/>
                    </a:cubicBezTo>
                    <a:cubicBezTo>
                      <a:pt x="4" y="3"/>
                      <a:pt x="4" y="2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89" name="任意多边形: 形状 788">
                <a:extLst>
                  <a:ext uri="{FF2B5EF4-FFF2-40B4-BE49-F238E27FC236}">
                    <a16:creationId xmlns:a16="http://schemas.microsoft.com/office/drawing/2014/main" id="{9C4E8CD5-75F0-4F50-A59D-4897F02B3F0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17" y="828"/>
                <a:ext cx="54" cy="35"/>
              </a:xfrm>
              <a:custGeom>
                <a:avLst/>
                <a:gdLst>
                  <a:gd name="T0" fmla="*/ 7 w 26"/>
                  <a:gd name="T1" fmla="*/ 8 h 17"/>
                  <a:gd name="T2" fmla="*/ 3 w 26"/>
                  <a:gd name="T3" fmla="*/ 8 h 17"/>
                  <a:gd name="T4" fmla="*/ 6 w 26"/>
                  <a:gd name="T5" fmla="*/ 12 h 17"/>
                  <a:gd name="T6" fmla="*/ 11 w 26"/>
                  <a:gd name="T7" fmla="*/ 7 h 17"/>
                  <a:gd name="T8" fmla="*/ 16 w 26"/>
                  <a:gd name="T9" fmla="*/ 12 h 17"/>
                  <a:gd name="T10" fmla="*/ 18 w 26"/>
                  <a:gd name="T11" fmla="*/ 12 h 17"/>
                  <a:gd name="T12" fmla="*/ 15 w 26"/>
                  <a:gd name="T13" fmla="*/ 17 h 17"/>
                  <a:gd name="T14" fmla="*/ 25 w 26"/>
                  <a:gd name="T15" fmla="*/ 12 h 17"/>
                  <a:gd name="T16" fmla="*/ 25 w 26"/>
                  <a:gd name="T17" fmla="*/ 11 h 17"/>
                  <a:gd name="T18" fmla="*/ 25 w 26"/>
                  <a:gd name="T19" fmla="*/ 9 h 17"/>
                  <a:gd name="T20" fmla="*/ 20 w 26"/>
                  <a:gd name="T21" fmla="*/ 8 h 17"/>
                  <a:gd name="T22" fmla="*/ 20 w 26"/>
                  <a:gd name="T23" fmla="*/ 4 h 17"/>
                  <a:gd name="T24" fmla="*/ 15 w 26"/>
                  <a:gd name="T25" fmla="*/ 0 h 17"/>
                  <a:gd name="T26" fmla="*/ 0 w 26"/>
                  <a:gd name="T27" fmla="*/ 3 h 17"/>
                  <a:gd name="T28" fmla="*/ 7 w 26"/>
                  <a:gd name="T29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6" h="17">
                    <a:moveTo>
                      <a:pt x="7" y="8"/>
                    </a:moveTo>
                    <a:cubicBezTo>
                      <a:pt x="6" y="10"/>
                      <a:pt x="4" y="7"/>
                      <a:pt x="3" y="8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8" y="11"/>
                      <a:pt x="8" y="8"/>
                      <a:pt x="11" y="7"/>
                    </a:cubicBezTo>
                    <a:cubicBezTo>
                      <a:pt x="12" y="7"/>
                      <a:pt x="14" y="13"/>
                      <a:pt x="16" y="12"/>
                    </a:cubicBezTo>
                    <a:cubicBezTo>
                      <a:pt x="15" y="10"/>
                      <a:pt x="17" y="11"/>
                      <a:pt x="18" y="12"/>
                    </a:cubicBezTo>
                    <a:cubicBezTo>
                      <a:pt x="16" y="13"/>
                      <a:pt x="15" y="15"/>
                      <a:pt x="15" y="17"/>
                    </a:cubicBezTo>
                    <a:cubicBezTo>
                      <a:pt x="18" y="14"/>
                      <a:pt x="21" y="7"/>
                      <a:pt x="25" y="12"/>
                    </a:cubicBezTo>
                    <a:cubicBezTo>
                      <a:pt x="24" y="12"/>
                      <a:pt x="24" y="11"/>
                      <a:pt x="25" y="11"/>
                    </a:cubicBezTo>
                    <a:cubicBezTo>
                      <a:pt x="25" y="10"/>
                      <a:pt x="26" y="10"/>
                      <a:pt x="25" y="9"/>
                    </a:cubicBezTo>
                    <a:cubicBezTo>
                      <a:pt x="22" y="7"/>
                      <a:pt x="21" y="8"/>
                      <a:pt x="20" y="8"/>
                    </a:cubicBezTo>
                    <a:cubicBezTo>
                      <a:pt x="19" y="6"/>
                      <a:pt x="21" y="6"/>
                      <a:pt x="20" y="4"/>
                    </a:cubicBezTo>
                    <a:cubicBezTo>
                      <a:pt x="18" y="5"/>
                      <a:pt x="17" y="3"/>
                      <a:pt x="15" y="0"/>
                    </a:cubicBezTo>
                    <a:cubicBezTo>
                      <a:pt x="11" y="0"/>
                      <a:pt x="7" y="3"/>
                      <a:pt x="0" y="3"/>
                    </a:cubicBezTo>
                    <a:cubicBezTo>
                      <a:pt x="3" y="7"/>
                      <a:pt x="5" y="3"/>
                      <a:pt x="7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0" name="任意多边形: 形状 789">
                <a:extLst>
                  <a:ext uri="{FF2B5EF4-FFF2-40B4-BE49-F238E27FC236}">
                    <a16:creationId xmlns:a16="http://schemas.microsoft.com/office/drawing/2014/main" id="{2F1ED8E3-F4DD-4BCD-9607-A4BB5C861D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051" y="649"/>
                <a:ext cx="27" cy="25"/>
              </a:xfrm>
              <a:custGeom>
                <a:avLst/>
                <a:gdLst>
                  <a:gd name="T0" fmla="*/ 2 w 13"/>
                  <a:gd name="T1" fmla="*/ 9 h 12"/>
                  <a:gd name="T2" fmla="*/ 5 w 13"/>
                  <a:gd name="T3" fmla="*/ 8 h 12"/>
                  <a:gd name="T4" fmla="*/ 4 w 13"/>
                  <a:gd name="T5" fmla="*/ 4 h 12"/>
                  <a:gd name="T6" fmla="*/ 2 w 13"/>
                  <a:gd name="T7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3" h="12">
                    <a:moveTo>
                      <a:pt x="2" y="9"/>
                    </a:moveTo>
                    <a:cubicBezTo>
                      <a:pt x="3" y="8"/>
                      <a:pt x="4" y="8"/>
                      <a:pt x="5" y="8"/>
                    </a:cubicBezTo>
                    <a:cubicBezTo>
                      <a:pt x="4" y="3"/>
                      <a:pt x="13" y="0"/>
                      <a:pt x="4" y="4"/>
                    </a:cubicBezTo>
                    <a:cubicBezTo>
                      <a:pt x="3" y="5"/>
                      <a:pt x="0" y="12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1" name="任意多边形: 形状 790">
                <a:extLst>
                  <a:ext uri="{FF2B5EF4-FFF2-40B4-BE49-F238E27FC236}">
                    <a16:creationId xmlns:a16="http://schemas.microsoft.com/office/drawing/2014/main" id="{37C1D435-D86E-4B32-A837-03B6B9070AF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194" y="826"/>
                <a:ext cx="31" cy="27"/>
              </a:xfrm>
              <a:custGeom>
                <a:avLst/>
                <a:gdLst>
                  <a:gd name="T0" fmla="*/ 4 w 15"/>
                  <a:gd name="T1" fmla="*/ 3 h 13"/>
                  <a:gd name="T2" fmla="*/ 1 w 15"/>
                  <a:gd name="T3" fmla="*/ 7 h 13"/>
                  <a:gd name="T4" fmla="*/ 3 w 15"/>
                  <a:gd name="T5" fmla="*/ 11 h 13"/>
                  <a:gd name="T6" fmla="*/ 13 w 15"/>
                  <a:gd name="T7" fmla="*/ 8 h 13"/>
                  <a:gd name="T8" fmla="*/ 14 w 15"/>
                  <a:gd name="T9" fmla="*/ 4 h 13"/>
                  <a:gd name="T10" fmla="*/ 4 w 15"/>
                  <a:gd name="T11" fmla="*/ 3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3">
                    <a:moveTo>
                      <a:pt x="4" y="3"/>
                    </a:moveTo>
                    <a:cubicBezTo>
                      <a:pt x="2" y="4"/>
                      <a:pt x="0" y="8"/>
                      <a:pt x="1" y="7"/>
                    </a:cubicBezTo>
                    <a:cubicBezTo>
                      <a:pt x="4" y="6"/>
                      <a:pt x="3" y="9"/>
                      <a:pt x="3" y="11"/>
                    </a:cubicBezTo>
                    <a:cubicBezTo>
                      <a:pt x="8" y="12"/>
                      <a:pt x="9" y="4"/>
                      <a:pt x="13" y="8"/>
                    </a:cubicBezTo>
                    <a:cubicBezTo>
                      <a:pt x="14" y="7"/>
                      <a:pt x="15" y="6"/>
                      <a:pt x="14" y="4"/>
                    </a:cubicBezTo>
                    <a:cubicBezTo>
                      <a:pt x="11" y="0"/>
                      <a:pt x="6" y="13"/>
                      <a:pt x="4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2" name="任意多边形: 形状 791">
                <a:extLst>
                  <a:ext uri="{FF2B5EF4-FFF2-40B4-BE49-F238E27FC236}">
                    <a16:creationId xmlns:a16="http://schemas.microsoft.com/office/drawing/2014/main" id="{72A6BB07-D5E4-4398-88F1-2141874F8C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39" y="1156"/>
                <a:ext cx="16" cy="10"/>
              </a:xfrm>
              <a:custGeom>
                <a:avLst/>
                <a:gdLst>
                  <a:gd name="T0" fmla="*/ 8 w 8"/>
                  <a:gd name="T1" fmla="*/ 1 h 5"/>
                  <a:gd name="T2" fmla="*/ 3 w 8"/>
                  <a:gd name="T3" fmla="*/ 5 h 5"/>
                  <a:gd name="T4" fmla="*/ 4 w 8"/>
                  <a:gd name="T5" fmla="*/ 2 h 5"/>
                  <a:gd name="T6" fmla="*/ 7 w 8"/>
                  <a:gd name="T7" fmla="*/ 5 h 5"/>
                  <a:gd name="T8" fmla="*/ 8 w 8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5" y="0"/>
                      <a:pt x="0" y="3"/>
                      <a:pt x="3" y="5"/>
                    </a:cubicBezTo>
                    <a:cubicBezTo>
                      <a:pt x="3" y="4"/>
                      <a:pt x="3" y="3"/>
                      <a:pt x="4" y="2"/>
                    </a:cubicBezTo>
                    <a:cubicBezTo>
                      <a:pt x="4" y="4"/>
                      <a:pt x="5" y="5"/>
                      <a:pt x="7" y="5"/>
                    </a:cubicBezTo>
                    <a:cubicBezTo>
                      <a:pt x="6" y="3"/>
                      <a:pt x="8" y="3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3" name="任意多边形: 形状 792">
                <a:extLst>
                  <a:ext uri="{FF2B5EF4-FFF2-40B4-BE49-F238E27FC236}">
                    <a16:creationId xmlns:a16="http://schemas.microsoft.com/office/drawing/2014/main" id="{486A3EC0-B6C0-42C3-995E-1D8468BE742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279" y="691"/>
                <a:ext cx="48" cy="41"/>
              </a:xfrm>
              <a:custGeom>
                <a:avLst/>
                <a:gdLst>
                  <a:gd name="T0" fmla="*/ 3 w 23"/>
                  <a:gd name="T1" fmla="*/ 20 h 20"/>
                  <a:gd name="T2" fmla="*/ 21 w 23"/>
                  <a:gd name="T3" fmla="*/ 14 h 20"/>
                  <a:gd name="T4" fmla="*/ 22 w 23"/>
                  <a:gd name="T5" fmla="*/ 9 h 20"/>
                  <a:gd name="T6" fmla="*/ 22 w 23"/>
                  <a:gd name="T7" fmla="*/ 9 h 20"/>
                  <a:gd name="T8" fmla="*/ 19 w 23"/>
                  <a:gd name="T9" fmla="*/ 5 h 20"/>
                  <a:gd name="T10" fmla="*/ 19 w 23"/>
                  <a:gd name="T11" fmla="*/ 9 h 20"/>
                  <a:gd name="T12" fmla="*/ 15 w 23"/>
                  <a:gd name="T13" fmla="*/ 8 h 20"/>
                  <a:gd name="T14" fmla="*/ 15 w 23"/>
                  <a:gd name="T15" fmla="*/ 1 h 20"/>
                  <a:gd name="T16" fmla="*/ 8 w 23"/>
                  <a:gd name="T17" fmla="*/ 2 h 20"/>
                  <a:gd name="T18" fmla="*/ 3 w 23"/>
                  <a:gd name="T19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20">
                    <a:moveTo>
                      <a:pt x="3" y="20"/>
                    </a:moveTo>
                    <a:cubicBezTo>
                      <a:pt x="10" y="18"/>
                      <a:pt x="15" y="14"/>
                      <a:pt x="21" y="14"/>
                    </a:cubicBezTo>
                    <a:cubicBezTo>
                      <a:pt x="21" y="12"/>
                      <a:pt x="19" y="10"/>
                      <a:pt x="22" y="9"/>
                    </a:cubicBezTo>
                    <a:cubicBezTo>
                      <a:pt x="22" y="10"/>
                      <a:pt x="23" y="10"/>
                      <a:pt x="22" y="9"/>
                    </a:cubicBezTo>
                    <a:cubicBezTo>
                      <a:pt x="20" y="9"/>
                      <a:pt x="20" y="8"/>
                      <a:pt x="19" y="5"/>
                    </a:cubicBezTo>
                    <a:cubicBezTo>
                      <a:pt x="15" y="5"/>
                      <a:pt x="21" y="9"/>
                      <a:pt x="19" y="9"/>
                    </a:cubicBezTo>
                    <a:cubicBezTo>
                      <a:pt x="17" y="8"/>
                      <a:pt x="17" y="13"/>
                      <a:pt x="15" y="8"/>
                    </a:cubicBezTo>
                    <a:cubicBezTo>
                      <a:pt x="13" y="5"/>
                      <a:pt x="16" y="4"/>
                      <a:pt x="15" y="1"/>
                    </a:cubicBezTo>
                    <a:cubicBezTo>
                      <a:pt x="13" y="0"/>
                      <a:pt x="10" y="3"/>
                      <a:pt x="8" y="2"/>
                    </a:cubicBezTo>
                    <a:cubicBezTo>
                      <a:pt x="13" y="7"/>
                      <a:pt x="0" y="11"/>
                      <a:pt x="3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4" name="任意多边形: 形状 793">
                <a:extLst>
                  <a:ext uri="{FF2B5EF4-FFF2-40B4-BE49-F238E27FC236}">
                    <a16:creationId xmlns:a16="http://schemas.microsoft.com/office/drawing/2014/main" id="{B99282B8-4E2E-4B51-BB6A-9845294EF0E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40" y="724"/>
                <a:ext cx="14" cy="17"/>
              </a:xfrm>
              <a:custGeom>
                <a:avLst/>
                <a:gdLst>
                  <a:gd name="T0" fmla="*/ 0 w 7"/>
                  <a:gd name="T1" fmla="*/ 7 h 8"/>
                  <a:gd name="T2" fmla="*/ 3 w 7"/>
                  <a:gd name="T3" fmla="*/ 2 h 8"/>
                  <a:gd name="T4" fmla="*/ 5 w 7"/>
                  <a:gd name="T5" fmla="*/ 3 h 8"/>
                  <a:gd name="T6" fmla="*/ 3 w 7"/>
                  <a:gd name="T7" fmla="*/ 0 h 8"/>
                  <a:gd name="T8" fmla="*/ 0 w 7"/>
                  <a:gd name="T9" fmla="*/ 2 h 8"/>
                  <a:gd name="T10" fmla="*/ 0 w 7"/>
                  <a:gd name="T11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" h="8">
                    <a:moveTo>
                      <a:pt x="0" y="7"/>
                    </a:moveTo>
                    <a:cubicBezTo>
                      <a:pt x="4" y="8"/>
                      <a:pt x="1" y="4"/>
                      <a:pt x="3" y="2"/>
                    </a:cubicBezTo>
                    <a:cubicBezTo>
                      <a:pt x="3" y="2"/>
                      <a:pt x="7" y="7"/>
                      <a:pt x="5" y="3"/>
                    </a:cubicBezTo>
                    <a:cubicBezTo>
                      <a:pt x="5" y="2"/>
                      <a:pt x="4" y="2"/>
                      <a:pt x="3" y="0"/>
                    </a:cubicBezTo>
                    <a:cubicBezTo>
                      <a:pt x="1" y="2"/>
                      <a:pt x="2" y="3"/>
                      <a:pt x="0" y="2"/>
                    </a:cubicBezTo>
                    <a:cubicBezTo>
                      <a:pt x="1" y="4"/>
                      <a:pt x="0" y="5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5" name="任意多边形: 形状 794">
                <a:extLst>
                  <a:ext uri="{FF2B5EF4-FFF2-40B4-BE49-F238E27FC236}">
                    <a16:creationId xmlns:a16="http://schemas.microsoft.com/office/drawing/2014/main" id="{E536D2CA-745E-485F-8DA7-BED315C965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66" y="415"/>
                <a:ext cx="104" cy="64"/>
              </a:xfrm>
              <a:custGeom>
                <a:avLst/>
                <a:gdLst>
                  <a:gd name="T0" fmla="*/ 47 w 50"/>
                  <a:gd name="T1" fmla="*/ 26 h 31"/>
                  <a:gd name="T2" fmla="*/ 43 w 50"/>
                  <a:gd name="T3" fmla="*/ 22 h 31"/>
                  <a:gd name="T4" fmla="*/ 50 w 50"/>
                  <a:gd name="T5" fmla="*/ 18 h 31"/>
                  <a:gd name="T6" fmla="*/ 37 w 50"/>
                  <a:gd name="T7" fmla="*/ 12 h 31"/>
                  <a:gd name="T8" fmla="*/ 35 w 50"/>
                  <a:gd name="T9" fmla="*/ 5 h 31"/>
                  <a:gd name="T10" fmla="*/ 5 w 50"/>
                  <a:gd name="T11" fmla="*/ 20 h 31"/>
                  <a:gd name="T12" fmla="*/ 47 w 50"/>
                  <a:gd name="T13" fmla="*/ 26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0" h="31">
                    <a:moveTo>
                      <a:pt x="47" y="26"/>
                    </a:moveTo>
                    <a:cubicBezTo>
                      <a:pt x="46" y="22"/>
                      <a:pt x="44" y="24"/>
                      <a:pt x="43" y="22"/>
                    </a:cubicBezTo>
                    <a:cubicBezTo>
                      <a:pt x="43" y="18"/>
                      <a:pt x="47" y="20"/>
                      <a:pt x="50" y="18"/>
                    </a:cubicBezTo>
                    <a:cubicBezTo>
                      <a:pt x="45" y="15"/>
                      <a:pt x="41" y="14"/>
                      <a:pt x="37" y="12"/>
                    </a:cubicBezTo>
                    <a:cubicBezTo>
                      <a:pt x="36" y="10"/>
                      <a:pt x="37" y="8"/>
                      <a:pt x="35" y="5"/>
                    </a:cubicBezTo>
                    <a:cubicBezTo>
                      <a:pt x="23" y="3"/>
                      <a:pt x="0" y="0"/>
                      <a:pt x="5" y="20"/>
                    </a:cubicBezTo>
                    <a:cubicBezTo>
                      <a:pt x="19" y="31"/>
                      <a:pt x="33" y="21"/>
                      <a:pt x="47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6" name="任意多边形: 形状 795">
                <a:extLst>
                  <a:ext uri="{FF2B5EF4-FFF2-40B4-BE49-F238E27FC236}">
                    <a16:creationId xmlns:a16="http://schemas.microsoft.com/office/drawing/2014/main" id="{5F5EA831-B8C5-4CDD-88D5-19F29A9BDB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568" y="452"/>
                <a:ext cx="29" cy="25"/>
              </a:xfrm>
              <a:custGeom>
                <a:avLst/>
                <a:gdLst>
                  <a:gd name="T0" fmla="*/ 6 w 14"/>
                  <a:gd name="T1" fmla="*/ 9 h 12"/>
                  <a:gd name="T2" fmla="*/ 8 w 14"/>
                  <a:gd name="T3" fmla="*/ 3 h 12"/>
                  <a:gd name="T4" fmla="*/ 9 w 14"/>
                  <a:gd name="T5" fmla="*/ 11 h 12"/>
                  <a:gd name="T6" fmla="*/ 14 w 14"/>
                  <a:gd name="T7" fmla="*/ 10 h 12"/>
                  <a:gd name="T8" fmla="*/ 5 w 14"/>
                  <a:gd name="T9" fmla="*/ 0 h 12"/>
                  <a:gd name="T10" fmla="*/ 0 w 14"/>
                  <a:gd name="T11" fmla="*/ 6 h 12"/>
                  <a:gd name="T12" fmla="*/ 6 w 14"/>
                  <a:gd name="T13" fmla="*/ 9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4" h="12">
                    <a:moveTo>
                      <a:pt x="6" y="9"/>
                    </a:moveTo>
                    <a:cubicBezTo>
                      <a:pt x="7" y="7"/>
                      <a:pt x="4" y="4"/>
                      <a:pt x="8" y="3"/>
                    </a:cubicBezTo>
                    <a:cubicBezTo>
                      <a:pt x="11" y="7"/>
                      <a:pt x="10" y="9"/>
                      <a:pt x="9" y="11"/>
                    </a:cubicBezTo>
                    <a:cubicBezTo>
                      <a:pt x="11" y="9"/>
                      <a:pt x="13" y="12"/>
                      <a:pt x="14" y="10"/>
                    </a:cubicBezTo>
                    <a:cubicBezTo>
                      <a:pt x="11" y="4"/>
                      <a:pt x="8" y="4"/>
                      <a:pt x="5" y="0"/>
                    </a:cubicBezTo>
                    <a:cubicBezTo>
                      <a:pt x="5" y="3"/>
                      <a:pt x="2" y="4"/>
                      <a:pt x="0" y="6"/>
                    </a:cubicBezTo>
                    <a:cubicBezTo>
                      <a:pt x="2" y="9"/>
                      <a:pt x="4" y="10"/>
                      <a:pt x="6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7" name="任意多边形: 形状 796">
                <a:extLst>
                  <a:ext uri="{FF2B5EF4-FFF2-40B4-BE49-F238E27FC236}">
                    <a16:creationId xmlns:a16="http://schemas.microsoft.com/office/drawing/2014/main" id="{D62F6B15-8AAF-43F9-BD31-085AB15C1F2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1608" y="2585"/>
                <a:ext cx="19" cy="36"/>
              </a:xfrm>
              <a:custGeom>
                <a:avLst/>
                <a:gdLst>
                  <a:gd name="T0" fmla="*/ 0 w 9"/>
                  <a:gd name="T1" fmla="*/ 8 h 17"/>
                  <a:gd name="T2" fmla="*/ 7 w 9"/>
                  <a:gd name="T3" fmla="*/ 13 h 17"/>
                  <a:gd name="T4" fmla="*/ 3 w 9"/>
                  <a:gd name="T5" fmla="*/ 8 h 17"/>
                  <a:gd name="T6" fmla="*/ 9 w 9"/>
                  <a:gd name="T7" fmla="*/ 6 h 17"/>
                  <a:gd name="T8" fmla="*/ 6 w 9"/>
                  <a:gd name="T9" fmla="*/ 0 h 17"/>
                  <a:gd name="T10" fmla="*/ 0 w 9"/>
                  <a:gd name="T11" fmla="*/ 4 h 17"/>
                  <a:gd name="T12" fmla="*/ 0 w 9"/>
                  <a:gd name="T13" fmla="*/ 8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" h="17">
                    <a:moveTo>
                      <a:pt x="0" y="8"/>
                    </a:moveTo>
                    <a:cubicBezTo>
                      <a:pt x="3" y="7"/>
                      <a:pt x="3" y="17"/>
                      <a:pt x="7" y="13"/>
                    </a:cubicBezTo>
                    <a:cubicBezTo>
                      <a:pt x="6" y="9"/>
                      <a:pt x="4" y="12"/>
                      <a:pt x="3" y="8"/>
                    </a:cubicBezTo>
                    <a:cubicBezTo>
                      <a:pt x="5" y="5"/>
                      <a:pt x="7" y="8"/>
                      <a:pt x="9" y="6"/>
                    </a:cubicBezTo>
                    <a:cubicBezTo>
                      <a:pt x="9" y="5"/>
                      <a:pt x="9" y="0"/>
                      <a:pt x="6" y="0"/>
                    </a:cubicBezTo>
                    <a:cubicBezTo>
                      <a:pt x="7" y="4"/>
                      <a:pt x="2" y="2"/>
                      <a:pt x="0" y="4"/>
                    </a:cubicBezTo>
                    <a:cubicBezTo>
                      <a:pt x="1" y="6"/>
                      <a:pt x="0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8" name="任意多边形: 形状 797">
                <a:extLst>
                  <a:ext uri="{FF2B5EF4-FFF2-40B4-BE49-F238E27FC236}">
                    <a16:creationId xmlns:a16="http://schemas.microsoft.com/office/drawing/2014/main" id="{5AC8D416-830B-46DC-80B0-F905D5C48E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011" y="1928"/>
                <a:ext cx="27" cy="25"/>
              </a:xfrm>
              <a:custGeom>
                <a:avLst/>
                <a:gdLst>
                  <a:gd name="T0" fmla="*/ 7 w 13"/>
                  <a:gd name="T1" fmla="*/ 10 h 12"/>
                  <a:gd name="T2" fmla="*/ 5 w 13"/>
                  <a:gd name="T3" fmla="*/ 4 h 12"/>
                  <a:gd name="T4" fmla="*/ 9 w 13"/>
                  <a:gd name="T5" fmla="*/ 8 h 12"/>
                  <a:gd name="T6" fmla="*/ 12 w 13"/>
                  <a:gd name="T7" fmla="*/ 0 h 12"/>
                  <a:gd name="T8" fmla="*/ 0 w 13"/>
                  <a:gd name="T9" fmla="*/ 6 h 12"/>
                  <a:gd name="T10" fmla="*/ 3 w 13"/>
                  <a:gd name="T11" fmla="*/ 12 h 12"/>
                  <a:gd name="T12" fmla="*/ 7 w 13"/>
                  <a:gd name="T13" fmla="*/ 1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2">
                    <a:moveTo>
                      <a:pt x="7" y="10"/>
                    </a:moveTo>
                    <a:cubicBezTo>
                      <a:pt x="7" y="6"/>
                      <a:pt x="4" y="7"/>
                      <a:pt x="5" y="4"/>
                    </a:cubicBezTo>
                    <a:cubicBezTo>
                      <a:pt x="6" y="3"/>
                      <a:pt x="7" y="5"/>
                      <a:pt x="9" y="8"/>
                    </a:cubicBezTo>
                    <a:cubicBezTo>
                      <a:pt x="10" y="5"/>
                      <a:pt x="13" y="4"/>
                      <a:pt x="12" y="0"/>
                    </a:cubicBezTo>
                    <a:cubicBezTo>
                      <a:pt x="8" y="3"/>
                      <a:pt x="3" y="0"/>
                      <a:pt x="0" y="6"/>
                    </a:cubicBezTo>
                    <a:cubicBezTo>
                      <a:pt x="2" y="8"/>
                      <a:pt x="2" y="9"/>
                      <a:pt x="3" y="12"/>
                    </a:cubicBezTo>
                    <a:lnTo>
                      <a:pt x="7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799" name="任意多边形: 形状 798">
                <a:extLst>
                  <a:ext uri="{FF2B5EF4-FFF2-40B4-BE49-F238E27FC236}">
                    <a16:creationId xmlns:a16="http://schemas.microsoft.com/office/drawing/2014/main" id="{1B3D651A-B5EE-4714-9025-38B90AA4487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2050"/>
                <a:ext cx="23" cy="19"/>
              </a:xfrm>
              <a:custGeom>
                <a:avLst/>
                <a:gdLst>
                  <a:gd name="T0" fmla="*/ 1 w 11"/>
                  <a:gd name="T1" fmla="*/ 7 h 9"/>
                  <a:gd name="T2" fmla="*/ 11 w 11"/>
                  <a:gd name="T3" fmla="*/ 9 h 9"/>
                  <a:gd name="T4" fmla="*/ 5 w 11"/>
                  <a:gd name="T5" fmla="*/ 0 h 9"/>
                  <a:gd name="T6" fmla="*/ 2 w 11"/>
                  <a:gd name="T7" fmla="*/ 4 h 9"/>
                  <a:gd name="T8" fmla="*/ 2 w 11"/>
                  <a:gd name="T9" fmla="*/ 5 h 9"/>
                  <a:gd name="T10" fmla="*/ 1 w 11"/>
                  <a:gd name="T11" fmla="*/ 7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1" h="9">
                    <a:moveTo>
                      <a:pt x="1" y="7"/>
                    </a:moveTo>
                    <a:cubicBezTo>
                      <a:pt x="6" y="4"/>
                      <a:pt x="7" y="9"/>
                      <a:pt x="11" y="9"/>
                    </a:cubicBezTo>
                    <a:cubicBezTo>
                      <a:pt x="9" y="3"/>
                      <a:pt x="7" y="3"/>
                      <a:pt x="5" y="0"/>
                    </a:cubicBezTo>
                    <a:cubicBezTo>
                      <a:pt x="4" y="2"/>
                      <a:pt x="0" y="1"/>
                      <a:pt x="2" y="4"/>
                    </a:cubicBezTo>
                    <a:cubicBezTo>
                      <a:pt x="2" y="4"/>
                      <a:pt x="3" y="4"/>
                      <a:pt x="2" y="5"/>
                    </a:cubicBezTo>
                    <a:cubicBezTo>
                      <a:pt x="2" y="6"/>
                      <a:pt x="1" y="6"/>
                      <a:pt x="1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0" name="任意多边形: 形状 799">
                <a:extLst>
                  <a:ext uri="{FF2B5EF4-FFF2-40B4-BE49-F238E27FC236}">
                    <a16:creationId xmlns:a16="http://schemas.microsoft.com/office/drawing/2014/main" id="{0B66AC2D-DDE4-406B-9742-053F5C6DEF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75" y="1988"/>
                <a:ext cx="44" cy="50"/>
              </a:xfrm>
              <a:custGeom>
                <a:avLst/>
                <a:gdLst>
                  <a:gd name="T0" fmla="*/ 12 w 21"/>
                  <a:gd name="T1" fmla="*/ 11 h 24"/>
                  <a:gd name="T2" fmla="*/ 9 w 21"/>
                  <a:gd name="T3" fmla="*/ 10 h 24"/>
                  <a:gd name="T4" fmla="*/ 10 w 21"/>
                  <a:gd name="T5" fmla="*/ 5 h 24"/>
                  <a:gd name="T6" fmla="*/ 0 w 21"/>
                  <a:gd name="T7" fmla="*/ 10 h 24"/>
                  <a:gd name="T8" fmla="*/ 6 w 21"/>
                  <a:gd name="T9" fmla="*/ 20 h 24"/>
                  <a:gd name="T10" fmla="*/ 12 w 21"/>
                  <a:gd name="T11" fmla="*/ 19 h 24"/>
                  <a:gd name="T12" fmla="*/ 16 w 21"/>
                  <a:gd name="T13" fmla="*/ 13 h 24"/>
                  <a:gd name="T14" fmla="*/ 14 w 21"/>
                  <a:gd name="T15" fmla="*/ 9 h 24"/>
                  <a:gd name="T16" fmla="*/ 19 w 21"/>
                  <a:gd name="T17" fmla="*/ 12 h 24"/>
                  <a:gd name="T18" fmla="*/ 18 w 21"/>
                  <a:gd name="T19" fmla="*/ 0 h 24"/>
                  <a:gd name="T20" fmla="*/ 18 w 21"/>
                  <a:gd name="T21" fmla="*/ 6 h 24"/>
                  <a:gd name="T22" fmla="*/ 12 w 21"/>
                  <a:gd name="T23" fmla="*/ 11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1" h="24">
                    <a:moveTo>
                      <a:pt x="12" y="11"/>
                    </a:moveTo>
                    <a:cubicBezTo>
                      <a:pt x="11" y="12"/>
                      <a:pt x="10" y="11"/>
                      <a:pt x="9" y="10"/>
                    </a:cubicBezTo>
                    <a:cubicBezTo>
                      <a:pt x="9" y="8"/>
                      <a:pt x="13" y="8"/>
                      <a:pt x="10" y="5"/>
                    </a:cubicBezTo>
                    <a:cubicBezTo>
                      <a:pt x="6" y="9"/>
                      <a:pt x="4" y="9"/>
                      <a:pt x="0" y="10"/>
                    </a:cubicBezTo>
                    <a:cubicBezTo>
                      <a:pt x="6" y="12"/>
                      <a:pt x="2" y="17"/>
                      <a:pt x="6" y="20"/>
                    </a:cubicBezTo>
                    <a:cubicBezTo>
                      <a:pt x="5" y="15"/>
                      <a:pt x="13" y="24"/>
                      <a:pt x="12" y="19"/>
                    </a:cubicBezTo>
                    <a:cubicBezTo>
                      <a:pt x="10" y="18"/>
                      <a:pt x="13" y="13"/>
                      <a:pt x="16" y="13"/>
                    </a:cubicBezTo>
                    <a:cubicBezTo>
                      <a:pt x="17" y="11"/>
                      <a:pt x="13" y="10"/>
                      <a:pt x="14" y="9"/>
                    </a:cubicBezTo>
                    <a:cubicBezTo>
                      <a:pt x="17" y="5"/>
                      <a:pt x="19" y="9"/>
                      <a:pt x="19" y="12"/>
                    </a:cubicBezTo>
                    <a:cubicBezTo>
                      <a:pt x="20" y="8"/>
                      <a:pt x="21" y="5"/>
                      <a:pt x="18" y="0"/>
                    </a:cubicBezTo>
                    <a:cubicBezTo>
                      <a:pt x="15" y="1"/>
                      <a:pt x="20" y="5"/>
                      <a:pt x="18" y="6"/>
                    </a:cubicBezTo>
                    <a:cubicBezTo>
                      <a:pt x="14" y="3"/>
                      <a:pt x="13" y="8"/>
                      <a:pt x="12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1" name="任意多边形: 形状 800">
                <a:extLst>
                  <a:ext uri="{FF2B5EF4-FFF2-40B4-BE49-F238E27FC236}">
                    <a16:creationId xmlns:a16="http://schemas.microsoft.com/office/drawing/2014/main" id="{71A570DB-6724-430B-9FE6-DCAEA330BD4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2132" y="1926"/>
                <a:ext cx="54" cy="45"/>
              </a:xfrm>
              <a:custGeom>
                <a:avLst/>
                <a:gdLst>
                  <a:gd name="T0" fmla="*/ 0 w 26"/>
                  <a:gd name="T1" fmla="*/ 22 h 22"/>
                  <a:gd name="T2" fmla="*/ 12 w 26"/>
                  <a:gd name="T3" fmla="*/ 15 h 22"/>
                  <a:gd name="T4" fmla="*/ 17 w 26"/>
                  <a:gd name="T5" fmla="*/ 13 h 22"/>
                  <a:gd name="T6" fmla="*/ 19 w 26"/>
                  <a:gd name="T7" fmla="*/ 18 h 22"/>
                  <a:gd name="T8" fmla="*/ 22 w 26"/>
                  <a:gd name="T9" fmla="*/ 5 h 22"/>
                  <a:gd name="T10" fmla="*/ 26 w 26"/>
                  <a:gd name="T11" fmla="*/ 8 h 22"/>
                  <a:gd name="T12" fmla="*/ 8 w 26"/>
                  <a:gd name="T13" fmla="*/ 11 h 22"/>
                  <a:gd name="T14" fmla="*/ 11 w 26"/>
                  <a:gd name="T15" fmla="*/ 14 h 22"/>
                  <a:gd name="T16" fmla="*/ 0 w 26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6" h="22">
                    <a:moveTo>
                      <a:pt x="0" y="22"/>
                    </a:moveTo>
                    <a:cubicBezTo>
                      <a:pt x="4" y="21"/>
                      <a:pt x="11" y="20"/>
                      <a:pt x="12" y="15"/>
                    </a:cubicBezTo>
                    <a:cubicBezTo>
                      <a:pt x="15" y="17"/>
                      <a:pt x="16" y="16"/>
                      <a:pt x="17" y="13"/>
                    </a:cubicBezTo>
                    <a:cubicBezTo>
                      <a:pt x="18" y="15"/>
                      <a:pt x="19" y="17"/>
                      <a:pt x="19" y="18"/>
                    </a:cubicBezTo>
                    <a:cubicBezTo>
                      <a:pt x="20" y="14"/>
                      <a:pt x="24" y="11"/>
                      <a:pt x="22" y="5"/>
                    </a:cubicBezTo>
                    <a:cubicBezTo>
                      <a:pt x="23" y="7"/>
                      <a:pt x="25" y="9"/>
                      <a:pt x="26" y="8"/>
                    </a:cubicBezTo>
                    <a:cubicBezTo>
                      <a:pt x="20" y="0"/>
                      <a:pt x="14" y="9"/>
                      <a:pt x="8" y="11"/>
                    </a:cubicBezTo>
                    <a:cubicBezTo>
                      <a:pt x="10" y="11"/>
                      <a:pt x="12" y="13"/>
                      <a:pt x="11" y="14"/>
                    </a:cubicBezTo>
                    <a:cubicBezTo>
                      <a:pt x="5" y="12"/>
                      <a:pt x="3" y="21"/>
                      <a:pt x="0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2" name="任意多边形: 形状 801">
                <a:extLst>
                  <a:ext uri="{FF2B5EF4-FFF2-40B4-BE49-F238E27FC236}">
                    <a16:creationId xmlns:a16="http://schemas.microsoft.com/office/drawing/2014/main" id="{47528A16-148E-4A5C-9BF5-0CFD6A0B028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6" y="1035"/>
                <a:ext cx="69" cy="77"/>
              </a:xfrm>
              <a:custGeom>
                <a:avLst/>
                <a:gdLst>
                  <a:gd name="T0" fmla="*/ 32 w 33"/>
                  <a:gd name="T1" fmla="*/ 6 h 37"/>
                  <a:gd name="T2" fmla="*/ 23 w 33"/>
                  <a:gd name="T3" fmla="*/ 14 h 37"/>
                  <a:gd name="T4" fmla="*/ 15 w 33"/>
                  <a:gd name="T5" fmla="*/ 16 h 37"/>
                  <a:gd name="T6" fmla="*/ 11 w 33"/>
                  <a:gd name="T7" fmla="*/ 26 h 37"/>
                  <a:gd name="T8" fmla="*/ 7 w 33"/>
                  <a:gd name="T9" fmla="*/ 22 h 37"/>
                  <a:gd name="T10" fmla="*/ 0 w 33"/>
                  <a:gd name="T11" fmla="*/ 37 h 37"/>
                  <a:gd name="T12" fmla="*/ 31 w 33"/>
                  <a:gd name="T13" fmla="*/ 13 h 37"/>
                  <a:gd name="T14" fmla="*/ 27 w 33"/>
                  <a:gd name="T15" fmla="*/ 11 h 37"/>
                  <a:gd name="T16" fmla="*/ 32 w 33"/>
                  <a:gd name="T17" fmla="*/ 6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33" h="37">
                    <a:moveTo>
                      <a:pt x="32" y="6"/>
                    </a:moveTo>
                    <a:cubicBezTo>
                      <a:pt x="27" y="0"/>
                      <a:pt x="20" y="7"/>
                      <a:pt x="23" y="14"/>
                    </a:cubicBezTo>
                    <a:cubicBezTo>
                      <a:pt x="20" y="14"/>
                      <a:pt x="15" y="12"/>
                      <a:pt x="15" y="16"/>
                    </a:cubicBezTo>
                    <a:cubicBezTo>
                      <a:pt x="18" y="18"/>
                      <a:pt x="14" y="24"/>
                      <a:pt x="11" y="26"/>
                    </a:cubicBezTo>
                    <a:cubicBezTo>
                      <a:pt x="10" y="24"/>
                      <a:pt x="9" y="22"/>
                      <a:pt x="7" y="22"/>
                    </a:cubicBezTo>
                    <a:cubicBezTo>
                      <a:pt x="13" y="31"/>
                      <a:pt x="0" y="32"/>
                      <a:pt x="0" y="37"/>
                    </a:cubicBezTo>
                    <a:cubicBezTo>
                      <a:pt x="13" y="30"/>
                      <a:pt x="18" y="17"/>
                      <a:pt x="31" y="13"/>
                    </a:cubicBezTo>
                    <a:cubicBezTo>
                      <a:pt x="30" y="8"/>
                      <a:pt x="28" y="14"/>
                      <a:pt x="27" y="11"/>
                    </a:cubicBezTo>
                    <a:cubicBezTo>
                      <a:pt x="33" y="9"/>
                      <a:pt x="26" y="6"/>
                      <a:pt x="3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3" name="任意多边形: 形状 802">
                <a:extLst>
                  <a:ext uri="{FF2B5EF4-FFF2-40B4-BE49-F238E27FC236}">
                    <a16:creationId xmlns:a16="http://schemas.microsoft.com/office/drawing/2014/main" id="{CB447734-40A3-4C48-8182-B5641778405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410" y="745"/>
                <a:ext cx="123" cy="91"/>
              </a:xfrm>
              <a:custGeom>
                <a:avLst/>
                <a:gdLst>
                  <a:gd name="T0" fmla="*/ 13 w 59"/>
                  <a:gd name="T1" fmla="*/ 27 h 44"/>
                  <a:gd name="T2" fmla="*/ 3 w 59"/>
                  <a:gd name="T3" fmla="*/ 44 h 44"/>
                  <a:gd name="T4" fmla="*/ 27 w 59"/>
                  <a:gd name="T5" fmla="*/ 33 h 44"/>
                  <a:gd name="T6" fmla="*/ 30 w 59"/>
                  <a:gd name="T7" fmla="*/ 37 h 44"/>
                  <a:gd name="T8" fmla="*/ 31 w 59"/>
                  <a:gd name="T9" fmla="*/ 32 h 44"/>
                  <a:gd name="T10" fmla="*/ 54 w 59"/>
                  <a:gd name="T11" fmla="*/ 17 h 44"/>
                  <a:gd name="T12" fmla="*/ 57 w 59"/>
                  <a:gd name="T13" fmla="*/ 20 h 44"/>
                  <a:gd name="T14" fmla="*/ 58 w 59"/>
                  <a:gd name="T15" fmla="*/ 8 h 44"/>
                  <a:gd name="T16" fmla="*/ 53 w 59"/>
                  <a:gd name="T17" fmla="*/ 9 h 44"/>
                  <a:gd name="T18" fmla="*/ 49 w 59"/>
                  <a:gd name="T19" fmla="*/ 4 h 44"/>
                  <a:gd name="T20" fmla="*/ 35 w 59"/>
                  <a:gd name="T21" fmla="*/ 8 h 44"/>
                  <a:gd name="T22" fmla="*/ 32 w 59"/>
                  <a:gd name="T23" fmla="*/ 21 h 44"/>
                  <a:gd name="T24" fmla="*/ 26 w 59"/>
                  <a:gd name="T25" fmla="*/ 15 h 44"/>
                  <a:gd name="T26" fmla="*/ 24 w 59"/>
                  <a:gd name="T27" fmla="*/ 28 h 44"/>
                  <a:gd name="T28" fmla="*/ 20 w 59"/>
                  <a:gd name="T29" fmla="*/ 24 h 44"/>
                  <a:gd name="T30" fmla="*/ 13 w 59"/>
                  <a:gd name="T31" fmla="*/ 27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9" h="44">
                    <a:moveTo>
                      <a:pt x="13" y="27"/>
                    </a:moveTo>
                    <a:cubicBezTo>
                      <a:pt x="15" y="35"/>
                      <a:pt x="0" y="34"/>
                      <a:pt x="3" y="44"/>
                    </a:cubicBezTo>
                    <a:cubicBezTo>
                      <a:pt x="7" y="38"/>
                      <a:pt x="19" y="25"/>
                      <a:pt x="27" y="33"/>
                    </a:cubicBezTo>
                    <a:cubicBezTo>
                      <a:pt x="27" y="35"/>
                      <a:pt x="29" y="38"/>
                      <a:pt x="30" y="37"/>
                    </a:cubicBezTo>
                    <a:cubicBezTo>
                      <a:pt x="30" y="35"/>
                      <a:pt x="28" y="33"/>
                      <a:pt x="31" y="32"/>
                    </a:cubicBezTo>
                    <a:cubicBezTo>
                      <a:pt x="43" y="44"/>
                      <a:pt x="52" y="25"/>
                      <a:pt x="54" y="17"/>
                    </a:cubicBezTo>
                    <a:cubicBezTo>
                      <a:pt x="55" y="19"/>
                      <a:pt x="56" y="21"/>
                      <a:pt x="57" y="20"/>
                    </a:cubicBezTo>
                    <a:cubicBezTo>
                      <a:pt x="56" y="15"/>
                      <a:pt x="59" y="12"/>
                      <a:pt x="58" y="8"/>
                    </a:cubicBezTo>
                    <a:cubicBezTo>
                      <a:pt x="55" y="6"/>
                      <a:pt x="54" y="7"/>
                      <a:pt x="53" y="9"/>
                    </a:cubicBezTo>
                    <a:cubicBezTo>
                      <a:pt x="49" y="4"/>
                      <a:pt x="49" y="4"/>
                      <a:pt x="49" y="4"/>
                    </a:cubicBezTo>
                    <a:cubicBezTo>
                      <a:pt x="41" y="0"/>
                      <a:pt x="40" y="13"/>
                      <a:pt x="35" y="8"/>
                    </a:cubicBezTo>
                    <a:cubicBezTo>
                      <a:pt x="39" y="16"/>
                      <a:pt x="31" y="15"/>
                      <a:pt x="32" y="21"/>
                    </a:cubicBezTo>
                    <a:cubicBezTo>
                      <a:pt x="28" y="19"/>
                      <a:pt x="29" y="15"/>
                      <a:pt x="26" y="15"/>
                    </a:cubicBezTo>
                    <a:cubicBezTo>
                      <a:pt x="24" y="19"/>
                      <a:pt x="28" y="25"/>
                      <a:pt x="24" y="28"/>
                    </a:cubicBezTo>
                    <a:cubicBezTo>
                      <a:pt x="22" y="25"/>
                      <a:pt x="21" y="28"/>
                      <a:pt x="20" y="24"/>
                    </a:cubicBezTo>
                    <a:cubicBezTo>
                      <a:pt x="17" y="28"/>
                      <a:pt x="17" y="27"/>
                      <a:pt x="13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4" name="任意多边形: 形状 803">
                <a:extLst>
                  <a:ext uri="{FF2B5EF4-FFF2-40B4-BE49-F238E27FC236}">
                    <a16:creationId xmlns:a16="http://schemas.microsoft.com/office/drawing/2014/main" id="{7C7FF820-0EA4-4B32-985A-03855E22C24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373" y="444"/>
                <a:ext cx="70" cy="39"/>
              </a:xfrm>
              <a:custGeom>
                <a:avLst/>
                <a:gdLst>
                  <a:gd name="T0" fmla="*/ 5 w 34"/>
                  <a:gd name="T1" fmla="*/ 12 h 19"/>
                  <a:gd name="T2" fmla="*/ 7 w 34"/>
                  <a:gd name="T3" fmla="*/ 17 h 19"/>
                  <a:gd name="T4" fmla="*/ 11 w 34"/>
                  <a:gd name="T5" fmla="*/ 19 h 19"/>
                  <a:gd name="T6" fmla="*/ 20 w 34"/>
                  <a:gd name="T7" fmla="*/ 18 h 19"/>
                  <a:gd name="T8" fmla="*/ 21 w 34"/>
                  <a:gd name="T9" fmla="*/ 13 h 19"/>
                  <a:gd name="T10" fmla="*/ 34 w 34"/>
                  <a:gd name="T11" fmla="*/ 16 h 19"/>
                  <a:gd name="T12" fmla="*/ 25 w 34"/>
                  <a:gd name="T13" fmla="*/ 6 h 19"/>
                  <a:gd name="T14" fmla="*/ 17 w 34"/>
                  <a:gd name="T15" fmla="*/ 6 h 19"/>
                  <a:gd name="T16" fmla="*/ 19 w 34"/>
                  <a:gd name="T17" fmla="*/ 0 h 19"/>
                  <a:gd name="T18" fmla="*/ 11 w 34"/>
                  <a:gd name="T19" fmla="*/ 0 h 19"/>
                  <a:gd name="T20" fmla="*/ 0 w 34"/>
                  <a:gd name="T21" fmla="*/ 12 h 19"/>
                  <a:gd name="T22" fmla="*/ 5 w 34"/>
                  <a:gd name="T23" fmla="*/ 12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4" h="19">
                    <a:moveTo>
                      <a:pt x="5" y="12"/>
                    </a:moveTo>
                    <a:cubicBezTo>
                      <a:pt x="7" y="14"/>
                      <a:pt x="4" y="14"/>
                      <a:pt x="7" y="17"/>
                    </a:cubicBezTo>
                    <a:cubicBezTo>
                      <a:pt x="8" y="15"/>
                      <a:pt x="9" y="18"/>
                      <a:pt x="11" y="19"/>
                    </a:cubicBezTo>
                    <a:cubicBezTo>
                      <a:pt x="14" y="14"/>
                      <a:pt x="16" y="17"/>
                      <a:pt x="20" y="18"/>
                    </a:cubicBezTo>
                    <a:cubicBezTo>
                      <a:pt x="21" y="17"/>
                      <a:pt x="20" y="14"/>
                      <a:pt x="21" y="13"/>
                    </a:cubicBezTo>
                    <a:cubicBezTo>
                      <a:pt x="25" y="13"/>
                      <a:pt x="30" y="17"/>
                      <a:pt x="34" y="16"/>
                    </a:cubicBezTo>
                    <a:cubicBezTo>
                      <a:pt x="31" y="9"/>
                      <a:pt x="29" y="12"/>
                      <a:pt x="25" y="6"/>
                    </a:cubicBezTo>
                    <a:cubicBezTo>
                      <a:pt x="22" y="6"/>
                      <a:pt x="19" y="9"/>
                      <a:pt x="17" y="6"/>
                    </a:cubicBezTo>
                    <a:cubicBezTo>
                      <a:pt x="20" y="5"/>
                      <a:pt x="19" y="3"/>
                      <a:pt x="19" y="0"/>
                    </a:cubicBezTo>
                    <a:cubicBezTo>
                      <a:pt x="16" y="2"/>
                      <a:pt x="14" y="4"/>
                      <a:pt x="11" y="0"/>
                    </a:cubicBezTo>
                    <a:cubicBezTo>
                      <a:pt x="6" y="3"/>
                      <a:pt x="3" y="7"/>
                      <a:pt x="0" y="12"/>
                    </a:cubicBezTo>
                    <a:cubicBezTo>
                      <a:pt x="2" y="13"/>
                      <a:pt x="4" y="10"/>
                      <a:pt x="5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5" name="任意多边形: 形状 804">
                <a:extLst>
                  <a:ext uri="{FF2B5EF4-FFF2-40B4-BE49-F238E27FC236}">
                    <a16:creationId xmlns:a16="http://schemas.microsoft.com/office/drawing/2014/main" id="{3A794556-613D-4E20-983F-C35792C95F1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7" y="763"/>
                <a:ext cx="21" cy="32"/>
              </a:xfrm>
              <a:custGeom>
                <a:avLst/>
                <a:gdLst>
                  <a:gd name="T0" fmla="*/ 0 w 10"/>
                  <a:gd name="T1" fmla="*/ 15 h 15"/>
                  <a:gd name="T2" fmla="*/ 8 w 10"/>
                  <a:gd name="T3" fmla="*/ 2 h 15"/>
                  <a:gd name="T4" fmla="*/ 9 w 10"/>
                  <a:gd name="T5" fmla="*/ 0 h 15"/>
                  <a:gd name="T6" fmla="*/ 0 w 10"/>
                  <a:gd name="T7" fmla="*/ 1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5">
                    <a:moveTo>
                      <a:pt x="0" y="15"/>
                    </a:moveTo>
                    <a:cubicBezTo>
                      <a:pt x="6" y="12"/>
                      <a:pt x="9" y="5"/>
                      <a:pt x="8" y="2"/>
                    </a:cubicBezTo>
                    <a:cubicBezTo>
                      <a:pt x="9" y="2"/>
                      <a:pt x="10" y="1"/>
                      <a:pt x="9" y="0"/>
                    </a:cubicBezTo>
                    <a:cubicBezTo>
                      <a:pt x="3" y="4"/>
                      <a:pt x="4" y="10"/>
                      <a:pt x="0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6" name="任意多边形: 形状 805">
                <a:extLst>
                  <a:ext uri="{FF2B5EF4-FFF2-40B4-BE49-F238E27FC236}">
                    <a16:creationId xmlns:a16="http://schemas.microsoft.com/office/drawing/2014/main" id="{7E2B100B-F5C7-4EBF-BA91-F140BADFC34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17" y="695"/>
                <a:ext cx="17" cy="19"/>
              </a:xfrm>
              <a:custGeom>
                <a:avLst/>
                <a:gdLst>
                  <a:gd name="T0" fmla="*/ 0 w 8"/>
                  <a:gd name="T1" fmla="*/ 9 h 9"/>
                  <a:gd name="T2" fmla="*/ 8 w 8"/>
                  <a:gd name="T3" fmla="*/ 2 h 9"/>
                  <a:gd name="T4" fmla="*/ 0 w 8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9"/>
                    </a:moveTo>
                    <a:cubicBezTo>
                      <a:pt x="2" y="6"/>
                      <a:pt x="8" y="5"/>
                      <a:pt x="8" y="2"/>
                    </a:cubicBezTo>
                    <a:cubicBezTo>
                      <a:pt x="3" y="0"/>
                      <a:pt x="2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7" name="任意多边形: 形状 806">
                <a:extLst>
                  <a:ext uri="{FF2B5EF4-FFF2-40B4-BE49-F238E27FC236}">
                    <a16:creationId xmlns:a16="http://schemas.microsoft.com/office/drawing/2014/main" id="{194E8EA6-D5AB-4BBD-8C3D-109AE9F9DCA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92" y="734"/>
                <a:ext cx="23" cy="15"/>
              </a:xfrm>
              <a:custGeom>
                <a:avLst/>
                <a:gdLst>
                  <a:gd name="T0" fmla="*/ 3 w 11"/>
                  <a:gd name="T1" fmla="*/ 7 h 7"/>
                  <a:gd name="T2" fmla="*/ 9 w 11"/>
                  <a:gd name="T3" fmla="*/ 0 h 7"/>
                  <a:gd name="T4" fmla="*/ 3 w 11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7">
                    <a:moveTo>
                      <a:pt x="3" y="7"/>
                    </a:moveTo>
                    <a:cubicBezTo>
                      <a:pt x="6" y="5"/>
                      <a:pt x="11" y="4"/>
                      <a:pt x="9" y="0"/>
                    </a:cubicBezTo>
                    <a:cubicBezTo>
                      <a:pt x="7" y="2"/>
                      <a:pt x="0" y="3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8" name="任意多边形: 形状 807">
                <a:extLst>
                  <a:ext uri="{FF2B5EF4-FFF2-40B4-BE49-F238E27FC236}">
                    <a16:creationId xmlns:a16="http://schemas.microsoft.com/office/drawing/2014/main" id="{8CF23003-3DD4-478B-A2F9-294B99B44CE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47" y="732"/>
                <a:ext cx="49" cy="29"/>
              </a:xfrm>
              <a:custGeom>
                <a:avLst/>
                <a:gdLst>
                  <a:gd name="T0" fmla="*/ 13 w 24"/>
                  <a:gd name="T1" fmla="*/ 3 h 14"/>
                  <a:gd name="T2" fmla="*/ 15 w 24"/>
                  <a:gd name="T3" fmla="*/ 7 h 14"/>
                  <a:gd name="T4" fmla="*/ 21 w 24"/>
                  <a:gd name="T5" fmla="*/ 0 h 14"/>
                  <a:gd name="T6" fmla="*/ 1 w 24"/>
                  <a:gd name="T7" fmla="*/ 14 h 14"/>
                  <a:gd name="T8" fmla="*/ 13 w 24"/>
                  <a:gd name="T9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13" y="3"/>
                    </a:moveTo>
                    <a:cubicBezTo>
                      <a:pt x="15" y="7"/>
                      <a:pt x="15" y="7"/>
                      <a:pt x="15" y="7"/>
                    </a:cubicBezTo>
                    <a:cubicBezTo>
                      <a:pt x="16" y="5"/>
                      <a:pt x="24" y="0"/>
                      <a:pt x="21" y="0"/>
                    </a:cubicBezTo>
                    <a:cubicBezTo>
                      <a:pt x="13" y="2"/>
                      <a:pt x="0" y="4"/>
                      <a:pt x="1" y="14"/>
                    </a:cubicBezTo>
                    <a:cubicBezTo>
                      <a:pt x="8" y="11"/>
                      <a:pt x="6" y="6"/>
                      <a:pt x="13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09" name="任意多边形: 形状 808">
                <a:extLst>
                  <a:ext uri="{FF2B5EF4-FFF2-40B4-BE49-F238E27FC236}">
                    <a16:creationId xmlns:a16="http://schemas.microsoft.com/office/drawing/2014/main" id="{C4E56CE1-01F7-42D3-87AE-46BAA1D9CC0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84" y="749"/>
                <a:ext cx="17" cy="14"/>
              </a:xfrm>
              <a:custGeom>
                <a:avLst/>
                <a:gdLst>
                  <a:gd name="T0" fmla="*/ 0 w 8"/>
                  <a:gd name="T1" fmla="*/ 7 h 7"/>
                  <a:gd name="T2" fmla="*/ 5 w 8"/>
                  <a:gd name="T3" fmla="*/ 0 h 7"/>
                  <a:gd name="T4" fmla="*/ 0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0" y="7"/>
                    </a:moveTo>
                    <a:cubicBezTo>
                      <a:pt x="4" y="5"/>
                      <a:pt x="8" y="4"/>
                      <a:pt x="5" y="0"/>
                    </a:cubicBezTo>
                    <a:cubicBezTo>
                      <a:pt x="3" y="2"/>
                      <a:pt x="1" y="5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0" name="任意多边形: 形状 809">
                <a:extLst>
                  <a:ext uri="{FF2B5EF4-FFF2-40B4-BE49-F238E27FC236}">
                    <a16:creationId xmlns:a16="http://schemas.microsoft.com/office/drawing/2014/main" id="{6C9719D6-723C-4AA5-A0F9-983A8C40F81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759" y="753"/>
                <a:ext cx="25" cy="21"/>
              </a:xfrm>
              <a:custGeom>
                <a:avLst/>
                <a:gdLst>
                  <a:gd name="T0" fmla="*/ 0 w 12"/>
                  <a:gd name="T1" fmla="*/ 9 h 10"/>
                  <a:gd name="T2" fmla="*/ 12 w 12"/>
                  <a:gd name="T3" fmla="*/ 0 h 10"/>
                  <a:gd name="T4" fmla="*/ 0 w 12"/>
                  <a:gd name="T5" fmla="*/ 9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10">
                    <a:moveTo>
                      <a:pt x="0" y="9"/>
                    </a:moveTo>
                    <a:cubicBezTo>
                      <a:pt x="5" y="10"/>
                      <a:pt x="10" y="5"/>
                      <a:pt x="12" y="0"/>
                    </a:cubicBezTo>
                    <a:cubicBezTo>
                      <a:pt x="6" y="6"/>
                      <a:pt x="0" y="4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1" name="任意多边形: 形状 810">
                <a:extLst>
                  <a:ext uri="{FF2B5EF4-FFF2-40B4-BE49-F238E27FC236}">
                    <a16:creationId xmlns:a16="http://schemas.microsoft.com/office/drawing/2014/main" id="{64E8682B-A878-4EAF-AE32-44B57901523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19" y="1127"/>
                <a:ext cx="14" cy="14"/>
              </a:xfrm>
              <a:custGeom>
                <a:avLst/>
                <a:gdLst>
                  <a:gd name="T0" fmla="*/ 6 w 7"/>
                  <a:gd name="T1" fmla="*/ 0 h 7"/>
                  <a:gd name="T2" fmla="*/ 1 w 7"/>
                  <a:gd name="T3" fmla="*/ 7 h 7"/>
                  <a:gd name="T4" fmla="*/ 3 w 7"/>
                  <a:gd name="T5" fmla="*/ 6 h 7"/>
                  <a:gd name="T6" fmla="*/ 5 w 7"/>
                  <a:gd name="T7" fmla="*/ 6 h 7"/>
                  <a:gd name="T8" fmla="*/ 6 w 7"/>
                  <a:gd name="T9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" h="7">
                    <a:moveTo>
                      <a:pt x="6" y="0"/>
                    </a:moveTo>
                    <a:cubicBezTo>
                      <a:pt x="3" y="2"/>
                      <a:pt x="0" y="4"/>
                      <a:pt x="1" y="7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3" y="7"/>
                      <a:pt x="4" y="7"/>
                      <a:pt x="5" y="6"/>
                    </a:cubicBezTo>
                    <a:cubicBezTo>
                      <a:pt x="1" y="3"/>
                      <a:pt x="7" y="2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2" name="任意多边形: 形状 811">
                <a:extLst>
                  <a:ext uri="{FF2B5EF4-FFF2-40B4-BE49-F238E27FC236}">
                    <a16:creationId xmlns:a16="http://schemas.microsoft.com/office/drawing/2014/main" id="{B848564E-606B-4EC4-9A0E-F83E1431EA5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85" y="1129"/>
                <a:ext cx="11" cy="14"/>
              </a:xfrm>
              <a:custGeom>
                <a:avLst/>
                <a:gdLst>
                  <a:gd name="T0" fmla="*/ 0 w 5"/>
                  <a:gd name="T1" fmla="*/ 7 h 7"/>
                  <a:gd name="T2" fmla="*/ 4 w 5"/>
                  <a:gd name="T3" fmla="*/ 0 h 7"/>
                  <a:gd name="T4" fmla="*/ 0 w 5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7"/>
                    </a:moveTo>
                    <a:cubicBezTo>
                      <a:pt x="3" y="5"/>
                      <a:pt x="5" y="3"/>
                      <a:pt x="4" y="0"/>
                    </a:cubicBezTo>
                    <a:cubicBezTo>
                      <a:pt x="1" y="2"/>
                      <a:pt x="0" y="4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3" name="任意多边形: 形状 812">
                <a:extLst>
                  <a:ext uri="{FF2B5EF4-FFF2-40B4-BE49-F238E27FC236}">
                    <a16:creationId xmlns:a16="http://schemas.microsoft.com/office/drawing/2014/main" id="{D34AEC25-6293-4584-8857-FD9DC908322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139" y="1396"/>
                <a:ext cx="23" cy="17"/>
              </a:xfrm>
              <a:custGeom>
                <a:avLst/>
                <a:gdLst>
                  <a:gd name="T0" fmla="*/ 0 w 11"/>
                  <a:gd name="T1" fmla="*/ 8 h 8"/>
                  <a:gd name="T2" fmla="*/ 11 w 11"/>
                  <a:gd name="T3" fmla="*/ 0 h 8"/>
                  <a:gd name="T4" fmla="*/ 0 w 11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0" y="8"/>
                    </a:moveTo>
                    <a:cubicBezTo>
                      <a:pt x="3" y="7"/>
                      <a:pt x="9" y="5"/>
                      <a:pt x="11" y="0"/>
                    </a:cubicBezTo>
                    <a:cubicBezTo>
                      <a:pt x="8" y="3"/>
                      <a:pt x="0" y="5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4" name="任意多边形: 形状 813">
                <a:extLst>
                  <a:ext uri="{FF2B5EF4-FFF2-40B4-BE49-F238E27FC236}">
                    <a16:creationId xmlns:a16="http://schemas.microsoft.com/office/drawing/2014/main" id="{2A81D5FC-1B16-4332-A82F-D9F49A1BFB3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699" y="772"/>
                <a:ext cx="25" cy="12"/>
              </a:xfrm>
              <a:custGeom>
                <a:avLst/>
                <a:gdLst>
                  <a:gd name="T0" fmla="*/ 0 w 12"/>
                  <a:gd name="T1" fmla="*/ 6 h 6"/>
                  <a:gd name="T2" fmla="*/ 12 w 12"/>
                  <a:gd name="T3" fmla="*/ 0 h 6"/>
                  <a:gd name="T4" fmla="*/ 0 w 12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cubicBezTo>
                      <a:pt x="3" y="6"/>
                      <a:pt x="11" y="6"/>
                      <a:pt x="12" y="0"/>
                    </a:cubicBezTo>
                    <a:cubicBezTo>
                      <a:pt x="8" y="3"/>
                      <a:pt x="0" y="2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5" name="任意多边形: 形状 814">
                <a:extLst>
                  <a:ext uri="{FF2B5EF4-FFF2-40B4-BE49-F238E27FC236}">
                    <a16:creationId xmlns:a16="http://schemas.microsoft.com/office/drawing/2014/main" id="{2681ED69-EBB2-4DAC-9B6E-F178BCB0B84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933" y="1162"/>
                <a:ext cx="23" cy="27"/>
              </a:xfrm>
              <a:custGeom>
                <a:avLst/>
                <a:gdLst>
                  <a:gd name="T0" fmla="*/ 8 w 11"/>
                  <a:gd name="T1" fmla="*/ 0 h 13"/>
                  <a:gd name="T2" fmla="*/ 1 w 11"/>
                  <a:gd name="T3" fmla="*/ 5 h 13"/>
                  <a:gd name="T4" fmla="*/ 0 w 11"/>
                  <a:gd name="T5" fmla="*/ 13 h 13"/>
                  <a:gd name="T6" fmla="*/ 7 w 11"/>
                  <a:gd name="T7" fmla="*/ 7 h 13"/>
                  <a:gd name="T8" fmla="*/ 8 w 11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3">
                    <a:moveTo>
                      <a:pt x="8" y="0"/>
                    </a:moveTo>
                    <a:cubicBezTo>
                      <a:pt x="4" y="2"/>
                      <a:pt x="5" y="6"/>
                      <a:pt x="1" y="5"/>
                    </a:cubicBezTo>
                    <a:cubicBezTo>
                      <a:pt x="3" y="8"/>
                      <a:pt x="0" y="10"/>
                      <a:pt x="0" y="13"/>
                    </a:cubicBezTo>
                    <a:cubicBezTo>
                      <a:pt x="2" y="11"/>
                      <a:pt x="8" y="10"/>
                      <a:pt x="7" y="7"/>
                    </a:cubicBezTo>
                    <a:cubicBezTo>
                      <a:pt x="2" y="7"/>
                      <a:pt x="11" y="3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6" name="任意多边形: 形状 815">
                <a:extLst>
                  <a:ext uri="{FF2B5EF4-FFF2-40B4-BE49-F238E27FC236}">
                    <a16:creationId xmlns:a16="http://schemas.microsoft.com/office/drawing/2014/main" id="{DA042DDD-B8C6-4841-BE88-DB78813A5E1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7060" y="1434"/>
                <a:ext cx="35" cy="25"/>
              </a:xfrm>
              <a:custGeom>
                <a:avLst/>
                <a:gdLst>
                  <a:gd name="T0" fmla="*/ 0 w 17"/>
                  <a:gd name="T1" fmla="*/ 8 h 12"/>
                  <a:gd name="T2" fmla="*/ 15 w 17"/>
                  <a:gd name="T3" fmla="*/ 0 h 12"/>
                  <a:gd name="T4" fmla="*/ 0 w 17"/>
                  <a:gd name="T5" fmla="*/ 8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2">
                    <a:moveTo>
                      <a:pt x="0" y="8"/>
                    </a:moveTo>
                    <a:cubicBezTo>
                      <a:pt x="2" y="12"/>
                      <a:pt x="17" y="0"/>
                      <a:pt x="15" y="0"/>
                    </a:cubicBezTo>
                    <a:cubicBezTo>
                      <a:pt x="8" y="4"/>
                      <a:pt x="4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7" name="任意多边形: 形状 816">
                <a:extLst>
                  <a:ext uri="{FF2B5EF4-FFF2-40B4-BE49-F238E27FC236}">
                    <a16:creationId xmlns:a16="http://schemas.microsoft.com/office/drawing/2014/main" id="{47E3254D-BA99-4638-89D5-6AF5BCE7FD63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855" y="1226"/>
                <a:ext cx="14" cy="13"/>
              </a:xfrm>
              <a:custGeom>
                <a:avLst/>
                <a:gdLst>
                  <a:gd name="T0" fmla="*/ 1 w 7"/>
                  <a:gd name="T1" fmla="*/ 5 h 6"/>
                  <a:gd name="T2" fmla="*/ 7 w 7"/>
                  <a:gd name="T3" fmla="*/ 0 h 6"/>
                  <a:gd name="T4" fmla="*/ 1 w 7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5"/>
                    </a:moveTo>
                    <a:cubicBezTo>
                      <a:pt x="4" y="6"/>
                      <a:pt x="7" y="2"/>
                      <a:pt x="7" y="0"/>
                    </a:cubicBezTo>
                    <a:cubicBezTo>
                      <a:pt x="6" y="1"/>
                      <a:pt x="0" y="2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8" name="任意多边形: 形状 817">
                <a:extLst>
                  <a:ext uri="{FF2B5EF4-FFF2-40B4-BE49-F238E27FC236}">
                    <a16:creationId xmlns:a16="http://schemas.microsoft.com/office/drawing/2014/main" id="{B61A2C94-2FEB-49E7-A486-180518A290D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89" y="817"/>
                <a:ext cx="20" cy="17"/>
              </a:xfrm>
              <a:custGeom>
                <a:avLst/>
                <a:gdLst>
                  <a:gd name="T0" fmla="*/ 7 w 10"/>
                  <a:gd name="T1" fmla="*/ 2 h 8"/>
                  <a:gd name="T2" fmla="*/ 1 w 10"/>
                  <a:gd name="T3" fmla="*/ 5 h 8"/>
                  <a:gd name="T4" fmla="*/ 7 w 10"/>
                  <a:gd name="T5" fmla="*/ 2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8">
                    <a:moveTo>
                      <a:pt x="7" y="2"/>
                    </a:moveTo>
                    <a:cubicBezTo>
                      <a:pt x="5" y="6"/>
                      <a:pt x="0" y="0"/>
                      <a:pt x="1" y="5"/>
                    </a:cubicBezTo>
                    <a:cubicBezTo>
                      <a:pt x="2" y="7"/>
                      <a:pt x="10" y="8"/>
                      <a:pt x="7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19" name="任意多边形: 形状 818">
                <a:extLst>
                  <a:ext uri="{FF2B5EF4-FFF2-40B4-BE49-F238E27FC236}">
                    <a16:creationId xmlns:a16="http://schemas.microsoft.com/office/drawing/2014/main" id="{EA8CB4AF-7ED0-4692-8070-52AF0492413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66" y="888"/>
                <a:ext cx="25" cy="14"/>
              </a:xfrm>
              <a:custGeom>
                <a:avLst/>
                <a:gdLst>
                  <a:gd name="T0" fmla="*/ 8 w 12"/>
                  <a:gd name="T1" fmla="*/ 2 h 7"/>
                  <a:gd name="T2" fmla="*/ 2 w 12"/>
                  <a:gd name="T3" fmla="*/ 6 h 7"/>
                  <a:gd name="T4" fmla="*/ 8 w 12"/>
                  <a:gd name="T5" fmla="*/ 2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8" y="2"/>
                    </a:moveTo>
                    <a:cubicBezTo>
                      <a:pt x="5" y="6"/>
                      <a:pt x="0" y="0"/>
                      <a:pt x="2" y="6"/>
                    </a:cubicBezTo>
                    <a:cubicBezTo>
                      <a:pt x="3" y="7"/>
                      <a:pt x="12" y="2"/>
                      <a:pt x="8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0" name="任意多边形: 形状 819">
                <a:extLst>
                  <a:ext uri="{FF2B5EF4-FFF2-40B4-BE49-F238E27FC236}">
                    <a16:creationId xmlns:a16="http://schemas.microsoft.com/office/drawing/2014/main" id="{A83ADED0-5946-476C-85D8-F50F7F3FA94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468" y="915"/>
                <a:ext cx="29" cy="23"/>
              </a:xfrm>
              <a:custGeom>
                <a:avLst/>
                <a:gdLst>
                  <a:gd name="T0" fmla="*/ 1 w 14"/>
                  <a:gd name="T1" fmla="*/ 8 h 11"/>
                  <a:gd name="T2" fmla="*/ 12 w 14"/>
                  <a:gd name="T3" fmla="*/ 4 h 11"/>
                  <a:gd name="T4" fmla="*/ 14 w 14"/>
                  <a:gd name="T5" fmla="*/ 0 h 11"/>
                  <a:gd name="T6" fmla="*/ 1 w 14"/>
                  <a:gd name="T7" fmla="*/ 8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11">
                    <a:moveTo>
                      <a:pt x="1" y="8"/>
                    </a:moveTo>
                    <a:cubicBezTo>
                      <a:pt x="0" y="11"/>
                      <a:pt x="9" y="3"/>
                      <a:pt x="12" y="4"/>
                    </a:cubicBezTo>
                    <a:cubicBezTo>
                      <a:pt x="11" y="2"/>
                      <a:pt x="14" y="2"/>
                      <a:pt x="14" y="0"/>
                    </a:cubicBezTo>
                    <a:lnTo>
                      <a:pt x="1" y="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1" name="任意多边形: 形状 820">
                <a:extLst>
                  <a:ext uri="{FF2B5EF4-FFF2-40B4-BE49-F238E27FC236}">
                    <a16:creationId xmlns:a16="http://schemas.microsoft.com/office/drawing/2014/main" id="{6D02AEEA-5818-47E1-9AD2-512ACC2B013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31" y="946"/>
                <a:ext cx="38" cy="25"/>
              </a:xfrm>
              <a:custGeom>
                <a:avLst/>
                <a:gdLst>
                  <a:gd name="T0" fmla="*/ 17 w 18"/>
                  <a:gd name="T1" fmla="*/ 0 h 12"/>
                  <a:gd name="T2" fmla="*/ 0 w 18"/>
                  <a:gd name="T3" fmla="*/ 7 h 12"/>
                  <a:gd name="T4" fmla="*/ 17 w 18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2">
                    <a:moveTo>
                      <a:pt x="17" y="0"/>
                    </a:moveTo>
                    <a:cubicBezTo>
                      <a:pt x="11" y="4"/>
                      <a:pt x="6" y="6"/>
                      <a:pt x="0" y="7"/>
                    </a:cubicBezTo>
                    <a:cubicBezTo>
                      <a:pt x="4" y="12"/>
                      <a:pt x="18" y="4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2" name="任意多边形: 形状 821">
                <a:extLst>
                  <a:ext uri="{FF2B5EF4-FFF2-40B4-BE49-F238E27FC236}">
                    <a16:creationId xmlns:a16="http://schemas.microsoft.com/office/drawing/2014/main" id="{6096C387-5DFE-45FC-870A-F48D01B8580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541" y="1349"/>
                <a:ext cx="31" cy="12"/>
              </a:xfrm>
              <a:custGeom>
                <a:avLst/>
                <a:gdLst>
                  <a:gd name="T0" fmla="*/ 0 w 15"/>
                  <a:gd name="T1" fmla="*/ 6 h 6"/>
                  <a:gd name="T2" fmla="*/ 0 w 15"/>
                  <a:gd name="T3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15" h="6">
                    <a:moveTo>
                      <a:pt x="0" y="6"/>
                    </a:moveTo>
                    <a:cubicBezTo>
                      <a:pt x="15" y="0"/>
                      <a:pt x="1" y="0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3" name="任意多边形: 形状 822">
                <a:extLst>
                  <a:ext uri="{FF2B5EF4-FFF2-40B4-BE49-F238E27FC236}">
                    <a16:creationId xmlns:a16="http://schemas.microsoft.com/office/drawing/2014/main" id="{221A1D7C-968A-4A5E-B13E-92E1D46C0C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19" y="988"/>
                <a:ext cx="29" cy="20"/>
              </a:xfrm>
              <a:custGeom>
                <a:avLst/>
                <a:gdLst>
                  <a:gd name="T0" fmla="*/ 0 w 14"/>
                  <a:gd name="T1" fmla="*/ 10 h 10"/>
                  <a:gd name="T2" fmla="*/ 14 w 14"/>
                  <a:gd name="T3" fmla="*/ 0 h 10"/>
                  <a:gd name="T4" fmla="*/ 0 w 14"/>
                  <a:gd name="T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0">
                    <a:moveTo>
                      <a:pt x="0" y="10"/>
                    </a:moveTo>
                    <a:cubicBezTo>
                      <a:pt x="7" y="8"/>
                      <a:pt x="14" y="7"/>
                      <a:pt x="14" y="0"/>
                    </a:cubicBezTo>
                    <a:cubicBezTo>
                      <a:pt x="10" y="5"/>
                      <a:pt x="0" y="3"/>
                      <a:pt x="0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4" name="任意多边形: 形状 823">
                <a:extLst>
                  <a:ext uri="{FF2B5EF4-FFF2-40B4-BE49-F238E27FC236}">
                    <a16:creationId xmlns:a16="http://schemas.microsoft.com/office/drawing/2014/main" id="{020C5618-635E-4715-ADE0-80A7A6552D9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96" y="1353"/>
                <a:ext cx="14" cy="23"/>
              </a:xfrm>
              <a:custGeom>
                <a:avLst/>
                <a:gdLst>
                  <a:gd name="T0" fmla="*/ 0 w 7"/>
                  <a:gd name="T1" fmla="*/ 3 h 11"/>
                  <a:gd name="T2" fmla="*/ 5 w 7"/>
                  <a:gd name="T3" fmla="*/ 11 h 11"/>
                  <a:gd name="T4" fmla="*/ 7 w 7"/>
                  <a:gd name="T5" fmla="*/ 5 h 11"/>
                  <a:gd name="T6" fmla="*/ 0 w 7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11">
                    <a:moveTo>
                      <a:pt x="0" y="3"/>
                    </a:moveTo>
                    <a:cubicBezTo>
                      <a:pt x="2" y="6"/>
                      <a:pt x="1" y="10"/>
                      <a:pt x="5" y="11"/>
                    </a:cubicBezTo>
                    <a:cubicBezTo>
                      <a:pt x="7" y="10"/>
                      <a:pt x="7" y="8"/>
                      <a:pt x="7" y="5"/>
                    </a:cubicBezTo>
                    <a:cubicBezTo>
                      <a:pt x="2" y="7"/>
                      <a:pt x="5" y="0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5" name="任意多边形: 形状 824">
                <a:extLst>
                  <a:ext uri="{FF2B5EF4-FFF2-40B4-BE49-F238E27FC236}">
                    <a16:creationId xmlns:a16="http://schemas.microsoft.com/office/drawing/2014/main" id="{4DDFB89C-67EC-464E-A52E-3A4A9C5E9F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250" y="1438"/>
                <a:ext cx="19" cy="10"/>
              </a:xfrm>
              <a:custGeom>
                <a:avLst/>
                <a:gdLst>
                  <a:gd name="T0" fmla="*/ 2 w 9"/>
                  <a:gd name="T1" fmla="*/ 5 h 5"/>
                  <a:gd name="T2" fmla="*/ 8 w 9"/>
                  <a:gd name="T3" fmla="*/ 0 h 5"/>
                  <a:gd name="T4" fmla="*/ 2 w 9"/>
                  <a:gd name="T5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2" y="5"/>
                    </a:moveTo>
                    <a:cubicBezTo>
                      <a:pt x="3" y="3"/>
                      <a:pt x="9" y="2"/>
                      <a:pt x="8" y="0"/>
                    </a:cubicBezTo>
                    <a:cubicBezTo>
                      <a:pt x="5" y="2"/>
                      <a:pt x="0" y="0"/>
                      <a:pt x="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6" name="任意多边形: 形状 825">
                <a:extLst>
                  <a:ext uri="{FF2B5EF4-FFF2-40B4-BE49-F238E27FC236}">
                    <a16:creationId xmlns:a16="http://schemas.microsoft.com/office/drawing/2014/main" id="{6A336A0B-3A67-4DA8-85D7-41193A17174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40" y="1071"/>
                <a:ext cx="17" cy="18"/>
              </a:xfrm>
              <a:custGeom>
                <a:avLst/>
                <a:gdLst>
                  <a:gd name="T0" fmla="*/ 0 w 8"/>
                  <a:gd name="T1" fmla="*/ 4 h 9"/>
                  <a:gd name="T2" fmla="*/ 7 w 8"/>
                  <a:gd name="T3" fmla="*/ 0 h 9"/>
                  <a:gd name="T4" fmla="*/ 0 w 8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9">
                    <a:moveTo>
                      <a:pt x="0" y="4"/>
                    </a:moveTo>
                    <a:cubicBezTo>
                      <a:pt x="2" y="9"/>
                      <a:pt x="8" y="2"/>
                      <a:pt x="7" y="0"/>
                    </a:cubicBezTo>
                    <a:cubicBezTo>
                      <a:pt x="4" y="3"/>
                      <a:pt x="4" y="4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7" name="任意多边形: 形状 826">
                <a:extLst>
                  <a:ext uri="{FF2B5EF4-FFF2-40B4-BE49-F238E27FC236}">
                    <a16:creationId xmlns:a16="http://schemas.microsoft.com/office/drawing/2014/main" id="{D58C267E-60F8-4B33-A191-9B4D495039E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306" y="1560"/>
                <a:ext cx="25" cy="15"/>
              </a:xfrm>
              <a:custGeom>
                <a:avLst/>
                <a:gdLst>
                  <a:gd name="T0" fmla="*/ 9 w 12"/>
                  <a:gd name="T1" fmla="*/ 1 h 7"/>
                  <a:gd name="T2" fmla="*/ 0 w 12"/>
                  <a:gd name="T3" fmla="*/ 3 h 7"/>
                  <a:gd name="T4" fmla="*/ 9 w 12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7">
                    <a:moveTo>
                      <a:pt x="9" y="1"/>
                    </a:moveTo>
                    <a:cubicBezTo>
                      <a:pt x="6" y="3"/>
                      <a:pt x="4" y="0"/>
                      <a:pt x="0" y="3"/>
                    </a:cubicBezTo>
                    <a:cubicBezTo>
                      <a:pt x="1" y="7"/>
                      <a:pt x="12" y="5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8" name="任意多边形: 形状 827">
                <a:extLst>
                  <a:ext uri="{FF2B5EF4-FFF2-40B4-BE49-F238E27FC236}">
                    <a16:creationId xmlns:a16="http://schemas.microsoft.com/office/drawing/2014/main" id="{0607A0A1-1DC0-49E8-96DE-9EC1DDB2007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97" y="1085"/>
                <a:ext cx="37" cy="29"/>
              </a:xfrm>
              <a:custGeom>
                <a:avLst/>
                <a:gdLst>
                  <a:gd name="T0" fmla="*/ 0 w 18"/>
                  <a:gd name="T1" fmla="*/ 14 h 14"/>
                  <a:gd name="T2" fmla="*/ 18 w 18"/>
                  <a:gd name="T3" fmla="*/ 0 h 14"/>
                  <a:gd name="T4" fmla="*/ 0 w 18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0" y="14"/>
                    </a:moveTo>
                    <a:cubicBezTo>
                      <a:pt x="12" y="7"/>
                      <a:pt x="12" y="9"/>
                      <a:pt x="18" y="0"/>
                    </a:cubicBezTo>
                    <a:cubicBezTo>
                      <a:pt x="11" y="5"/>
                      <a:pt x="1" y="8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29" name="任意多边形: 形状 828">
                <a:extLst>
                  <a:ext uri="{FF2B5EF4-FFF2-40B4-BE49-F238E27FC236}">
                    <a16:creationId xmlns:a16="http://schemas.microsoft.com/office/drawing/2014/main" id="{B5427E58-DAA8-451C-B8C3-0CE9C98C30F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47" y="1060"/>
                <a:ext cx="23" cy="11"/>
              </a:xfrm>
              <a:custGeom>
                <a:avLst/>
                <a:gdLst>
                  <a:gd name="T0" fmla="*/ 0 w 11"/>
                  <a:gd name="T1" fmla="*/ 4 h 5"/>
                  <a:gd name="T2" fmla="*/ 11 w 11"/>
                  <a:gd name="T3" fmla="*/ 1 h 5"/>
                  <a:gd name="T4" fmla="*/ 0 w 11"/>
                  <a:gd name="T5" fmla="*/ 4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5">
                    <a:moveTo>
                      <a:pt x="0" y="4"/>
                    </a:moveTo>
                    <a:cubicBezTo>
                      <a:pt x="4" y="0"/>
                      <a:pt x="10" y="5"/>
                      <a:pt x="11" y="1"/>
                    </a:cubicBezTo>
                    <a:cubicBezTo>
                      <a:pt x="8" y="0"/>
                      <a:pt x="1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0" name="任意多边形: 形状 829">
                <a:extLst>
                  <a:ext uri="{FF2B5EF4-FFF2-40B4-BE49-F238E27FC236}">
                    <a16:creationId xmlns:a16="http://schemas.microsoft.com/office/drawing/2014/main" id="{F703C2DB-712C-41D9-ACB2-D1F603A0FAB5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0" y="1068"/>
                <a:ext cx="15" cy="13"/>
              </a:xfrm>
              <a:custGeom>
                <a:avLst/>
                <a:gdLst>
                  <a:gd name="T0" fmla="*/ 5 w 7"/>
                  <a:gd name="T1" fmla="*/ 0 h 6"/>
                  <a:gd name="T2" fmla="*/ 0 w 7"/>
                  <a:gd name="T3" fmla="*/ 1 h 6"/>
                  <a:gd name="T4" fmla="*/ 3 w 7"/>
                  <a:gd name="T5" fmla="*/ 5 h 6"/>
                  <a:gd name="T6" fmla="*/ 5 w 7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" h="6">
                    <a:moveTo>
                      <a:pt x="5" y="0"/>
                    </a:moveTo>
                    <a:cubicBezTo>
                      <a:pt x="3" y="2"/>
                      <a:pt x="2" y="2"/>
                      <a:pt x="0" y="1"/>
                    </a:cubicBezTo>
                    <a:cubicBezTo>
                      <a:pt x="1" y="3"/>
                      <a:pt x="2" y="6"/>
                      <a:pt x="3" y="5"/>
                    </a:cubicBezTo>
                    <a:cubicBezTo>
                      <a:pt x="2" y="3"/>
                      <a:pt x="7" y="2"/>
                      <a:pt x="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1" name="任意多边形: 形状 830">
                <a:extLst>
                  <a:ext uri="{FF2B5EF4-FFF2-40B4-BE49-F238E27FC236}">
                    <a16:creationId xmlns:a16="http://schemas.microsoft.com/office/drawing/2014/main" id="{90CB6604-405A-4CAA-A551-00A1BD46B21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9" y="1116"/>
                <a:ext cx="37" cy="29"/>
              </a:xfrm>
              <a:custGeom>
                <a:avLst/>
                <a:gdLst>
                  <a:gd name="T0" fmla="*/ 0 w 18"/>
                  <a:gd name="T1" fmla="*/ 14 h 14"/>
                  <a:gd name="T2" fmla="*/ 18 w 18"/>
                  <a:gd name="T3" fmla="*/ 8 h 14"/>
                  <a:gd name="T4" fmla="*/ 0 w 18"/>
                  <a:gd name="T5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8" h="14">
                    <a:moveTo>
                      <a:pt x="0" y="14"/>
                    </a:moveTo>
                    <a:cubicBezTo>
                      <a:pt x="7" y="11"/>
                      <a:pt x="11" y="5"/>
                      <a:pt x="18" y="8"/>
                    </a:cubicBezTo>
                    <a:cubicBezTo>
                      <a:pt x="11" y="0"/>
                      <a:pt x="2" y="9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2" name="任意多边形: 形状 831">
                <a:extLst>
                  <a:ext uri="{FF2B5EF4-FFF2-40B4-BE49-F238E27FC236}">
                    <a16:creationId xmlns:a16="http://schemas.microsoft.com/office/drawing/2014/main" id="{B057C826-FBD6-49C5-A216-B330A3FA5AF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48" y="614"/>
                <a:ext cx="31" cy="21"/>
              </a:xfrm>
              <a:custGeom>
                <a:avLst/>
                <a:gdLst>
                  <a:gd name="T0" fmla="*/ 9 w 15"/>
                  <a:gd name="T1" fmla="*/ 5 h 10"/>
                  <a:gd name="T2" fmla="*/ 12 w 15"/>
                  <a:gd name="T3" fmla="*/ 1 h 10"/>
                  <a:gd name="T4" fmla="*/ 9 w 15"/>
                  <a:gd name="T5" fmla="*/ 5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0">
                    <a:moveTo>
                      <a:pt x="9" y="5"/>
                    </a:moveTo>
                    <a:cubicBezTo>
                      <a:pt x="10" y="5"/>
                      <a:pt x="15" y="5"/>
                      <a:pt x="12" y="1"/>
                    </a:cubicBezTo>
                    <a:cubicBezTo>
                      <a:pt x="11" y="0"/>
                      <a:pt x="0" y="10"/>
                      <a:pt x="9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3" name="任意多边形: 形状 832">
                <a:extLst>
                  <a:ext uri="{FF2B5EF4-FFF2-40B4-BE49-F238E27FC236}">
                    <a16:creationId xmlns:a16="http://schemas.microsoft.com/office/drawing/2014/main" id="{3C370810-928F-497A-887A-60594AAAFEF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134" y="1490"/>
                <a:ext cx="21" cy="10"/>
              </a:xfrm>
              <a:custGeom>
                <a:avLst/>
                <a:gdLst>
                  <a:gd name="T0" fmla="*/ 6 w 10"/>
                  <a:gd name="T1" fmla="*/ 0 h 5"/>
                  <a:gd name="T2" fmla="*/ 4 w 10"/>
                  <a:gd name="T3" fmla="*/ 5 h 5"/>
                  <a:gd name="T4" fmla="*/ 6 w 10"/>
                  <a:gd name="T5" fmla="*/ 0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6" y="0"/>
                    </a:moveTo>
                    <a:cubicBezTo>
                      <a:pt x="8" y="3"/>
                      <a:pt x="0" y="2"/>
                      <a:pt x="4" y="5"/>
                    </a:cubicBezTo>
                    <a:cubicBezTo>
                      <a:pt x="8" y="5"/>
                      <a:pt x="10" y="0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4" name="任意多边形: 形状 833">
                <a:extLst>
                  <a:ext uri="{FF2B5EF4-FFF2-40B4-BE49-F238E27FC236}">
                    <a16:creationId xmlns:a16="http://schemas.microsoft.com/office/drawing/2014/main" id="{50DA9284-C08B-474E-BB91-ED77CBC13D7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41" y="1247"/>
                <a:ext cx="25" cy="19"/>
              </a:xfrm>
              <a:custGeom>
                <a:avLst/>
                <a:gdLst>
                  <a:gd name="T0" fmla="*/ 1 w 12"/>
                  <a:gd name="T1" fmla="*/ 9 h 9"/>
                  <a:gd name="T2" fmla="*/ 9 w 12"/>
                  <a:gd name="T3" fmla="*/ 0 h 9"/>
                  <a:gd name="T4" fmla="*/ 1 w 1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1" y="9"/>
                    </a:moveTo>
                    <a:cubicBezTo>
                      <a:pt x="5" y="9"/>
                      <a:pt x="12" y="6"/>
                      <a:pt x="9" y="0"/>
                    </a:cubicBezTo>
                    <a:cubicBezTo>
                      <a:pt x="8" y="6"/>
                      <a:pt x="0" y="4"/>
                      <a:pt x="1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5" name="任意多边形: 形状 834">
                <a:extLst>
                  <a:ext uri="{FF2B5EF4-FFF2-40B4-BE49-F238E27FC236}">
                    <a16:creationId xmlns:a16="http://schemas.microsoft.com/office/drawing/2014/main" id="{7394F207-34EB-46DE-A2A7-B4291D21029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10" y="1189"/>
                <a:ext cx="12" cy="16"/>
              </a:xfrm>
              <a:custGeom>
                <a:avLst/>
                <a:gdLst>
                  <a:gd name="T0" fmla="*/ 3 w 6"/>
                  <a:gd name="T1" fmla="*/ 0 h 8"/>
                  <a:gd name="T2" fmla="*/ 0 w 6"/>
                  <a:gd name="T3" fmla="*/ 3 h 8"/>
                  <a:gd name="T4" fmla="*/ 6 w 6"/>
                  <a:gd name="T5" fmla="*/ 4 h 8"/>
                  <a:gd name="T6" fmla="*/ 5 w 6"/>
                  <a:gd name="T7" fmla="*/ 2 h 8"/>
                  <a:gd name="T8" fmla="*/ 3 w 6"/>
                  <a:gd name="T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8">
                    <a:moveTo>
                      <a:pt x="3" y="0"/>
                    </a:moveTo>
                    <a:cubicBezTo>
                      <a:pt x="1" y="1"/>
                      <a:pt x="0" y="2"/>
                      <a:pt x="0" y="3"/>
                    </a:cubicBezTo>
                    <a:cubicBezTo>
                      <a:pt x="0" y="6"/>
                      <a:pt x="6" y="8"/>
                      <a:pt x="6" y="4"/>
                    </a:cubicBezTo>
                    <a:cubicBezTo>
                      <a:pt x="3" y="5"/>
                      <a:pt x="5" y="3"/>
                      <a:pt x="5" y="2"/>
                    </a:cubicBezTo>
                    <a:cubicBezTo>
                      <a:pt x="4" y="2"/>
                      <a:pt x="4" y="1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6" name="任意多边形: 形状 835">
                <a:extLst>
                  <a:ext uri="{FF2B5EF4-FFF2-40B4-BE49-F238E27FC236}">
                    <a16:creationId xmlns:a16="http://schemas.microsoft.com/office/drawing/2014/main" id="{6E658B11-FA53-4A9C-A979-BA87DF26D0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18" y="1297"/>
                <a:ext cx="23" cy="10"/>
              </a:xfrm>
              <a:custGeom>
                <a:avLst/>
                <a:gdLst>
                  <a:gd name="T0" fmla="*/ 7 w 11"/>
                  <a:gd name="T1" fmla="*/ 1 h 5"/>
                  <a:gd name="T2" fmla="*/ 1 w 11"/>
                  <a:gd name="T3" fmla="*/ 0 h 5"/>
                  <a:gd name="T4" fmla="*/ 1 w 11"/>
                  <a:gd name="T5" fmla="*/ 2 h 5"/>
                  <a:gd name="T6" fmla="*/ 1 w 11"/>
                  <a:gd name="T7" fmla="*/ 4 h 5"/>
                  <a:gd name="T8" fmla="*/ 7 w 11"/>
                  <a:gd name="T9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5">
                    <a:moveTo>
                      <a:pt x="7" y="1"/>
                    </a:moveTo>
                    <a:cubicBezTo>
                      <a:pt x="4" y="4"/>
                      <a:pt x="3" y="0"/>
                      <a:pt x="1" y="0"/>
                    </a:cubicBezTo>
                    <a:cubicBezTo>
                      <a:pt x="2" y="1"/>
                      <a:pt x="2" y="2"/>
                      <a:pt x="1" y="2"/>
                    </a:cubicBezTo>
                    <a:cubicBezTo>
                      <a:pt x="0" y="2"/>
                      <a:pt x="0" y="3"/>
                      <a:pt x="1" y="4"/>
                    </a:cubicBezTo>
                    <a:cubicBezTo>
                      <a:pt x="2" y="5"/>
                      <a:pt x="11" y="1"/>
                      <a:pt x="7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7" name="任意多边形: 形状 836">
                <a:extLst>
                  <a:ext uri="{FF2B5EF4-FFF2-40B4-BE49-F238E27FC236}">
                    <a16:creationId xmlns:a16="http://schemas.microsoft.com/office/drawing/2014/main" id="{FB383144-6650-4341-9D29-DD5E35F0A76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6011" y="1550"/>
                <a:ext cx="27" cy="12"/>
              </a:xfrm>
              <a:custGeom>
                <a:avLst/>
                <a:gdLst>
                  <a:gd name="T0" fmla="*/ 10 w 13"/>
                  <a:gd name="T1" fmla="*/ 0 h 6"/>
                  <a:gd name="T2" fmla="*/ 0 w 13"/>
                  <a:gd name="T3" fmla="*/ 6 h 6"/>
                  <a:gd name="T4" fmla="*/ 10 w 13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6">
                    <a:moveTo>
                      <a:pt x="10" y="0"/>
                    </a:moveTo>
                    <a:cubicBezTo>
                      <a:pt x="5" y="3"/>
                      <a:pt x="1" y="1"/>
                      <a:pt x="0" y="6"/>
                    </a:cubicBezTo>
                    <a:cubicBezTo>
                      <a:pt x="2" y="4"/>
                      <a:pt x="13" y="1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8" name="任意多边形: 形状 837">
                <a:extLst>
                  <a:ext uri="{FF2B5EF4-FFF2-40B4-BE49-F238E27FC236}">
                    <a16:creationId xmlns:a16="http://schemas.microsoft.com/office/drawing/2014/main" id="{B2625346-C1B8-441F-B212-104AA04579D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932" y="1448"/>
                <a:ext cx="17" cy="15"/>
              </a:xfrm>
              <a:custGeom>
                <a:avLst/>
                <a:gdLst>
                  <a:gd name="T0" fmla="*/ 3 w 8"/>
                  <a:gd name="T1" fmla="*/ 7 h 7"/>
                  <a:gd name="T2" fmla="*/ 8 w 8"/>
                  <a:gd name="T3" fmla="*/ 5 h 7"/>
                  <a:gd name="T4" fmla="*/ 3 w 8"/>
                  <a:gd name="T5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3" y="7"/>
                    </a:moveTo>
                    <a:cubicBezTo>
                      <a:pt x="8" y="5"/>
                      <a:pt x="8" y="5"/>
                      <a:pt x="8" y="5"/>
                    </a:cubicBezTo>
                    <a:cubicBezTo>
                      <a:pt x="6" y="0"/>
                      <a:pt x="0" y="3"/>
                      <a:pt x="3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39" name="任意多边形: 形状 838">
                <a:extLst>
                  <a:ext uri="{FF2B5EF4-FFF2-40B4-BE49-F238E27FC236}">
                    <a16:creationId xmlns:a16="http://schemas.microsoft.com/office/drawing/2014/main" id="{EEA4166D-911F-4019-A4E7-E79401BAF6D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83" y="1484"/>
                <a:ext cx="27" cy="16"/>
              </a:xfrm>
              <a:custGeom>
                <a:avLst/>
                <a:gdLst>
                  <a:gd name="T0" fmla="*/ 0 w 13"/>
                  <a:gd name="T1" fmla="*/ 7 h 8"/>
                  <a:gd name="T2" fmla="*/ 12 w 13"/>
                  <a:gd name="T3" fmla="*/ 1 h 8"/>
                  <a:gd name="T4" fmla="*/ 0 w 13"/>
                  <a:gd name="T5" fmla="*/ 7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8">
                    <a:moveTo>
                      <a:pt x="0" y="7"/>
                    </a:moveTo>
                    <a:cubicBezTo>
                      <a:pt x="4" y="3"/>
                      <a:pt x="13" y="8"/>
                      <a:pt x="12" y="1"/>
                    </a:cubicBezTo>
                    <a:cubicBezTo>
                      <a:pt x="9" y="0"/>
                      <a:pt x="1" y="4"/>
                      <a:pt x="0" y="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0" name="任意多边形: 形状 839">
                <a:extLst>
                  <a:ext uri="{FF2B5EF4-FFF2-40B4-BE49-F238E27FC236}">
                    <a16:creationId xmlns:a16="http://schemas.microsoft.com/office/drawing/2014/main" id="{6E51B3C5-92A9-4C01-8F43-DF81793F322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33" y="1102"/>
                <a:ext cx="19" cy="12"/>
              </a:xfrm>
              <a:custGeom>
                <a:avLst/>
                <a:gdLst>
                  <a:gd name="T0" fmla="*/ 9 w 9"/>
                  <a:gd name="T1" fmla="*/ 4 h 6"/>
                  <a:gd name="T2" fmla="*/ 2 w 9"/>
                  <a:gd name="T3" fmla="*/ 5 h 6"/>
                  <a:gd name="T4" fmla="*/ 9 w 9"/>
                  <a:gd name="T5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6">
                    <a:moveTo>
                      <a:pt x="9" y="4"/>
                    </a:moveTo>
                    <a:cubicBezTo>
                      <a:pt x="8" y="0"/>
                      <a:pt x="0" y="2"/>
                      <a:pt x="2" y="5"/>
                    </a:cubicBezTo>
                    <a:cubicBezTo>
                      <a:pt x="5" y="3"/>
                      <a:pt x="6" y="6"/>
                      <a:pt x="9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1" name="任意多边形: 形状 840">
                <a:extLst>
                  <a:ext uri="{FF2B5EF4-FFF2-40B4-BE49-F238E27FC236}">
                    <a16:creationId xmlns:a16="http://schemas.microsoft.com/office/drawing/2014/main" id="{2874B19A-B068-4D94-9744-FAB68629B9D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27" y="1450"/>
                <a:ext cx="19" cy="15"/>
              </a:xfrm>
              <a:custGeom>
                <a:avLst/>
                <a:gdLst>
                  <a:gd name="T0" fmla="*/ 8 w 9"/>
                  <a:gd name="T1" fmla="*/ 0 h 7"/>
                  <a:gd name="T2" fmla="*/ 0 w 9"/>
                  <a:gd name="T3" fmla="*/ 7 h 7"/>
                  <a:gd name="T4" fmla="*/ 8 w 9"/>
                  <a:gd name="T5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7">
                    <a:moveTo>
                      <a:pt x="8" y="0"/>
                    </a:moveTo>
                    <a:cubicBezTo>
                      <a:pt x="6" y="2"/>
                      <a:pt x="1" y="4"/>
                      <a:pt x="0" y="7"/>
                    </a:cubicBezTo>
                    <a:cubicBezTo>
                      <a:pt x="3" y="6"/>
                      <a:pt x="9" y="4"/>
                      <a:pt x="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2" name="任意多边形: 形状 841">
                <a:extLst>
                  <a:ext uri="{FF2B5EF4-FFF2-40B4-BE49-F238E27FC236}">
                    <a16:creationId xmlns:a16="http://schemas.microsoft.com/office/drawing/2014/main" id="{E3CFD52A-9B04-4BB6-BA68-422B3F98026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85" y="1467"/>
                <a:ext cx="29" cy="19"/>
              </a:xfrm>
              <a:custGeom>
                <a:avLst/>
                <a:gdLst>
                  <a:gd name="T0" fmla="*/ 0 w 14"/>
                  <a:gd name="T1" fmla="*/ 9 h 9"/>
                  <a:gd name="T2" fmla="*/ 13 w 14"/>
                  <a:gd name="T3" fmla="*/ 0 h 9"/>
                  <a:gd name="T4" fmla="*/ 0 w 14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9">
                    <a:moveTo>
                      <a:pt x="0" y="9"/>
                    </a:moveTo>
                    <a:cubicBezTo>
                      <a:pt x="3" y="4"/>
                      <a:pt x="14" y="4"/>
                      <a:pt x="13" y="0"/>
                    </a:cubicBezTo>
                    <a:cubicBezTo>
                      <a:pt x="11" y="0"/>
                      <a:pt x="0" y="5"/>
                      <a:pt x="0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3" name="任意多边形: 形状 842">
                <a:extLst>
                  <a:ext uri="{FF2B5EF4-FFF2-40B4-BE49-F238E27FC236}">
                    <a16:creationId xmlns:a16="http://schemas.microsoft.com/office/drawing/2014/main" id="{B512E52A-8158-4FCE-980D-6C954E474C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78" y="1156"/>
                <a:ext cx="16" cy="14"/>
              </a:xfrm>
              <a:custGeom>
                <a:avLst/>
                <a:gdLst>
                  <a:gd name="T0" fmla="*/ 8 w 8"/>
                  <a:gd name="T1" fmla="*/ 3 h 7"/>
                  <a:gd name="T2" fmla="*/ 0 w 8"/>
                  <a:gd name="T3" fmla="*/ 2 h 7"/>
                  <a:gd name="T4" fmla="*/ 8 w 8"/>
                  <a:gd name="T5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7">
                    <a:moveTo>
                      <a:pt x="8" y="3"/>
                    </a:moveTo>
                    <a:cubicBezTo>
                      <a:pt x="4" y="7"/>
                      <a:pt x="3" y="0"/>
                      <a:pt x="0" y="2"/>
                    </a:cubicBezTo>
                    <a:cubicBezTo>
                      <a:pt x="1" y="7"/>
                      <a:pt x="8" y="6"/>
                      <a:pt x="8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4" name="任意多边形: 形状 843">
                <a:extLst>
                  <a:ext uri="{FF2B5EF4-FFF2-40B4-BE49-F238E27FC236}">
                    <a16:creationId xmlns:a16="http://schemas.microsoft.com/office/drawing/2014/main" id="{1E066F92-CA0F-47E3-B506-C499B70B568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25" y="1473"/>
                <a:ext cx="25" cy="19"/>
              </a:xfrm>
              <a:custGeom>
                <a:avLst/>
                <a:gdLst>
                  <a:gd name="T0" fmla="*/ 2 w 12"/>
                  <a:gd name="T1" fmla="*/ 9 h 9"/>
                  <a:gd name="T2" fmla="*/ 11 w 12"/>
                  <a:gd name="T3" fmla="*/ 1 h 9"/>
                  <a:gd name="T4" fmla="*/ 3 w 12"/>
                  <a:gd name="T5" fmla="*/ 3 h 9"/>
                  <a:gd name="T6" fmla="*/ 2 w 12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9">
                    <a:moveTo>
                      <a:pt x="2" y="9"/>
                    </a:moveTo>
                    <a:cubicBezTo>
                      <a:pt x="6" y="7"/>
                      <a:pt x="12" y="5"/>
                      <a:pt x="11" y="1"/>
                    </a:cubicBezTo>
                    <a:cubicBezTo>
                      <a:pt x="9" y="3"/>
                      <a:pt x="3" y="0"/>
                      <a:pt x="3" y="3"/>
                    </a:cubicBezTo>
                    <a:cubicBezTo>
                      <a:pt x="8" y="4"/>
                      <a:pt x="0" y="7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5" name="任意多边形: 形状 844">
                <a:extLst>
                  <a:ext uri="{FF2B5EF4-FFF2-40B4-BE49-F238E27FC236}">
                    <a16:creationId xmlns:a16="http://schemas.microsoft.com/office/drawing/2014/main" id="{D82A86F4-7DE9-4D9D-BF80-F6EFC21C941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92" y="1488"/>
                <a:ext cx="33" cy="27"/>
              </a:xfrm>
              <a:custGeom>
                <a:avLst/>
                <a:gdLst>
                  <a:gd name="T0" fmla="*/ 12 w 16"/>
                  <a:gd name="T1" fmla="*/ 4 h 13"/>
                  <a:gd name="T2" fmla="*/ 16 w 16"/>
                  <a:gd name="T3" fmla="*/ 3 h 13"/>
                  <a:gd name="T4" fmla="*/ 9 w 16"/>
                  <a:gd name="T5" fmla="*/ 2 h 13"/>
                  <a:gd name="T6" fmla="*/ 10 w 16"/>
                  <a:gd name="T7" fmla="*/ 7 h 13"/>
                  <a:gd name="T8" fmla="*/ 1 w 16"/>
                  <a:gd name="T9" fmla="*/ 13 h 13"/>
                  <a:gd name="T10" fmla="*/ 12 w 16"/>
                  <a:gd name="T11" fmla="*/ 8 h 13"/>
                  <a:gd name="T12" fmla="*/ 10 w 16"/>
                  <a:gd name="T13" fmla="*/ 8 h 13"/>
                  <a:gd name="T14" fmla="*/ 12 w 16"/>
                  <a:gd name="T15" fmla="*/ 4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13">
                    <a:moveTo>
                      <a:pt x="12" y="4"/>
                    </a:moveTo>
                    <a:cubicBezTo>
                      <a:pt x="14" y="3"/>
                      <a:pt x="15" y="3"/>
                      <a:pt x="16" y="3"/>
                    </a:cubicBezTo>
                    <a:cubicBezTo>
                      <a:pt x="15" y="0"/>
                      <a:pt x="11" y="3"/>
                      <a:pt x="9" y="2"/>
                    </a:cubicBezTo>
                    <a:cubicBezTo>
                      <a:pt x="10" y="5"/>
                      <a:pt x="7" y="6"/>
                      <a:pt x="10" y="7"/>
                    </a:cubicBezTo>
                    <a:cubicBezTo>
                      <a:pt x="6" y="6"/>
                      <a:pt x="0" y="8"/>
                      <a:pt x="1" y="13"/>
                    </a:cubicBezTo>
                    <a:cubicBezTo>
                      <a:pt x="3" y="8"/>
                      <a:pt x="11" y="13"/>
                      <a:pt x="12" y="8"/>
                    </a:cubicBezTo>
                    <a:cubicBezTo>
                      <a:pt x="12" y="8"/>
                      <a:pt x="11" y="8"/>
                      <a:pt x="10" y="8"/>
                    </a:cubicBezTo>
                    <a:cubicBezTo>
                      <a:pt x="12" y="7"/>
                      <a:pt x="12" y="5"/>
                      <a:pt x="12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6" name="任意多边形: 形状 845">
                <a:extLst>
                  <a:ext uri="{FF2B5EF4-FFF2-40B4-BE49-F238E27FC236}">
                    <a16:creationId xmlns:a16="http://schemas.microsoft.com/office/drawing/2014/main" id="{148041BC-0226-4057-BAE5-CD955AB53A8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764" y="1917"/>
                <a:ext cx="21" cy="11"/>
              </a:xfrm>
              <a:custGeom>
                <a:avLst/>
                <a:gdLst>
                  <a:gd name="T0" fmla="*/ 1 w 10"/>
                  <a:gd name="T1" fmla="*/ 3 h 5"/>
                  <a:gd name="T2" fmla="*/ 7 w 10"/>
                  <a:gd name="T3" fmla="*/ 1 h 5"/>
                  <a:gd name="T4" fmla="*/ 1 w 10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5">
                    <a:moveTo>
                      <a:pt x="1" y="3"/>
                    </a:moveTo>
                    <a:cubicBezTo>
                      <a:pt x="2" y="5"/>
                      <a:pt x="10" y="5"/>
                      <a:pt x="7" y="1"/>
                    </a:cubicBezTo>
                    <a:cubicBezTo>
                      <a:pt x="5" y="4"/>
                      <a:pt x="0" y="0"/>
                      <a:pt x="1" y="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7" name="任意多边形: 形状 846">
                <a:extLst>
                  <a:ext uri="{FF2B5EF4-FFF2-40B4-BE49-F238E27FC236}">
                    <a16:creationId xmlns:a16="http://schemas.microsoft.com/office/drawing/2014/main" id="{76C18784-023F-4D72-9190-3E66893863E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19" y="1749"/>
                <a:ext cx="19" cy="11"/>
              </a:xfrm>
              <a:custGeom>
                <a:avLst/>
                <a:gdLst>
                  <a:gd name="T0" fmla="*/ 0 w 9"/>
                  <a:gd name="T1" fmla="*/ 1 h 5"/>
                  <a:gd name="T2" fmla="*/ 6 w 9"/>
                  <a:gd name="T3" fmla="*/ 0 h 5"/>
                  <a:gd name="T4" fmla="*/ 0 w 9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9" h="5">
                    <a:moveTo>
                      <a:pt x="0" y="1"/>
                    </a:moveTo>
                    <a:cubicBezTo>
                      <a:pt x="0" y="5"/>
                      <a:pt x="9" y="4"/>
                      <a:pt x="6" y="0"/>
                    </a:cubicBezTo>
                    <a:cubicBezTo>
                      <a:pt x="4" y="1"/>
                      <a:pt x="2" y="1"/>
                      <a:pt x="0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8" name="任意多边形: 形状 847">
                <a:extLst>
                  <a:ext uri="{FF2B5EF4-FFF2-40B4-BE49-F238E27FC236}">
                    <a16:creationId xmlns:a16="http://schemas.microsoft.com/office/drawing/2014/main" id="{FCBC7B9A-7408-4196-A750-BF20774C2C3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27" y="1880"/>
                <a:ext cx="17" cy="12"/>
              </a:xfrm>
              <a:custGeom>
                <a:avLst/>
                <a:gdLst>
                  <a:gd name="T0" fmla="*/ 1 w 8"/>
                  <a:gd name="T1" fmla="*/ 5 h 6"/>
                  <a:gd name="T2" fmla="*/ 8 w 8"/>
                  <a:gd name="T3" fmla="*/ 0 h 6"/>
                  <a:gd name="T4" fmla="*/ 1 w 8"/>
                  <a:gd name="T5" fmla="*/ 5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1" y="5"/>
                    </a:moveTo>
                    <a:cubicBezTo>
                      <a:pt x="4" y="6"/>
                      <a:pt x="7" y="2"/>
                      <a:pt x="8" y="0"/>
                    </a:cubicBezTo>
                    <a:cubicBezTo>
                      <a:pt x="6" y="2"/>
                      <a:pt x="0" y="2"/>
                      <a:pt x="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49" name="任意多边形: 形状 848">
                <a:extLst>
                  <a:ext uri="{FF2B5EF4-FFF2-40B4-BE49-F238E27FC236}">
                    <a16:creationId xmlns:a16="http://schemas.microsoft.com/office/drawing/2014/main" id="{B362E801-20E8-4C94-A38E-75F8B3548FA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802" y="2307"/>
                <a:ext cx="12" cy="13"/>
              </a:xfrm>
              <a:custGeom>
                <a:avLst/>
                <a:gdLst>
                  <a:gd name="T0" fmla="*/ 3 w 6"/>
                  <a:gd name="T1" fmla="*/ 0 h 6"/>
                  <a:gd name="T2" fmla="*/ 0 w 6"/>
                  <a:gd name="T3" fmla="*/ 2 h 6"/>
                  <a:gd name="T4" fmla="*/ 3 w 6"/>
                  <a:gd name="T5" fmla="*/ 6 h 6"/>
                  <a:gd name="T6" fmla="*/ 6 w 6"/>
                  <a:gd name="T7" fmla="*/ 1 h 6"/>
                  <a:gd name="T8" fmla="*/ 3 w 6"/>
                  <a:gd name="T9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6">
                    <a:moveTo>
                      <a:pt x="3" y="0"/>
                    </a:moveTo>
                    <a:cubicBezTo>
                      <a:pt x="0" y="2"/>
                      <a:pt x="0" y="2"/>
                      <a:pt x="0" y="2"/>
                    </a:cubicBezTo>
                    <a:cubicBezTo>
                      <a:pt x="1" y="4"/>
                      <a:pt x="2" y="4"/>
                      <a:pt x="3" y="6"/>
                    </a:cubicBezTo>
                    <a:cubicBezTo>
                      <a:pt x="5" y="5"/>
                      <a:pt x="6" y="3"/>
                      <a:pt x="6" y="1"/>
                    </a:cubicBezTo>
                    <a:cubicBezTo>
                      <a:pt x="3" y="3"/>
                      <a:pt x="2" y="3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0" name="任意多边形: 形状 849">
                <a:extLst>
                  <a:ext uri="{FF2B5EF4-FFF2-40B4-BE49-F238E27FC236}">
                    <a16:creationId xmlns:a16="http://schemas.microsoft.com/office/drawing/2014/main" id="{488FF491-5576-4903-B6D8-3D99E5594E7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95" y="1708"/>
                <a:ext cx="95" cy="41"/>
              </a:xfrm>
              <a:custGeom>
                <a:avLst/>
                <a:gdLst>
                  <a:gd name="T0" fmla="*/ 0 w 46"/>
                  <a:gd name="T1" fmla="*/ 20 h 20"/>
                  <a:gd name="T2" fmla="*/ 46 w 46"/>
                  <a:gd name="T3" fmla="*/ 0 h 20"/>
                  <a:gd name="T4" fmla="*/ 0 w 46"/>
                  <a:gd name="T5" fmla="*/ 20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46" h="20">
                    <a:moveTo>
                      <a:pt x="0" y="20"/>
                    </a:moveTo>
                    <a:cubicBezTo>
                      <a:pt x="17" y="13"/>
                      <a:pt x="33" y="10"/>
                      <a:pt x="46" y="0"/>
                    </a:cubicBezTo>
                    <a:cubicBezTo>
                      <a:pt x="33" y="10"/>
                      <a:pt x="9" y="1"/>
                      <a:pt x="0" y="2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1" name="任意多边形: 形状 850">
                <a:extLst>
                  <a:ext uri="{FF2B5EF4-FFF2-40B4-BE49-F238E27FC236}">
                    <a16:creationId xmlns:a16="http://schemas.microsoft.com/office/drawing/2014/main" id="{3B934F2F-4B7D-4362-B652-5EB7CE45500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86" y="2116"/>
                <a:ext cx="16" cy="17"/>
              </a:xfrm>
              <a:custGeom>
                <a:avLst/>
                <a:gdLst>
                  <a:gd name="T0" fmla="*/ 0 w 8"/>
                  <a:gd name="T1" fmla="*/ 3 h 8"/>
                  <a:gd name="T2" fmla="*/ 6 w 8"/>
                  <a:gd name="T3" fmla="*/ 0 h 8"/>
                  <a:gd name="T4" fmla="*/ 0 w 8"/>
                  <a:gd name="T5" fmla="*/ 3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8">
                    <a:moveTo>
                      <a:pt x="0" y="3"/>
                    </a:moveTo>
                    <a:cubicBezTo>
                      <a:pt x="2" y="8"/>
                      <a:pt x="8" y="4"/>
                      <a:pt x="6" y="0"/>
                    </a:cubicBezTo>
                    <a:lnTo>
                      <a:pt x="0" y="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2" name="任意多边形: 形状 851">
                <a:extLst>
                  <a:ext uri="{FF2B5EF4-FFF2-40B4-BE49-F238E27FC236}">
                    <a16:creationId xmlns:a16="http://schemas.microsoft.com/office/drawing/2014/main" id="{7934AAEA-AA47-41BD-841D-EDC48667A440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619" y="2226"/>
                <a:ext cx="16" cy="9"/>
              </a:xfrm>
              <a:custGeom>
                <a:avLst/>
                <a:gdLst>
                  <a:gd name="T0" fmla="*/ 0 w 8"/>
                  <a:gd name="T1" fmla="*/ 4 h 4"/>
                  <a:gd name="T2" fmla="*/ 7 w 8"/>
                  <a:gd name="T3" fmla="*/ 0 h 4"/>
                  <a:gd name="T4" fmla="*/ 0 w 8"/>
                  <a:gd name="T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4">
                    <a:moveTo>
                      <a:pt x="0" y="4"/>
                    </a:moveTo>
                    <a:cubicBezTo>
                      <a:pt x="1" y="4"/>
                      <a:pt x="8" y="3"/>
                      <a:pt x="7" y="0"/>
                    </a:cubicBezTo>
                    <a:cubicBezTo>
                      <a:pt x="5" y="3"/>
                      <a:pt x="0" y="0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3" name="任意多边形: 形状 852">
                <a:extLst>
                  <a:ext uri="{FF2B5EF4-FFF2-40B4-BE49-F238E27FC236}">
                    <a16:creationId xmlns:a16="http://schemas.microsoft.com/office/drawing/2014/main" id="{76A70BFB-4B2B-4220-A714-CC8C1E87F55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6" y="2139"/>
                <a:ext cx="21" cy="13"/>
              </a:xfrm>
              <a:custGeom>
                <a:avLst/>
                <a:gdLst>
                  <a:gd name="T0" fmla="*/ 3 w 10"/>
                  <a:gd name="T1" fmla="*/ 6 h 6"/>
                  <a:gd name="T2" fmla="*/ 10 w 10"/>
                  <a:gd name="T3" fmla="*/ 0 h 6"/>
                  <a:gd name="T4" fmla="*/ 3 w 10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6">
                    <a:moveTo>
                      <a:pt x="3" y="6"/>
                    </a:moveTo>
                    <a:cubicBezTo>
                      <a:pt x="7" y="4"/>
                      <a:pt x="9" y="3"/>
                      <a:pt x="10" y="0"/>
                    </a:cubicBezTo>
                    <a:cubicBezTo>
                      <a:pt x="8" y="2"/>
                      <a:pt x="0" y="2"/>
                      <a:pt x="3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4" name="任意多边形: 形状 853">
                <a:extLst>
                  <a:ext uri="{FF2B5EF4-FFF2-40B4-BE49-F238E27FC236}">
                    <a16:creationId xmlns:a16="http://schemas.microsoft.com/office/drawing/2014/main" id="{102C0B79-C1E5-4FD4-BBC2-FA13052A4A1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30" y="2181"/>
                <a:ext cx="24" cy="18"/>
              </a:xfrm>
              <a:custGeom>
                <a:avLst/>
                <a:gdLst>
                  <a:gd name="T0" fmla="*/ 6 w 12"/>
                  <a:gd name="T1" fmla="*/ 1 h 9"/>
                  <a:gd name="T2" fmla="*/ 0 w 12"/>
                  <a:gd name="T3" fmla="*/ 3 h 9"/>
                  <a:gd name="T4" fmla="*/ 6 w 12"/>
                  <a:gd name="T5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6" y="1"/>
                    </a:moveTo>
                    <a:cubicBezTo>
                      <a:pt x="7" y="4"/>
                      <a:pt x="2" y="0"/>
                      <a:pt x="0" y="3"/>
                    </a:cubicBezTo>
                    <a:cubicBezTo>
                      <a:pt x="1" y="9"/>
                      <a:pt x="12" y="0"/>
                      <a:pt x="6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5" name="任意多边形: 形状 854">
                <a:extLst>
                  <a:ext uri="{FF2B5EF4-FFF2-40B4-BE49-F238E27FC236}">
                    <a16:creationId xmlns:a16="http://schemas.microsoft.com/office/drawing/2014/main" id="{68EA2160-CC6E-43CA-9059-86FA6D64E3C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9" y="2189"/>
                <a:ext cx="21" cy="19"/>
              </a:xfrm>
              <a:custGeom>
                <a:avLst/>
                <a:gdLst>
                  <a:gd name="T0" fmla="*/ 0 w 10"/>
                  <a:gd name="T1" fmla="*/ 4 h 9"/>
                  <a:gd name="T2" fmla="*/ 8 w 10"/>
                  <a:gd name="T3" fmla="*/ 0 h 9"/>
                  <a:gd name="T4" fmla="*/ 0 w 10"/>
                  <a:gd name="T5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0" h="9">
                    <a:moveTo>
                      <a:pt x="0" y="4"/>
                    </a:moveTo>
                    <a:cubicBezTo>
                      <a:pt x="1" y="9"/>
                      <a:pt x="10" y="3"/>
                      <a:pt x="8" y="0"/>
                    </a:cubicBezTo>
                    <a:cubicBezTo>
                      <a:pt x="3" y="2"/>
                      <a:pt x="4" y="4"/>
                      <a:pt x="0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6" name="任意多边形: 形状 855">
                <a:extLst>
                  <a:ext uri="{FF2B5EF4-FFF2-40B4-BE49-F238E27FC236}">
                    <a16:creationId xmlns:a16="http://schemas.microsoft.com/office/drawing/2014/main" id="{C79CF614-DAC9-4B46-8B84-3E8DCD4C828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64" y="1743"/>
                <a:ext cx="31" cy="21"/>
              </a:xfrm>
              <a:custGeom>
                <a:avLst/>
                <a:gdLst>
                  <a:gd name="T0" fmla="*/ 13 w 15"/>
                  <a:gd name="T1" fmla="*/ 0 h 10"/>
                  <a:gd name="T2" fmla="*/ 0 w 15"/>
                  <a:gd name="T3" fmla="*/ 7 h 10"/>
                  <a:gd name="T4" fmla="*/ 8 w 15"/>
                  <a:gd name="T5" fmla="*/ 9 h 10"/>
                  <a:gd name="T6" fmla="*/ 13 w 15"/>
                  <a:gd name="T7" fmla="*/ 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5" h="10">
                    <a:moveTo>
                      <a:pt x="13" y="0"/>
                    </a:moveTo>
                    <a:cubicBezTo>
                      <a:pt x="11" y="3"/>
                      <a:pt x="2" y="2"/>
                      <a:pt x="0" y="7"/>
                    </a:cubicBezTo>
                    <a:cubicBezTo>
                      <a:pt x="2" y="10"/>
                      <a:pt x="5" y="9"/>
                      <a:pt x="8" y="9"/>
                    </a:cubicBezTo>
                    <a:cubicBezTo>
                      <a:pt x="6" y="4"/>
                      <a:pt x="15" y="5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7" name="任意多边形: 形状 856">
                <a:extLst>
                  <a:ext uri="{FF2B5EF4-FFF2-40B4-BE49-F238E27FC236}">
                    <a16:creationId xmlns:a16="http://schemas.microsoft.com/office/drawing/2014/main" id="{ADA8885E-29AE-4F1E-BAA6-32383170F98F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97" y="1865"/>
                <a:ext cx="25" cy="13"/>
              </a:xfrm>
              <a:custGeom>
                <a:avLst/>
                <a:gdLst>
                  <a:gd name="T0" fmla="*/ 0 w 12"/>
                  <a:gd name="T1" fmla="*/ 6 h 6"/>
                  <a:gd name="T2" fmla="*/ 7 w 12"/>
                  <a:gd name="T3" fmla="*/ 0 h 6"/>
                  <a:gd name="T4" fmla="*/ 0 w 12"/>
                  <a:gd name="T5" fmla="*/ 2 h 6"/>
                  <a:gd name="T6" fmla="*/ 1 w 12"/>
                  <a:gd name="T7" fmla="*/ 4 h 6"/>
                  <a:gd name="T8" fmla="*/ 0 w 12"/>
                  <a:gd name="T9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6">
                    <a:moveTo>
                      <a:pt x="0" y="6"/>
                    </a:moveTo>
                    <a:cubicBezTo>
                      <a:pt x="3" y="5"/>
                      <a:pt x="12" y="2"/>
                      <a:pt x="7" y="0"/>
                    </a:cubicBezTo>
                    <a:cubicBezTo>
                      <a:pt x="7" y="3"/>
                      <a:pt x="2" y="0"/>
                      <a:pt x="0" y="2"/>
                    </a:cubicBezTo>
                    <a:cubicBezTo>
                      <a:pt x="1" y="4"/>
                      <a:pt x="1" y="4"/>
                      <a:pt x="1" y="4"/>
                    </a:cubicBezTo>
                    <a:cubicBezTo>
                      <a:pt x="0" y="5"/>
                      <a:pt x="0" y="5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8" name="任意多边形: 形状 857">
                <a:extLst>
                  <a:ext uri="{FF2B5EF4-FFF2-40B4-BE49-F238E27FC236}">
                    <a16:creationId xmlns:a16="http://schemas.microsoft.com/office/drawing/2014/main" id="{7D6EDE64-1D5B-4E51-B257-FE6FA5AB4F1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53" y="1872"/>
                <a:ext cx="13" cy="16"/>
              </a:xfrm>
              <a:custGeom>
                <a:avLst/>
                <a:gdLst>
                  <a:gd name="T0" fmla="*/ 0 w 6"/>
                  <a:gd name="T1" fmla="*/ 8 h 8"/>
                  <a:gd name="T2" fmla="*/ 6 w 6"/>
                  <a:gd name="T3" fmla="*/ 0 h 8"/>
                  <a:gd name="T4" fmla="*/ 0 w 6"/>
                  <a:gd name="T5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8">
                    <a:moveTo>
                      <a:pt x="0" y="8"/>
                    </a:moveTo>
                    <a:cubicBezTo>
                      <a:pt x="5" y="7"/>
                      <a:pt x="5" y="4"/>
                      <a:pt x="6" y="0"/>
                    </a:cubicBezTo>
                    <a:cubicBezTo>
                      <a:pt x="3" y="3"/>
                      <a:pt x="3" y="6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59" name="任意多边形: 形状 858">
                <a:extLst>
                  <a:ext uri="{FF2B5EF4-FFF2-40B4-BE49-F238E27FC236}">
                    <a16:creationId xmlns:a16="http://schemas.microsoft.com/office/drawing/2014/main" id="{9BB6261C-6BA9-4E6A-84AF-D4E9ADB27136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353" y="2110"/>
                <a:ext cx="15" cy="13"/>
              </a:xfrm>
              <a:custGeom>
                <a:avLst/>
                <a:gdLst>
                  <a:gd name="T0" fmla="*/ 2 w 7"/>
                  <a:gd name="T1" fmla="*/ 6 h 6"/>
                  <a:gd name="T2" fmla="*/ 7 w 7"/>
                  <a:gd name="T3" fmla="*/ 1 h 6"/>
                  <a:gd name="T4" fmla="*/ 2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2" y="6"/>
                    </a:moveTo>
                    <a:cubicBezTo>
                      <a:pt x="5" y="5"/>
                      <a:pt x="7" y="3"/>
                      <a:pt x="7" y="1"/>
                    </a:cubicBezTo>
                    <a:cubicBezTo>
                      <a:pt x="5" y="0"/>
                      <a:pt x="0" y="2"/>
                      <a:pt x="2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0" name="任意多边形: 形状 859">
                <a:extLst>
                  <a:ext uri="{FF2B5EF4-FFF2-40B4-BE49-F238E27FC236}">
                    <a16:creationId xmlns:a16="http://schemas.microsoft.com/office/drawing/2014/main" id="{3A9124D0-D216-4775-B0BD-8463E83A290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413" y="2243"/>
                <a:ext cx="17" cy="10"/>
              </a:xfrm>
              <a:custGeom>
                <a:avLst/>
                <a:gdLst>
                  <a:gd name="T0" fmla="*/ 8 w 8"/>
                  <a:gd name="T1" fmla="*/ 1 h 5"/>
                  <a:gd name="T2" fmla="*/ 0 w 8"/>
                  <a:gd name="T3" fmla="*/ 4 h 5"/>
                  <a:gd name="T4" fmla="*/ 7 w 8"/>
                  <a:gd name="T5" fmla="*/ 5 h 5"/>
                  <a:gd name="T6" fmla="*/ 8 w 8"/>
                  <a:gd name="T7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5">
                    <a:moveTo>
                      <a:pt x="8" y="1"/>
                    </a:moveTo>
                    <a:cubicBezTo>
                      <a:pt x="6" y="1"/>
                      <a:pt x="0" y="0"/>
                      <a:pt x="0" y="4"/>
                    </a:cubicBezTo>
                    <a:cubicBezTo>
                      <a:pt x="3" y="3"/>
                      <a:pt x="3" y="2"/>
                      <a:pt x="7" y="5"/>
                    </a:cubicBezTo>
                    <a:cubicBezTo>
                      <a:pt x="6" y="3"/>
                      <a:pt x="8" y="3"/>
                      <a:pt x="8" y="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1" name="任意多边形: 形状 860">
                <a:extLst>
                  <a:ext uri="{FF2B5EF4-FFF2-40B4-BE49-F238E27FC236}">
                    <a16:creationId xmlns:a16="http://schemas.microsoft.com/office/drawing/2014/main" id="{CAD9B045-7890-4DF7-9B05-2C7966FC7D9E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500" y="2448"/>
                <a:ext cx="23" cy="13"/>
              </a:xfrm>
              <a:custGeom>
                <a:avLst/>
                <a:gdLst>
                  <a:gd name="T0" fmla="*/ 1 w 11"/>
                  <a:gd name="T1" fmla="*/ 6 h 6"/>
                  <a:gd name="T2" fmla="*/ 8 w 11"/>
                  <a:gd name="T3" fmla="*/ 0 h 6"/>
                  <a:gd name="T4" fmla="*/ 1 w 11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6">
                    <a:moveTo>
                      <a:pt x="1" y="6"/>
                    </a:moveTo>
                    <a:cubicBezTo>
                      <a:pt x="4" y="4"/>
                      <a:pt x="11" y="4"/>
                      <a:pt x="8" y="0"/>
                    </a:cubicBezTo>
                    <a:cubicBezTo>
                      <a:pt x="5" y="1"/>
                      <a:pt x="0" y="2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2" name="任意多边形: 形状 861">
                <a:extLst>
                  <a:ext uri="{FF2B5EF4-FFF2-40B4-BE49-F238E27FC236}">
                    <a16:creationId xmlns:a16="http://schemas.microsoft.com/office/drawing/2014/main" id="{25AB2AD2-34E2-4796-9431-107D662F3C0D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50" y="1328"/>
                <a:ext cx="11" cy="19"/>
              </a:xfrm>
              <a:custGeom>
                <a:avLst/>
                <a:gdLst>
                  <a:gd name="T0" fmla="*/ 2 w 5"/>
                  <a:gd name="T1" fmla="*/ 9 h 9"/>
                  <a:gd name="T2" fmla="*/ 5 w 5"/>
                  <a:gd name="T3" fmla="*/ 0 h 9"/>
                  <a:gd name="T4" fmla="*/ 1 w 5"/>
                  <a:gd name="T5" fmla="*/ 5 h 9"/>
                  <a:gd name="T6" fmla="*/ 2 w 5"/>
                  <a:gd name="T7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9"/>
                    </a:moveTo>
                    <a:cubicBezTo>
                      <a:pt x="4" y="7"/>
                      <a:pt x="5" y="4"/>
                      <a:pt x="5" y="0"/>
                    </a:cubicBezTo>
                    <a:cubicBezTo>
                      <a:pt x="2" y="1"/>
                      <a:pt x="1" y="3"/>
                      <a:pt x="1" y="5"/>
                    </a:cubicBezTo>
                    <a:cubicBezTo>
                      <a:pt x="4" y="4"/>
                      <a:pt x="0" y="8"/>
                      <a:pt x="2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3" name="任意多边形: 形状 862">
                <a:extLst>
                  <a:ext uri="{FF2B5EF4-FFF2-40B4-BE49-F238E27FC236}">
                    <a16:creationId xmlns:a16="http://schemas.microsoft.com/office/drawing/2014/main" id="{0D7A1215-389B-4D42-A7EF-5262D1B8B5A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82" y="2249"/>
                <a:ext cx="25" cy="13"/>
              </a:xfrm>
              <a:custGeom>
                <a:avLst/>
                <a:gdLst>
                  <a:gd name="T0" fmla="*/ 12 w 12"/>
                  <a:gd name="T1" fmla="*/ 0 h 6"/>
                  <a:gd name="T2" fmla="*/ 0 w 12"/>
                  <a:gd name="T3" fmla="*/ 3 h 6"/>
                  <a:gd name="T4" fmla="*/ 12 w 12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6">
                    <a:moveTo>
                      <a:pt x="12" y="0"/>
                    </a:moveTo>
                    <a:cubicBezTo>
                      <a:pt x="8" y="2"/>
                      <a:pt x="4" y="3"/>
                      <a:pt x="0" y="3"/>
                    </a:cubicBezTo>
                    <a:cubicBezTo>
                      <a:pt x="2" y="6"/>
                      <a:pt x="11" y="3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4" name="任意多边形: 形状 863">
                <a:extLst>
                  <a:ext uri="{FF2B5EF4-FFF2-40B4-BE49-F238E27FC236}">
                    <a16:creationId xmlns:a16="http://schemas.microsoft.com/office/drawing/2014/main" id="{64109955-1040-4FE2-8238-56983579A8CC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69" y="1297"/>
                <a:ext cx="29" cy="18"/>
              </a:xfrm>
              <a:custGeom>
                <a:avLst/>
                <a:gdLst>
                  <a:gd name="T0" fmla="*/ 14 w 14"/>
                  <a:gd name="T1" fmla="*/ 4 h 9"/>
                  <a:gd name="T2" fmla="*/ 13 w 14"/>
                  <a:gd name="T3" fmla="*/ 0 h 9"/>
                  <a:gd name="T4" fmla="*/ 0 w 14"/>
                  <a:gd name="T5" fmla="*/ 9 h 9"/>
                  <a:gd name="T6" fmla="*/ 14 w 14"/>
                  <a:gd name="T7" fmla="*/ 4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4" y="4"/>
                    </a:moveTo>
                    <a:cubicBezTo>
                      <a:pt x="13" y="2"/>
                      <a:pt x="13" y="1"/>
                      <a:pt x="13" y="0"/>
                    </a:cubicBezTo>
                    <a:cubicBezTo>
                      <a:pt x="8" y="0"/>
                      <a:pt x="0" y="2"/>
                      <a:pt x="0" y="9"/>
                    </a:cubicBezTo>
                    <a:cubicBezTo>
                      <a:pt x="7" y="5"/>
                      <a:pt x="7" y="2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5" name="任意多边形: 形状 864">
                <a:extLst>
                  <a:ext uri="{FF2B5EF4-FFF2-40B4-BE49-F238E27FC236}">
                    <a16:creationId xmlns:a16="http://schemas.microsoft.com/office/drawing/2014/main" id="{FE191CA4-8D89-4775-9E95-ACF1B2B6D75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805" y="1392"/>
                <a:ext cx="23" cy="17"/>
              </a:xfrm>
              <a:custGeom>
                <a:avLst/>
                <a:gdLst>
                  <a:gd name="T0" fmla="*/ 11 w 11"/>
                  <a:gd name="T1" fmla="*/ 0 h 8"/>
                  <a:gd name="T2" fmla="*/ 0 w 11"/>
                  <a:gd name="T3" fmla="*/ 8 h 8"/>
                  <a:gd name="T4" fmla="*/ 11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1" y="0"/>
                    </a:moveTo>
                    <a:cubicBezTo>
                      <a:pt x="5" y="3"/>
                      <a:pt x="1" y="4"/>
                      <a:pt x="0" y="8"/>
                    </a:cubicBezTo>
                    <a:cubicBezTo>
                      <a:pt x="4" y="5"/>
                      <a:pt x="11" y="4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6" name="任意多边形: 形状 865">
                <a:extLst>
                  <a:ext uri="{FF2B5EF4-FFF2-40B4-BE49-F238E27FC236}">
                    <a16:creationId xmlns:a16="http://schemas.microsoft.com/office/drawing/2014/main" id="{B258171D-F148-46BA-B663-D8145AB54EA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17" y="1311"/>
                <a:ext cx="52" cy="31"/>
              </a:xfrm>
              <a:custGeom>
                <a:avLst/>
                <a:gdLst>
                  <a:gd name="T0" fmla="*/ 15 w 25"/>
                  <a:gd name="T1" fmla="*/ 5 h 15"/>
                  <a:gd name="T2" fmla="*/ 14 w 25"/>
                  <a:gd name="T3" fmla="*/ 7 h 15"/>
                  <a:gd name="T4" fmla="*/ 18 w 25"/>
                  <a:gd name="T5" fmla="*/ 7 h 15"/>
                  <a:gd name="T6" fmla="*/ 22 w 25"/>
                  <a:gd name="T7" fmla="*/ 1 h 15"/>
                  <a:gd name="T8" fmla="*/ 15 w 25"/>
                  <a:gd name="T9" fmla="*/ 2 h 15"/>
                  <a:gd name="T10" fmla="*/ 15 w 25"/>
                  <a:gd name="T11" fmla="*/ 5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5">
                    <a:moveTo>
                      <a:pt x="15" y="5"/>
                    </a:moveTo>
                    <a:cubicBezTo>
                      <a:pt x="8" y="6"/>
                      <a:pt x="0" y="15"/>
                      <a:pt x="14" y="7"/>
                    </a:cubicBezTo>
                    <a:cubicBezTo>
                      <a:pt x="15" y="8"/>
                      <a:pt x="19" y="9"/>
                      <a:pt x="18" y="7"/>
                    </a:cubicBezTo>
                    <a:cubicBezTo>
                      <a:pt x="14" y="2"/>
                      <a:pt x="25" y="7"/>
                      <a:pt x="22" y="1"/>
                    </a:cubicBezTo>
                    <a:cubicBezTo>
                      <a:pt x="19" y="3"/>
                      <a:pt x="17" y="0"/>
                      <a:pt x="15" y="2"/>
                    </a:cubicBezTo>
                    <a:cubicBezTo>
                      <a:pt x="15" y="3"/>
                      <a:pt x="16" y="5"/>
                      <a:pt x="15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7" name="任意多边形: 形状 866">
                <a:extLst>
                  <a:ext uri="{FF2B5EF4-FFF2-40B4-BE49-F238E27FC236}">
                    <a16:creationId xmlns:a16="http://schemas.microsoft.com/office/drawing/2014/main" id="{D66F2D13-9C5F-40DE-A4A2-482671E10DB2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76" y="2392"/>
                <a:ext cx="11" cy="15"/>
              </a:xfrm>
              <a:custGeom>
                <a:avLst/>
                <a:gdLst>
                  <a:gd name="T0" fmla="*/ 0 w 5"/>
                  <a:gd name="T1" fmla="*/ 5 h 7"/>
                  <a:gd name="T2" fmla="*/ 5 w 5"/>
                  <a:gd name="T3" fmla="*/ 0 h 7"/>
                  <a:gd name="T4" fmla="*/ 0 w 5"/>
                  <a:gd name="T5" fmla="*/ 5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5" h="7">
                    <a:moveTo>
                      <a:pt x="0" y="5"/>
                    </a:moveTo>
                    <a:cubicBezTo>
                      <a:pt x="3" y="7"/>
                      <a:pt x="5" y="3"/>
                      <a:pt x="5" y="0"/>
                    </a:cubicBezTo>
                    <a:cubicBezTo>
                      <a:pt x="2" y="1"/>
                      <a:pt x="0" y="3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8" name="任意多边形: 形状 867">
                <a:extLst>
                  <a:ext uri="{FF2B5EF4-FFF2-40B4-BE49-F238E27FC236}">
                    <a16:creationId xmlns:a16="http://schemas.microsoft.com/office/drawing/2014/main" id="{6C8FEBC1-E827-452B-9668-23A94C4407B7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201" y="2285"/>
                <a:ext cx="23" cy="22"/>
              </a:xfrm>
              <a:custGeom>
                <a:avLst/>
                <a:gdLst>
                  <a:gd name="T0" fmla="*/ 11 w 11"/>
                  <a:gd name="T1" fmla="*/ 5 h 11"/>
                  <a:gd name="T2" fmla="*/ 8 w 11"/>
                  <a:gd name="T3" fmla="*/ 0 h 11"/>
                  <a:gd name="T4" fmla="*/ 0 w 11"/>
                  <a:gd name="T5" fmla="*/ 6 h 11"/>
                  <a:gd name="T6" fmla="*/ 1 w 11"/>
                  <a:gd name="T7" fmla="*/ 11 h 11"/>
                  <a:gd name="T8" fmla="*/ 11 w 11"/>
                  <a:gd name="T9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1" h="11">
                    <a:moveTo>
                      <a:pt x="11" y="5"/>
                    </a:moveTo>
                    <a:cubicBezTo>
                      <a:pt x="10" y="3"/>
                      <a:pt x="9" y="1"/>
                      <a:pt x="8" y="0"/>
                    </a:cubicBezTo>
                    <a:cubicBezTo>
                      <a:pt x="5" y="2"/>
                      <a:pt x="4" y="4"/>
                      <a:pt x="0" y="6"/>
                    </a:cubicBezTo>
                    <a:cubicBezTo>
                      <a:pt x="1" y="8"/>
                      <a:pt x="1" y="9"/>
                      <a:pt x="1" y="11"/>
                    </a:cubicBezTo>
                    <a:cubicBezTo>
                      <a:pt x="3" y="7"/>
                      <a:pt x="5" y="1"/>
                      <a:pt x="11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69" name="任意多边形: 形状 868">
                <a:extLst>
                  <a:ext uri="{FF2B5EF4-FFF2-40B4-BE49-F238E27FC236}">
                    <a16:creationId xmlns:a16="http://schemas.microsoft.com/office/drawing/2014/main" id="{93AB1877-8B82-43F0-9F2B-19BFDCC7D969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87" y="2324"/>
                <a:ext cx="48" cy="37"/>
              </a:xfrm>
              <a:custGeom>
                <a:avLst/>
                <a:gdLst>
                  <a:gd name="T0" fmla="*/ 0 w 23"/>
                  <a:gd name="T1" fmla="*/ 14 h 18"/>
                  <a:gd name="T2" fmla="*/ 9 w 23"/>
                  <a:gd name="T3" fmla="*/ 13 h 18"/>
                  <a:gd name="T4" fmla="*/ 3 w 23"/>
                  <a:gd name="T5" fmla="*/ 17 h 18"/>
                  <a:gd name="T6" fmla="*/ 23 w 23"/>
                  <a:gd name="T7" fmla="*/ 1 h 18"/>
                  <a:gd name="T8" fmla="*/ 0 w 23"/>
                  <a:gd name="T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8">
                    <a:moveTo>
                      <a:pt x="0" y="14"/>
                    </a:moveTo>
                    <a:cubicBezTo>
                      <a:pt x="3" y="13"/>
                      <a:pt x="7" y="9"/>
                      <a:pt x="9" y="13"/>
                    </a:cubicBezTo>
                    <a:cubicBezTo>
                      <a:pt x="7" y="14"/>
                      <a:pt x="2" y="14"/>
                      <a:pt x="3" y="17"/>
                    </a:cubicBezTo>
                    <a:cubicBezTo>
                      <a:pt x="12" y="18"/>
                      <a:pt x="15" y="6"/>
                      <a:pt x="23" y="1"/>
                    </a:cubicBezTo>
                    <a:cubicBezTo>
                      <a:pt x="15" y="0"/>
                      <a:pt x="3" y="9"/>
                      <a:pt x="0" y="1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0" name="任意多边形: 形状 869">
                <a:extLst>
                  <a:ext uri="{FF2B5EF4-FFF2-40B4-BE49-F238E27FC236}">
                    <a16:creationId xmlns:a16="http://schemas.microsoft.com/office/drawing/2014/main" id="{2822D748-FC2E-43EE-937C-38C9AABEA5BB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703" y="1334"/>
                <a:ext cx="17" cy="13"/>
              </a:xfrm>
              <a:custGeom>
                <a:avLst/>
                <a:gdLst>
                  <a:gd name="T0" fmla="*/ 0 w 8"/>
                  <a:gd name="T1" fmla="*/ 6 h 6"/>
                  <a:gd name="T2" fmla="*/ 7 w 8"/>
                  <a:gd name="T3" fmla="*/ 0 h 6"/>
                  <a:gd name="T4" fmla="*/ 0 w 8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cubicBezTo>
                      <a:pt x="3" y="4"/>
                      <a:pt x="8" y="3"/>
                      <a:pt x="7" y="0"/>
                    </a:cubicBezTo>
                    <a:cubicBezTo>
                      <a:pt x="3" y="1"/>
                      <a:pt x="0" y="3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1" name="任意多边形: 形状 870">
                <a:extLst>
                  <a:ext uri="{FF2B5EF4-FFF2-40B4-BE49-F238E27FC236}">
                    <a16:creationId xmlns:a16="http://schemas.microsoft.com/office/drawing/2014/main" id="{102643C0-65DF-43E3-8114-8B0217A8A0C1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86" y="1340"/>
                <a:ext cx="15" cy="13"/>
              </a:xfrm>
              <a:custGeom>
                <a:avLst/>
                <a:gdLst>
                  <a:gd name="T0" fmla="*/ 1 w 7"/>
                  <a:gd name="T1" fmla="*/ 6 h 6"/>
                  <a:gd name="T2" fmla="*/ 4 w 7"/>
                  <a:gd name="T3" fmla="*/ 0 h 6"/>
                  <a:gd name="T4" fmla="*/ 1 w 7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7" h="6">
                    <a:moveTo>
                      <a:pt x="1" y="6"/>
                    </a:moveTo>
                    <a:cubicBezTo>
                      <a:pt x="4" y="5"/>
                      <a:pt x="7" y="4"/>
                      <a:pt x="4" y="0"/>
                    </a:cubicBezTo>
                    <a:cubicBezTo>
                      <a:pt x="0" y="1"/>
                      <a:pt x="0" y="3"/>
                      <a:pt x="1" y="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2" name="任意多边形: 形状 871">
                <a:extLst>
                  <a:ext uri="{FF2B5EF4-FFF2-40B4-BE49-F238E27FC236}">
                    <a16:creationId xmlns:a16="http://schemas.microsoft.com/office/drawing/2014/main" id="{0C29873D-7C22-4900-8426-BE5F88A17A6A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4647" y="1353"/>
                <a:ext cx="41" cy="18"/>
              </a:xfrm>
              <a:custGeom>
                <a:avLst/>
                <a:gdLst>
                  <a:gd name="T0" fmla="*/ 17 w 20"/>
                  <a:gd name="T1" fmla="*/ 0 h 9"/>
                  <a:gd name="T2" fmla="*/ 3 w 20"/>
                  <a:gd name="T3" fmla="*/ 2 h 9"/>
                  <a:gd name="T4" fmla="*/ 7 w 20"/>
                  <a:gd name="T5" fmla="*/ 9 h 9"/>
                  <a:gd name="T6" fmla="*/ 17 w 2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9">
                    <a:moveTo>
                      <a:pt x="17" y="0"/>
                    </a:moveTo>
                    <a:cubicBezTo>
                      <a:pt x="10" y="2"/>
                      <a:pt x="10" y="1"/>
                      <a:pt x="3" y="2"/>
                    </a:cubicBezTo>
                    <a:cubicBezTo>
                      <a:pt x="2" y="5"/>
                      <a:pt x="5" y="8"/>
                      <a:pt x="7" y="9"/>
                    </a:cubicBezTo>
                    <a:cubicBezTo>
                      <a:pt x="0" y="0"/>
                      <a:pt x="20" y="5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  <p:sp>
            <p:nvSpPr>
              <p:cNvPr id="873" name="任意多边形: 形状 872">
                <a:extLst>
                  <a:ext uri="{FF2B5EF4-FFF2-40B4-BE49-F238E27FC236}">
                    <a16:creationId xmlns:a16="http://schemas.microsoft.com/office/drawing/2014/main" id="{4E742EB7-BAC6-41F1-B1BA-7DB37F6A0324}"/>
                  </a:ext>
                </a:extLst>
              </p:cNvPr>
              <p:cNvSpPr>
                <a:spLocks/>
              </p:cNvSpPr>
              <p:nvPr userDrawn="1"/>
            </p:nvSpPr>
            <p:spPr bwMode="auto">
              <a:xfrm>
                <a:off x="5129" y="2370"/>
                <a:ext cx="29" cy="14"/>
              </a:xfrm>
              <a:custGeom>
                <a:avLst/>
                <a:gdLst>
                  <a:gd name="T0" fmla="*/ 14 w 14"/>
                  <a:gd name="T1" fmla="*/ 4 h 7"/>
                  <a:gd name="T2" fmla="*/ 12 w 14"/>
                  <a:gd name="T3" fmla="*/ 0 h 7"/>
                  <a:gd name="T4" fmla="*/ 5 w 14"/>
                  <a:gd name="T5" fmla="*/ 1 h 7"/>
                  <a:gd name="T6" fmla="*/ 2 w 14"/>
                  <a:gd name="T7" fmla="*/ 7 h 7"/>
                  <a:gd name="T8" fmla="*/ 14 w 14"/>
                  <a:gd name="T9" fmla="*/ 4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7">
                    <a:moveTo>
                      <a:pt x="14" y="4"/>
                    </a:moveTo>
                    <a:cubicBezTo>
                      <a:pt x="12" y="0"/>
                      <a:pt x="12" y="0"/>
                      <a:pt x="12" y="0"/>
                    </a:cubicBezTo>
                    <a:cubicBezTo>
                      <a:pt x="9" y="3"/>
                      <a:pt x="7" y="1"/>
                      <a:pt x="5" y="1"/>
                    </a:cubicBezTo>
                    <a:cubicBezTo>
                      <a:pt x="9" y="5"/>
                      <a:pt x="0" y="4"/>
                      <a:pt x="2" y="7"/>
                    </a:cubicBezTo>
                    <a:cubicBezTo>
                      <a:pt x="7" y="4"/>
                      <a:pt x="11" y="3"/>
                      <a:pt x="14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/>
              </a:p>
            </p:txBody>
          </p:sp>
        </p:grpSp>
        <p:sp>
          <p:nvSpPr>
            <p:cNvPr id="549" name="任意多边形: 形状 548">
              <a:extLst>
                <a:ext uri="{FF2B5EF4-FFF2-40B4-BE49-F238E27FC236}">
                  <a16:creationId xmlns:a16="http://schemas.microsoft.com/office/drawing/2014/main" id="{F4A96FDB-389F-40F8-8079-F411EA6A3D9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09964" y="-7065952"/>
              <a:ext cx="36513" cy="28575"/>
            </a:xfrm>
            <a:custGeom>
              <a:avLst/>
              <a:gdLst>
                <a:gd name="T0" fmla="*/ 0 w 11"/>
                <a:gd name="T1" fmla="*/ 5 h 9"/>
                <a:gd name="T2" fmla="*/ 11 w 11"/>
                <a:gd name="T3" fmla="*/ 5 h 9"/>
                <a:gd name="T4" fmla="*/ 0 w 11"/>
                <a:gd name="T5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9">
                  <a:moveTo>
                    <a:pt x="0" y="5"/>
                  </a:moveTo>
                  <a:cubicBezTo>
                    <a:pt x="3" y="9"/>
                    <a:pt x="7" y="6"/>
                    <a:pt x="11" y="5"/>
                  </a:cubicBezTo>
                  <a:cubicBezTo>
                    <a:pt x="9" y="0"/>
                    <a:pt x="4" y="4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0" name="任意多边形: 形状 549">
              <a:extLst>
                <a:ext uri="{FF2B5EF4-FFF2-40B4-BE49-F238E27FC236}">
                  <a16:creationId xmlns:a16="http://schemas.microsoft.com/office/drawing/2014/main" id="{78CDDD5D-FDCD-4B84-94B6-F4BC78C8EB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90951" y="-6407138"/>
              <a:ext cx="36513" cy="42863"/>
            </a:xfrm>
            <a:custGeom>
              <a:avLst/>
              <a:gdLst>
                <a:gd name="T0" fmla="*/ 11 w 11"/>
                <a:gd name="T1" fmla="*/ 6 h 13"/>
                <a:gd name="T2" fmla="*/ 9 w 11"/>
                <a:gd name="T3" fmla="*/ 0 h 13"/>
                <a:gd name="T4" fmla="*/ 0 w 11"/>
                <a:gd name="T5" fmla="*/ 8 h 13"/>
                <a:gd name="T6" fmla="*/ 7 w 11"/>
                <a:gd name="T7" fmla="*/ 11 h 13"/>
                <a:gd name="T8" fmla="*/ 11 w 11"/>
                <a:gd name="T9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" h="13">
                  <a:moveTo>
                    <a:pt x="11" y="6"/>
                  </a:moveTo>
                  <a:cubicBezTo>
                    <a:pt x="8" y="3"/>
                    <a:pt x="9" y="3"/>
                    <a:pt x="9" y="0"/>
                  </a:cubicBezTo>
                  <a:cubicBezTo>
                    <a:pt x="5" y="2"/>
                    <a:pt x="4" y="5"/>
                    <a:pt x="0" y="8"/>
                  </a:cubicBezTo>
                  <a:cubicBezTo>
                    <a:pt x="4" y="5"/>
                    <a:pt x="4" y="13"/>
                    <a:pt x="7" y="11"/>
                  </a:cubicBezTo>
                  <a:cubicBezTo>
                    <a:pt x="6" y="8"/>
                    <a:pt x="8" y="5"/>
                    <a:pt x="1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1" name="任意多边形: 形状 550">
              <a:extLst>
                <a:ext uri="{FF2B5EF4-FFF2-40B4-BE49-F238E27FC236}">
                  <a16:creationId xmlns:a16="http://schemas.microsoft.com/office/drawing/2014/main" id="{E699E428-048E-43CE-9EC2-0E7222E25E5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27464" y="-6321413"/>
              <a:ext cx="25400" cy="22225"/>
            </a:xfrm>
            <a:custGeom>
              <a:avLst/>
              <a:gdLst>
                <a:gd name="T0" fmla="*/ 7 w 8"/>
                <a:gd name="T1" fmla="*/ 0 h 7"/>
                <a:gd name="T2" fmla="*/ 0 w 8"/>
                <a:gd name="T3" fmla="*/ 1 h 7"/>
                <a:gd name="T4" fmla="*/ 7 w 8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7">
                  <a:moveTo>
                    <a:pt x="7" y="0"/>
                  </a:moveTo>
                  <a:cubicBezTo>
                    <a:pt x="5" y="1"/>
                    <a:pt x="2" y="2"/>
                    <a:pt x="0" y="1"/>
                  </a:cubicBezTo>
                  <a:cubicBezTo>
                    <a:pt x="2" y="7"/>
                    <a:pt x="8" y="3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2" name="任意多边形: 形状 551">
              <a:extLst>
                <a:ext uri="{FF2B5EF4-FFF2-40B4-BE49-F238E27FC236}">
                  <a16:creationId xmlns:a16="http://schemas.microsoft.com/office/drawing/2014/main" id="{3CB87BB4-43F3-41E6-87C8-1F6DF388F9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60789" y="-6388088"/>
              <a:ext cx="23813" cy="23813"/>
            </a:xfrm>
            <a:custGeom>
              <a:avLst/>
              <a:gdLst>
                <a:gd name="T0" fmla="*/ 0 w 7"/>
                <a:gd name="T1" fmla="*/ 7 h 7"/>
                <a:gd name="T2" fmla="*/ 7 w 7"/>
                <a:gd name="T3" fmla="*/ 0 h 7"/>
                <a:gd name="T4" fmla="*/ 0 w 7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7">
                  <a:moveTo>
                    <a:pt x="0" y="7"/>
                  </a:moveTo>
                  <a:cubicBezTo>
                    <a:pt x="4" y="7"/>
                    <a:pt x="6" y="4"/>
                    <a:pt x="7" y="0"/>
                  </a:cubicBezTo>
                  <a:cubicBezTo>
                    <a:pt x="3" y="2"/>
                    <a:pt x="0" y="4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3" name="任意多边形: 形状 552">
              <a:extLst>
                <a:ext uri="{FF2B5EF4-FFF2-40B4-BE49-F238E27FC236}">
                  <a16:creationId xmlns:a16="http://schemas.microsoft.com/office/drawing/2014/main" id="{C69BA167-9C56-4EB8-99CB-D26B87F349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48089" y="-6397613"/>
              <a:ext cx="22225" cy="15875"/>
            </a:xfrm>
            <a:custGeom>
              <a:avLst/>
              <a:gdLst>
                <a:gd name="T0" fmla="*/ 7 w 7"/>
                <a:gd name="T1" fmla="*/ 0 h 5"/>
                <a:gd name="T2" fmla="*/ 1 w 7"/>
                <a:gd name="T3" fmla="*/ 4 h 5"/>
                <a:gd name="T4" fmla="*/ 7 w 7"/>
                <a:gd name="T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5">
                  <a:moveTo>
                    <a:pt x="7" y="0"/>
                  </a:moveTo>
                  <a:cubicBezTo>
                    <a:pt x="5" y="1"/>
                    <a:pt x="0" y="1"/>
                    <a:pt x="1" y="4"/>
                  </a:cubicBezTo>
                  <a:cubicBezTo>
                    <a:pt x="5" y="5"/>
                    <a:pt x="7" y="4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4" name="任意多边形: 形状 553">
              <a:extLst>
                <a:ext uri="{FF2B5EF4-FFF2-40B4-BE49-F238E27FC236}">
                  <a16:creationId xmlns:a16="http://schemas.microsoft.com/office/drawing/2014/main" id="{2768379E-76D8-4706-B427-B0F76FB740D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44914" y="-6286488"/>
              <a:ext cx="39688" cy="23813"/>
            </a:xfrm>
            <a:custGeom>
              <a:avLst/>
              <a:gdLst>
                <a:gd name="T0" fmla="*/ 0 w 12"/>
                <a:gd name="T1" fmla="*/ 6 h 7"/>
                <a:gd name="T2" fmla="*/ 10 w 12"/>
                <a:gd name="T3" fmla="*/ 0 h 7"/>
                <a:gd name="T4" fmla="*/ 0 w 12"/>
                <a:gd name="T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7">
                  <a:moveTo>
                    <a:pt x="0" y="6"/>
                  </a:moveTo>
                  <a:cubicBezTo>
                    <a:pt x="1" y="7"/>
                    <a:pt x="12" y="1"/>
                    <a:pt x="10" y="0"/>
                  </a:cubicBezTo>
                  <a:cubicBezTo>
                    <a:pt x="7" y="2"/>
                    <a:pt x="0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5" name="任意多边形: 形状 554">
              <a:extLst>
                <a:ext uri="{FF2B5EF4-FFF2-40B4-BE49-F238E27FC236}">
                  <a16:creationId xmlns:a16="http://schemas.microsoft.com/office/drawing/2014/main" id="{CF809A01-7ACE-45DB-B39F-94564A6A57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6014" y="-6394438"/>
              <a:ext cx="49213" cy="39688"/>
            </a:xfrm>
            <a:custGeom>
              <a:avLst/>
              <a:gdLst>
                <a:gd name="T0" fmla="*/ 12 w 15"/>
                <a:gd name="T1" fmla="*/ 0 h 12"/>
                <a:gd name="T2" fmla="*/ 1 w 15"/>
                <a:gd name="T3" fmla="*/ 10 h 12"/>
                <a:gd name="T4" fmla="*/ 12 w 15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2">
                  <a:moveTo>
                    <a:pt x="12" y="0"/>
                  </a:moveTo>
                  <a:cubicBezTo>
                    <a:pt x="11" y="3"/>
                    <a:pt x="0" y="9"/>
                    <a:pt x="1" y="10"/>
                  </a:cubicBezTo>
                  <a:cubicBezTo>
                    <a:pt x="2" y="12"/>
                    <a:pt x="15" y="4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6" name="任意多边形: 形状 555">
              <a:extLst>
                <a:ext uri="{FF2B5EF4-FFF2-40B4-BE49-F238E27FC236}">
                  <a16:creationId xmlns:a16="http://schemas.microsoft.com/office/drawing/2014/main" id="{91868268-59FE-4C6D-93C1-10E97E2F9E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484601" y="-6081700"/>
              <a:ext cx="22225" cy="23813"/>
            </a:xfrm>
            <a:custGeom>
              <a:avLst/>
              <a:gdLst>
                <a:gd name="T0" fmla="*/ 3 w 7"/>
                <a:gd name="T1" fmla="*/ 0 h 7"/>
                <a:gd name="T2" fmla="*/ 4 w 7"/>
                <a:gd name="T3" fmla="*/ 7 h 7"/>
                <a:gd name="T4" fmla="*/ 7 w 7"/>
                <a:gd name="T5" fmla="*/ 5 h 7"/>
                <a:gd name="T6" fmla="*/ 3 w 7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7">
                  <a:moveTo>
                    <a:pt x="3" y="0"/>
                  </a:moveTo>
                  <a:cubicBezTo>
                    <a:pt x="0" y="1"/>
                    <a:pt x="2" y="6"/>
                    <a:pt x="4" y="7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2"/>
                    <a:pt x="4" y="3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7" name="任意多边形: 形状 556">
              <a:extLst>
                <a:ext uri="{FF2B5EF4-FFF2-40B4-BE49-F238E27FC236}">
                  <a16:creationId xmlns:a16="http://schemas.microsoft.com/office/drawing/2014/main" id="{ECC023B0-A525-49A4-875E-2C29243C89C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89339" y="-6296013"/>
              <a:ext cx="20638" cy="20638"/>
            </a:xfrm>
            <a:custGeom>
              <a:avLst/>
              <a:gdLst>
                <a:gd name="T0" fmla="*/ 0 w 6"/>
                <a:gd name="T1" fmla="*/ 2 h 6"/>
                <a:gd name="T2" fmla="*/ 6 w 6"/>
                <a:gd name="T3" fmla="*/ 5 h 6"/>
                <a:gd name="T4" fmla="*/ 4 w 6"/>
                <a:gd name="T5" fmla="*/ 0 h 6"/>
                <a:gd name="T6" fmla="*/ 0 w 6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2"/>
                  </a:moveTo>
                  <a:cubicBezTo>
                    <a:pt x="1" y="6"/>
                    <a:pt x="4" y="4"/>
                    <a:pt x="6" y="5"/>
                  </a:cubicBezTo>
                  <a:cubicBezTo>
                    <a:pt x="5" y="2"/>
                    <a:pt x="4" y="3"/>
                    <a:pt x="4" y="0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8" name="任意多边形: 形状 557">
              <a:extLst>
                <a:ext uri="{FF2B5EF4-FFF2-40B4-BE49-F238E27FC236}">
                  <a16:creationId xmlns:a16="http://schemas.microsoft.com/office/drawing/2014/main" id="{95B908FD-6853-4142-BF1B-D664CA6477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33776" y="-6332525"/>
              <a:ext cx="19050" cy="33338"/>
            </a:xfrm>
            <a:custGeom>
              <a:avLst/>
              <a:gdLst>
                <a:gd name="T0" fmla="*/ 1 w 6"/>
                <a:gd name="T1" fmla="*/ 10 h 10"/>
                <a:gd name="T2" fmla="*/ 0 w 6"/>
                <a:gd name="T3" fmla="*/ 5 h 10"/>
                <a:gd name="T4" fmla="*/ 2 w 6"/>
                <a:gd name="T5" fmla="*/ 7 h 10"/>
                <a:gd name="T6" fmla="*/ 1 w 6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0">
                  <a:moveTo>
                    <a:pt x="1" y="10"/>
                  </a:moveTo>
                  <a:cubicBezTo>
                    <a:pt x="6" y="9"/>
                    <a:pt x="2" y="0"/>
                    <a:pt x="0" y="5"/>
                  </a:cubicBezTo>
                  <a:cubicBezTo>
                    <a:pt x="1" y="5"/>
                    <a:pt x="2" y="6"/>
                    <a:pt x="2" y="7"/>
                  </a:cubicBezTo>
                  <a:cubicBezTo>
                    <a:pt x="1" y="8"/>
                    <a:pt x="0" y="9"/>
                    <a:pt x="1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59" name="任意多边形: 形状 558">
              <a:extLst>
                <a:ext uri="{FF2B5EF4-FFF2-40B4-BE49-F238E27FC236}">
                  <a16:creationId xmlns:a16="http://schemas.microsoft.com/office/drawing/2014/main" id="{9773638B-1697-4EB5-8A48-BED88A478B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79814" y="-6115037"/>
              <a:ext cx="52388" cy="33338"/>
            </a:xfrm>
            <a:custGeom>
              <a:avLst/>
              <a:gdLst>
                <a:gd name="T0" fmla="*/ 3 w 16"/>
                <a:gd name="T1" fmla="*/ 10 h 10"/>
                <a:gd name="T2" fmla="*/ 16 w 16"/>
                <a:gd name="T3" fmla="*/ 2 h 10"/>
                <a:gd name="T4" fmla="*/ 3 w 16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10">
                  <a:moveTo>
                    <a:pt x="3" y="10"/>
                  </a:moveTo>
                  <a:cubicBezTo>
                    <a:pt x="7" y="3"/>
                    <a:pt x="12" y="8"/>
                    <a:pt x="16" y="2"/>
                  </a:cubicBezTo>
                  <a:cubicBezTo>
                    <a:pt x="14" y="0"/>
                    <a:pt x="0" y="4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0" name="任意多边形: 形状 559">
              <a:extLst>
                <a:ext uri="{FF2B5EF4-FFF2-40B4-BE49-F238E27FC236}">
                  <a16:creationId xmlns:a16="http://schemas.microsoft.com/office/drawing/2014/main" id="{9F6732B3-31D2-44C4-A3DC-75E1169027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87739" y="-6308713"/>
              <a:ext cx="25400" cy="42863"/>
            </a:xfrm>
            <a:custGeom>
              <a:avLst/>
              <a:gdLst>
                <a:gd name="T0" fmla="*/ 8 w 8"/>
                <a:gd name="T1" fmla="*/ 4 h 13"/>
                <a:gd name="T2" fmla="*/ 0 w 8"/>
                <a:gd name="T3" fmla="*/ 6 h 13"/>
                <a:gd name="T4" fmla="*/ 1 w 8"/>
                <a:gd name="T5" fmla="*/ 10 h 13"/>
                <a:gd name="T6" fmla="*/ 4 w 8"/>
                <a:gd name="T7" fmla="*/ 13 h 13"/>
                <a:gd name="T8" fmla="*/ 8 w 8"/>
                <a:gd name="T9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" h="13">
                  <a:moveTo>
                    <a:pt x="8" y="4"/>
                  </a:moveTo>
                  <a:cubicBezTo>
                    <a:pt x="5" y="10"/>
                    <a:pt x="2" y="0"/>
                    <a:pt x="0" y="6"/>
                  </a:cubicBezTo>
                  <a:cubicBezTo>
                    <a:pt x="4" y="5"/>
                    <a:pt x="0" y="8"/>
                    <a:pt x="1" y="10"/>
                  </a:cubicBezTo>
                  <a:cubicBezTo>
                    <a:pt x="4" y="7"/>
                    <a:pt x="4" y="11"/>
                    <a:pt x="4" y="13"/>
                  </a:cubicBezTo>
                  <a:cubicBezTo>
                    <a:pt x="5" y="10"/>
                    <a:pt x="8" y="8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1" name="任意多边形: 形状 560">
              <a:extLst>
                <a:ext uri="{FF2B5EF4-FFF2-40B4-BE49-F238E27FC236}">
                  <a16:creationId xmlns:a16="http://schemas.microsoft.com/office/drawing/2014/main" id="{BB564613-0190-429B-8517-AC0C35E5AFB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84564" y="-6249975"/>
              <a:ext cx="52388" cy="23813"/>
            </a:xfrm>
            <a:custGeom>
              <a:avLst/>
              <a:gdLst>
                <a:gd name="T0" fmla="*/ 0 w 16"/>
                <a:gd name="T1" fmla="*/ 7 h 7"/>
                <a:gd name="T2" fmla="*/ 15 w 16"/>
                <a:gd name="T3" fmla="*/ 0 h 7"/>
                <a:gd name="T4" fmla="*/ 0 w 1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" h="7">
                  <a:moveTo>
                    <a:pt x="0" y="7"/>
                  </a:moveTo>
                  <a:cubicBezTo>
                    <a:pt x="4" y="5"/>
                    <a:pt x="16" y="7"/>
                    <a:pt x="15" y="0"/>
                  </a:cubicBezTo>
                  <a:cubicBezTo>
                    <a:pt x="11" y="6"/>
                    <a:pt x="5" y="0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2" name="任意多边形: 形状 561">
              <a:extLst>
                <a:ext uri="{FF2B5EF4-FFF2-40B4-BE49-F238E27FC236}">
                  <a16:creationId xmlns:a16="http://schemas.microsoft.com/office/drawing/2014/main" id="{1DEBC118-F60D-442F-BE12-BF4CE1FBB4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27414" y="-6048362"/>
              <a:ext cx="66675" cy="61913"/>
            </a:xfrm>
            <a:custGeom>
              <a:avLst/>
              <a:gdLst>
                <a:gd name="T0" fmla="*/ 17 w 20"/>
                <a:gd name="T1" fmla="*/ 0 h 19"/>
                <a:gd name="T2" fmla="*/ 0 w 20"/>
                <a:gd name="T3" fmla="*/ 13 h 19"/>
                <a:gd name="T4" fmla="*/ 1 w 20"/>
                <a:gd name="T5" fmla="*/ 19 h 19"/>
                <a:gd name="T6" fmla="*/ 17 w 20"/>
                <a:gd name="T7" fmla="*/ 10 h 19"/>
                <a:gd name="T8" fmla="*/ 20 w 20"/>
                <a:gd name="T9" fmla="*/ 3 h 19"/>
                <a:gd name="T10" fmla="*/ 17 w 20"/>
                <a:gd name="T1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9">
                  <a:moveTo>
                    <a:pt x="17" y="0"/>
                  </a:moveTo>
                  <a:cubicBezTo>
                    <a:pt x="10" y="5"/>
                    <a:pt x="11" y="14"/>
                    <a:pt x="0" y="13"/>
                  </a:cubicBezTo>
                  <a:cubicBezTo>
                    <a:pt x="1" y="15"/>
                    <a:pt x="1" y="17"/>
                    <a:pt x="1" y="19"/>
                  </a:cubicBezTo>
                  <a:cubicBezTo>
                    <a:pt x="6" y="14"/>
                    <a:pt x="13" y="15"/>
                    <a:pt x="17" y="10"/>
                  </a:cubicBezTo>
                  <a:cubicBezTo>
                    <a:pt x="15" y="10"/>
                    <a:pt x="16" y="4"/>
                    <a:pt x="20" y="3"/>
                  </a:cubicBezTo>
                  <a:cubicBezTo>
                    <a:pt x="19" y="2"/>
                    <a:pt x="18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3" name="任意多边形: 形状 562">
              <a:extLst>
                <a:ext uri="{FF2B5EF4-FFF2-40B4-BE49-F238E27FC236}">
                  <a16:creationId xmlns:a16="http://schemas.microsoft.com/office/drawing/2014/main" id="{33A2546A-BC32-4AC7-8EB4-9EA3AAC76B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46451" y="-6203938"/>
              <a:ext cx="31750" cy="36513"/>
            </a:xfrm>
            <a:custGeom>
              <a:avLst/>
              <a:gdLst>
                <a:gd name="T0" fmla="*/ 10 w 10"/>
                <a:gd name="T1" fmla="*/ 2 h 11"/>
                <a:gd name="T2" fmla="*/ 1 w 10"/>
                <a:gd name="T3" fmla="*/ 3 h 11"/>
                <a:gd name="T4" fmla="*/ 10 w 10"/>
                <a:gd name="T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0" h="11">
                  <a:moveTo>
                    <a:pt x="10" y="2"/>
                  </a:moveTo>
                  <a:cubicBezTo>
                    <a:pt x="6" y="0"/>
                    <a:pt x="5" y="7"/>
                    <a:pt x="1" y="3"/>
                  </a:cubicBezTo>
                  <a:cubicBezTo>
                    <a:pt x="0" y="11"/>
                    <a:pt x="8" y="6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4" name="任意多边形: 形状 563">
              <a:extLst>
                <a:ext uri="{FF2B5EF4-FFF2-40B4-BE49-F238E27FC236}">
                  <a16:creationId xmlns:a16="http://schemas.microsoft.com/office/drawing/2014/main" id="{9C82CAE2-81B8-4AC6-947A-A4876ACF3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32176" y="-5965812"/>
              <a:ext cx="28575" cy="19050"/>
            </a:xfrm>
            <a:custGeom>
              <a:avLst/>
              <a:gdLst>
                <a:gd name="T0" fmla="*/ 6 w 9"/>
                <a:gd name="T1" fmla="*/ 0 h 6"/>
                <a:gd name="T2" fmla="*/ 0 w 9"/>
                <a:gd name="T3" fmla="*/ 2 h 6"/>
                <a:gd name="T4" fmla="*/ 6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6" y="0"/>
                  </a:moveTo>
                  <a:cubicBezTo>
                    <a:pt x="0" y="2"/>
                    <a:pt x="0" y="2"/>
                    <a:pt x="0" y="2"/>
                  </a:cubicBezTo>
                  <a:cubicBezTo>
                    <a:pt x="0" y="6"/>
                    <a:pt x="9" y="2"/>
                    <a:pt x="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5" name="任意多边形: 形状 564">
              <a:extLst>
                <a:ext uri="{FF2B5EF4-FFF2-40B4-BE49-F238E27FC236}">
                  <a16:creationId xmlns:a16="http://schemas.microsoft.com/office/drawing/2014/main" id="{F865DEB7-791C-425B-899C-A9CF224C668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06764" y="-6170600"/>
              <a:ext cx="46038" cy="23813"/>
            </a:xfrm>
            <a:custGeom>
              <a:avLst/>
              <a:gdLst>
                <a:gd name="T0" fmla="*/ 11 w 14"/>
                <a:gd name="T1" fmla="*/ 0 h 7"/>
                <a:gd name="T2" fmla="*/ 2 w 14"/>
                <a:gd name="T3" fmla="*/ 7 h 7"/>
                <a:gd name="T4" fmla="*/ 11 w 14"/>
                <a:gd name="T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7">
                  <a:moveTo>
                    <a:pt x="11" y="0"/>
                  </a:moveTo>
                  <a:cubicBezTo>
                    <a:pt x="6" y="2"/>
                    <a:pt x="0" y="1"/>
                    <a:pt x="2" y="7"/>
                  </a:cubicBezTo>
                  <a:cubicBezTo>
                    <a:pt x="3" y="4"/>
                    <a:pt x="14" y="1"/>
                    <a:pt x="1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6" name="任意多边形: 形状 565">
              <a:extLst>
                <a:ext uri="{FF2B5EF4-FFF2-40B4-BE49-F238E27FC236}">
                  <a16:creationId xmlns:a16="http://schemas.microsoft.com/office/drawing/2014/main" id="{16A5C461-0C6E-4FD6-AB80-5F6FE7C8F1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60726" y="-6189650"/>
              <a:ext cx="71438" cy="25400"/>
            </a:xfrm>
            <a:custGeom>
              <a:avLst/>
              <a:gdLst>
                <a:gd name="T0" fmla="*/ 0 w 22"/>
                <a:gd name="T1" fmla="*/ 4 h 8"/>
                <a:gd name="T2" fmla="*/ 22 w 22"/>
                <a:gd name="T3" fmla="*/ 3 h 8"/>
                <a:gd name="T4" fmla="*/ 0 w 22"/>
                <a:gd name="T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8">
                  <a:moveTo>
                    <a:pt x="0" y="4"/>
                  </a:moveTo>
                  <a:cubicBezTo>
                    <a:pt x="6" y="7"/>
                    <a:pt x="17" y="8"/>
                    <a:pt x="22" y="3"/>
                  </a:cubicBezTo>
                  <a:cubicBezTo>
                    <a:pt x="14" y="5"/>
                    <a:pt x="3" y="0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7" name="任意多边形: 形状 566">
              <a:extLst>
                <a:ext uri="{FF2B5EF4-FFF2-40B4-BE49-F238E27FC236}">
                  <a16:creationId xmlns:a16="http://schemas.microsoft.com/office/drawing/2014/main" id="{508B0F93-2F76-494A-A8B9-0F73390D905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92489" y="-5999149"/>
              <a:ext cx="34925" cy="26988"/>
            </a:xfrm>
            <a:custGeom>
              <a:avLst/>
              <a:gdLst>
                <a:gd name="T0" fmla="*/ 8 w 11"/>
                <a:gd name="T1" fmla="*/ 1 h 8"/>
                <a:gd name="T2" fmla="*/ 0 w 11"/>
                <a:gd name="T3" fmla="*/ 2 h 8"/>
                <a:gd name="T4" fmla="*/ 3 w 11"/>
                <a:gd name="T5" fmla="*/ 6 h 8"/>
                <a:gd name="T6" fmla="*/ 8 w 11"/>
                <a:gd name="T7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8">
                  <a:moveTo>
                    <a:pt x="8" y="1"/>
                  </a:moveTo>
                  <a:cubicBezTo>
                    <a:pt x="5" y="2"/>
                    <a:pt x="4" y="2"/>
                    <a:pt x="0" y="2"/>
                  </a:cubicBezTo>
                  <a:cubicBezTo>
                    <a:pt x="1" y="4"/>
                    <a:pt x="1" y="7"/>
                    <a:pt x="3" y="6"/>
                  </a:cubicBezTo>
                  <a:cubicBezTo>
                    <a:pt x="0" y="0"/>
                    <a:pt x="11" y="8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8" name="任意多边形: 形状 567">
              <a:extLst>
                <a:ext uri="{FF2B5EF4-FFF2-40B4-BE49-F238E27FC236}">
                  <a16:creationId xmlns:a16="http://schemas.microsoft.com/office/drawing/2014/main" id="{627A03EA-B1B7-40CB-9D60-6188C93DF8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13114" y="-6134087"/>
              <a:ext cx="28575" cy="19050"/>
            </a:xfrm>
            <a:custGeom>
              <a:avLst/>
              <a:gdLst>
                <a:gd name="T0" fmla="*/ 8 w 9"/>
                <a:gd name="T1" fmla="*/ 2 h 6"/>
                <a:gd name="T2" fmla="*/ 0 w 9"/>
                <a:gd name="T3" fmla="*/ 0 h 6"/>
                <a:gd name="T4" fmla="*/ 3 w 9"/>
                <a:gd name="T5" fmla="*/ 6 h 6"/>
                <a:gd name="T6" fmla="*/ 8 w 9"/>
                <a:gd name="T7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8" y="2"/>
                  </a:moveTo>
                  <a:cubicBezTo>
                    <a:pt x="5" y="2"/>
                    <a:pt x="3" y="0"/>
                    <a:pt x="0" y="0"/>
                  </a:cubicBezTo>
                  <a:cubicBezTo>
                    <a:pt x="3" y="3"/>
                    <a:pt x="2" y="2"/>
                    <a:pt x="3" y="6"/>
                  </a:cubicBezTo>
                  <a:cubicBezTo>
                    <a:pt x="4" y="4"/>
                    <a:pt x="9" y="5"/>
                    <a:pt x="8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69" name="任意多边形: 形状 568">
              <a:extLst>
                <a:ext uri="{FF2B5EF4-FFF2-40B4-BE49-F238E27FC236}">
                  <a16:creationId xmlns:a16="http://schemas.microsoft.com/office/drawing/2014/main" id="{3ACF34EE-C069-4AD7-8D6A-5698EEC6C6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16289" y="-6091225"/>
              <a:ext cx="15875" cy="26988"/>
            </a:xfrm>
            <a:custGeom>
              <a:avLst/>
              <a:gdLst>
                <a:gd name="T0" fmla="*/ 0 w 5"/>
                <a:gd name="T1" fmla="*/ 5 h 8"/>
                <a:gd name="T2" fmla="*/ 4 w 5"/>
                <a:gd name="T3" fmla="*/ 0 h 8"/>
                <a:gd name="T4" fmla="*/ 0 w 5"/>
                <a:gd name="T5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8">
                  <a:moveTo>
                    <a:pt x="0" y="5"/>
                  </a:moveTo>
                  <a:cubicBezTo>
                    <a:pt x="3" y="8"/>
                    <a:pt x="5" y="4"/>
                    <a:pt x="4" y="0"/>
                  </a:cubicBezTo>
                  <a:cubicBezTo>
                    <a:pt x="2" y="1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0" name="任意多边形: 形状 569">
              <a:extLst>
                <a:ext uri="{FF2B5EF4-FFF2-40B4-BE49-F238E27FC236}">
                  <a16:creationId xmlns:a16="http://schemas.microsoft.com/office/drawing/2014/main" id="{D55ED699-E438-413E-ABEC-219750DE0E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43264" y="-6100750"/>
              <a:ext cx="39688" cy="36513"/>
            </a:xfrm>
            <a:custGeom>
              <a:avLst/>
              <a:gdLst>
                <a:gd name="T0" fmla="*/ 12 w 12"/>
                <a:gd name="T1" fmla="*/ 0 h 11"/>
                <a:gd name="T2" fmla="*/ 0 w 12"/>
                <a:gd name="T3" fmla="*/ 2 h 11"/>
                <a:gd name="T4" fmla="*/ 0 w 12"/>
                <a:gd name="T5" fmla="*/ 8 h 11"/>
                <a:gd name="T6" fmla="*/ 12 w 12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12" y="0"/>
                  </a:moveTo>
                  <a:cubicBezTo>
                    <a:pt x="7" y="2"/>
                    <a:pt x="3" y="4"/>
                    <a:pt x="0" y="2"/>
                  </a:cubicBezTo>
                  <a:cubicBezTo>
                    <a:pt x="4" y="6"/>
                    <a:pt x="1" y="5"/>
                    <a:pt x="0" y="8"/>
                  </a:cubicBezTo>
                  <a:cubicBezTo>
                    <a:pt x="4" y="11"/>
                    <a:pt x="10" y="4"/>
                    <a:pt x="12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1" name="任意多边形: 形状 570">
              <a:extLst>
                <a:ext uri="{FF2B5EF4-FFF2-40B4-BE49-F238E27FC236}">
                  <a16:creationId xmlns:a16="http://schemas.microsoft.com/office/drawing/2014/main" id="{878FDEED-4394-42AB-81A1-4CBDD1AB1C7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86064" y="-6899264"/>
              <a:ext cx="25400" cy="23813"/>
            </a:xfrm>
            <a:custGeom>
              <a:avLst/>
              <a:gdLst>
                <a:gd name="T0" fmla="*/ 8 w 8"/>
                <a:gd name="T1" fmla="*/ 4 h 7"/>
                <a:gd name="T2" fmla="*/ 5 w 8"/>
                <a:gd name="T3" fmla="*/ 1 h 7"/>
                <a:gd name="T4" fmla="*/ 2 w 8"/>
                <a:gd name="T5" fmla="*/ 4 h 7"/>
                <a:gd name="T6" fmla="*/ 8 w 8"/>
                <a:gd name="T7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8" y="4"/>
                  </a:moveTo>
                  <a:cubicBezTo>
                    <a:pt x="7" y="3"/>
                    <a:pt x="7" y="1"/>
                    <a:pt x="5" y="1"/>
                  </a:cubicBezTo>
                  <a:cubicBezTo>
                    <a:pt x="7" y="4"/>
                    <a:pt x="0" y="0"/>
                    <a:pt x="2" y="4"/>
                  </a:cubicBezTo>
                  <a:cubicBezTo>
                    <a:pt x="4" y="4"/>
                    <a:pt x="5" y="7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2" name="任意多边形: 形状 571">
              <a:extLst>
                <a:ext uri="{FF2B5EF4-FFF2-40B4-BE49-F238E27FC236}">
                  <a16:creationId xmlns:a16="http://schemas.microsoft.com/office/drawing/2014/main" id="{2EAEE85C-D5A3-4068-A8D0-7104419D87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21026" y="-6064237"/>
              <a:ext cx="73025" cy="46038"/>
            </a:xfrm>
            <a:custGeom>
              <a:avLst/>
              <a:gdLst>
                <a:gd name="T0" fmla="*/ 3 w 22"/>
                <a:gd name="T1" fmla="*/ 8 h 14"/>
                <a:gd name="T2" fmla="*/ 0 w 22"/>
                <a:gd name="T3" fmla="*/ 5 h 14"/>
                <a:gd name="T4" fmla="*/ 17 w 22"/>
                <a:gd name="T5" fmla="*/ 0 h 14"/>
                <a:gd name="T6" fmla="*/ 3 w 22"/>
                <a:gd name="T7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4">
                  <a:moveTo>
                    <a:pt x="3" y="8"/>
                  </a:moveTo>
                  <a:cubicBezTo>
                    <a:pt x="2" y="7"/>
                    <a:pt x="2" y="5"/>
                    <a:pt x="0" y="5"/>
                  </a:cubicBezTo>
                  <a:cubicBezTo>
                    <a:pt x="0" y="14"/>
                    <a:pt x="22" y="6"/>
                    <a:pt x="17" y="0"/>
                  </a:cubicBezTo>
                  <a:cubicBezTo>
                    <a:pt x="15" y="6"/>
                    <a:pt x="6" y="4"/>
                    <a:pt x="3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3" name="任意多边形: 形状 572">
              <a:extLst>
                <a:ext uri="{FF2B5EF4-FFF2-40B4-BE49-F238E27FC236}">
                  <a16:creationId xmlns:a16="http://schemas.microsoft.com/office/drawing/2014/main" id="{8606A7D8-D1FE-41BB-B422-042C89F95B6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95576" y="-6908789"/>
              <a:ext cx="20638" cy="23813"/>
            </a:xfrm>
            <a:custGeom>
              <a:avLst/>
              <a:gdLst>
                <a:gd name="T0" fmla="*/ 0 w 6"/>
                <a:gd name="T1" fmla="*/ 2 h 7"/>
                <a:gd name="T2" fmla="*/ 1 w 6"/>
                <a:gd name="T3" fmla="*/ 5 h 7"/>
                <a:gd name="T4" fmla="*/ 6 w 6"/>
                <a:gd name="T5" fmla="*/ 0 h 7"/>
                <a:gd name="T6" fmla="*/ 0 w 6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7">
                  <a:moveTo>
                    <a:pt x="0" y="2"/>
                  </a:moveTo>
                  <a:cubicBezTo>
                    <a:pt x="1" y="5"/>
                    <a:pt x="1" y="5"/>
                    <a:pt x="1" y="5"/>
                  </a:cubicBezTo>
                  <a:cubicBezTo>
                    <a:pt x="5" y="7"/>
                    <a:pt x="5" y="3"/>
                    <a:pt x="6" y="0"/>
                  </a:cubicBezTo>
                  <a:cubicBezTo>
                    <a:pt x="4" y="0"/>
                    <a:pt x="2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4" name="任意多边形: 形状 573">
              <a:extLst>
                <a:ext uri="{FF2B5EF4-FFF2-40B4-BE49-F238E27FC236}">
                  <a16:creationId xmlns:a16="http://schemas.microsoft.com/office/drawing/2014/main" id="{2CAA408B-FC17-4D54-BB15-D8540A6877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70176" y="-6832589"/>
              <a:ext cx="39688" cy="26988"/>
            </a:xfrm>
            <a:custGeom>
              <a:avLst/>
              <a:gdLst>
                <a:gd name="T0" fmla="*/ 0 w 12"/>
                <a:gd name="T1" fmla="*/ 8 h 8"/>
                <a:gd name="T2" fmla="*/ 10 w 12"/>
                <a:gd name="T3" fmla="*/ 0 h 8"/>
                <a:gd name="T4" fmla="*/ 0 w 12"/>
                <a:gd name="T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8">
                  <a:moveTo>
                    <a:pt x="0" y="8"/>
                  </a:moveTo>
                  <a:cubicBezTo>
                    <a:pt x="4" y="6"/>
                    <a:pt x="12" y="1"/>
                    <a:pt x="10" y="0"/>
                  </a:cubicBezTo>
                  <a:cubicBezTo>
                    <a:pt x="6" y="2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5" name="任意多边形: 形状 574">
              <a:extLst>
                <a:ext uri="{FF2B5EF4-FFF2-40B4-BE49-F238E27FC236}">
                  <a16:creationId xmlns:a16="http://schemas.microsoft.com/office/drawing/2014/main" id="{87C08C97-F97B-4DAD-94F5-A7656C1E6CF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93976" y="-6856402"/>
              <a:ext cx="15875" cy="30163"/>
            </a:xfrm>
            <a:custGeom>
              <a:avLst/>
              <a:gdLst>
                <a:gd name="T0" fmla="*/ 0 w 5"/>
                <a:gd name="T1" fmla="*/ 9 h 9"/>
                <a:gd name="T2" fmla="*/ 5 w 5"/>
                <a:gd name="T3" fmla="*/ 0 h 9"/>
                <a:gd name="T4" fmla="*/ 0 w 5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5" h="9">
                  <a:moveTo>
                    <a:pt x="0" y="9"/>
                  </a:moveTo>
                  <a:cubicBezTo>
                    <a:pt x="5" y="8"/>
                    <a:pt x="5" y="4"/>
                    <a:pt x="5" y="0"/>
                  </a:cubicBezTo>
                  <a:cubicBezTo>
                    <a:pt x="1" y="2"/>
                    <a:pt x="1" y="6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6" name="任意多边形: 形状 575">
              <a:extLst>
                <a:ext uri="{FF2B5EF4-FFF2-40B4-BE49-F238E27FC236}">
                  <a16:creationId xmlns:a16="http://schemas.microsoft.com/office/drawing/2014/main" id="{CAD01795-6CDF-4D9C-B403-A59B8B39C7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79739" y="-5946762"/>
              <a:ext cx="26988" cy="14288"/>
            </a:xfrm>
            <a:custGeom>
              <a:avLst/>
              <a:gdLst>
                <a:gd name="T0" fmla="*/ 0 w 8"/>
                <a:gd name="T1" fmla="*/ 4 h 4"/>
                <a:gd name="T2" fmla="*/ 7 w 8"/>
                <a:gd name="T3" fmla="*/ 0 h 4"/>
                <a:gd name="T4" fmla="*/ 0 w 8"/>
                <a:gd name="T5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8" h="4">
                  <a:moveTo>
                    <a:pt x="0" y="4"/>
                  </a:moveTo>
                  <a:cubicBezTo>
                    <a:pt x="2" y="3"/>
                    <a:pt x="8" y="3"/>
                    <a:pt x="7" y="0"/>
                  </a:cubicBezTo>
                  <a:cubicBezTo>
                    <a:pt x="3" y="0"/>
                    <a:pt x="0" y="1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7" name="任意多边形: 形状 576">
              <a:extLst>
                <a:ext uri="{FF2B5EF4-FFF2-40B4-BE49-F238E27FC236}">
                  <a16:creationId xmlns:a16="http://schemas.microsoft.com/office/drawing/2014/main" id="{266E69B9-9003-40C0-BB19-68095458F5A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54289" y="-6808777"/>
              <a:ext cx="23813" cy="22225"/>
            </a:xfrm>
            <a:custGeom>
              <a:avLst/>
              <a:gdLst>
                <a:gd name="T0" fmla="*/ 0 w 7"/>
                <a:gd name="T1" fmla="*/ 5 h 7"/>
                <a:gd name="T2" fmla="*/ 2 w 7"/>
                <a:gd name="T3" fmla="*/ 6 h 7"/>
                <a:gd name="T4" fmla="*/ 3 w 7"/>
                <a:gd name="T5" fmla="*/ 7 h 7"/>
                <a:gd name="T6" fmla="*/ 6 w 7"/>
                <a:gd name="T7" fmla="*/ 1 h 7"/>
                <a:gd name="T8" fmla="*/ 0 w 7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7">
                  <a:moveTo>
                    <a:pt x="0" y="5"/>
                  </a:moveTo>
                  <a:cubicBezTo>
                    <a:pt x="1" y="5"/>
                    <a:pt x="2" y="5"/>
                    <a:pt x="2" y="6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3" y="4"/>
                    <a:pt x="7" y="4"/>
                    <a:pt x="6" y="1"/>
                  </a:cubicBezTo>
                  <a:cubicBezTo>
                    <a:pt x="3" y="0"/>
                    <a:pt x="0" y="3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8" name="任意多边形: 形状 577">
              <a:extLst>
                <a:ext uri="{FF2B5EF4-FFF2-40B4-BE49-F238E27FC236}">
                  <a16:creationId xmlns:a16="http://schemas.microsoft.com/office/drawing/2014/main" id="{8CD9AA63-3428-40BA-AA05-1FFEBF726FD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38439" y="-5818174"/>
              <a:ext cx="20638" cy="23813"/>
            </a:xfrm>
            <a:custGeom>
              <a:avLst/>
              <a:gdLst>
                <a:gd name="T0" fmla="*/ 1 w 6"/>
                <a:gd name="T1" fmla="*/ 7 h 7"/>
                <a:gd name="T2" fmla="*/ 5 w 6"/>
                <a:gd name="T3" fmla="*/ 0 h 7"/>
                <a:gd name="T4" fmla="*/ 1 w 6"/>
                <a:gd name="T5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7">
                  <a:moveTo>
                    <a:pt x="1" y="7"/>
                  </a:moveTo>
                  <a:cubicBezTo>
                    <a:pt x="5" y="6"/>
                    <a:pt x="6" y="3"/>
                    <a:pt x="5" y="0"/>
                  </a:cubicBezTo>
                  <a:cubicBezTo>
                    <a:pt x="4" y="2"/>
                    <a:pt x="0" y="4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79" name="任意多边形: 形状 578">
              <a:extLst>
                <a:ext uri="{FF2B5EF4-FFF2-40B4-BE49-F238E27FC236}">
                  <a16:creationId xmlns:a16="http://schemas.microsoft.com/office/drawing/2014/main" id="{BE9F0AF3-C7D9-4EC1-9BA8-1EA2781716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799888" y="-6697651"/>
              <a:ext cx="28575" cy="42863"/>
            </a:xfrm>
            <a:custGeom>
              <a:avLst/>
              <a:gdLst>
                <a:gd name="T0" fmla="*/ 9 w 9"/>
                <a:gd name="T1" fmla="*/ 7 h 13"/>
                <a:gd name="T2" fmla="*/ 1 w 9"/>
                <a:gd name="T3" fmla="*/ 13 h 13"/>
                <a:gd name="T4" fmla="*/ 9 w 9"/>
                <a:gd name="T5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3">
                  <a:moveTo>
                    <a:pt x="9" y="7"/>
                  </a:moveTo>
                  <a:cubicBezTo>
                    <a:pt x="5" y="0"/>
                    <a:pt x="0" y="9"/>
                    <a:pt x="1" y="13"/>
                  </a:cubicBezTo>
                  <a:cubicBezTo>
                    <a:pt x="5" y="10"/>
                    <a:pt x="4" y="7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0" name="任意多边形: 形状 579">
              <a:extLst>
                <a:ext uri="{FF2B5EF4-FFF2-40B4-BE49-F238E27FC236}">
                  <a16:creationId xmlns:a16="http://schemas.microsoft.com/office/drawing/2014/main" id="{82A364C6-F874-4B30-8EA1-9B637E46A73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01601" y="-4938697"/>
              <a:ext cx="30163" cy="30163"/>
            </a:xfrm>
            <a:custGeom>
              <a:avLst/>
              <a:gdLst>
                <a:gd name="T0" fmla="*/ 9 w 9"/>
                <a:gd name="T1" fmla="*/ 4 h 9"/>
                <a:gd name="T2" fmla="*/ 7 w 9"/>
                <a:gd name="T3" fmla="*/ 0 h 9"/>
                <a:gd name="T4" fmla="*/ 0 w 9"/>
                <a:gd name="T5" fmla="*/ 9 h 9"/>
                <a:gd name="T6" fmla="*/ 9 w 9"/>
                <a:gd name="T7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9" y="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3" y="3"/>
                    <a:pt x="3" y="6"/>
                    <a:pt x="0" y="9"/>
                  </a:cubicBezTo>
                  <a:cubicBezTo>
                    <a:pt x="3" y="7"/>
                    <a:pt x="8" y="8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1" name="任意多边形: 形状 580">
              <a:extLst>
                <a:ext uri="{FF2B5EF4-FFF2-40B4-BE49-F238E27FC236}">
                  <a16:creationId xmlns:a16="http://schemas.microsoft.com/office/drawing/2014/main" id="{70C953F0-B10D-475E-8DFB-F3A8508047D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88851" y="-4914884"/>
              <a:ext cx="73025" cy="71438"/>
            </a:xfrm>
            <a:custGeom>
              <a:avLst/>
              <a:gdLst>
                <a:gd name="T0" fmla="*/ 8 w 22"/>
                <a:gd name="T1" fmla="*/ 16 h 22"/>
                <a:gd name="T2" fmla="*/ 3 w 22"/>
                <a:gd name="T3" fmla="*/ 22 h 22"/>
                <a:gd name="T4" fmla="*/ 12 w 22"/>
                <a:gd name="T5" fmla="*/ 19 h 22"/>
                <a:gd name="T6" fmla="*/ 18 w 22"/>
                <a:gd name="T7" fmla="*/ 7 h 22"/>
                <a:gd name="T8" fmla="*/ 10 w 22"/>
                <a:gd name="T9" fmla="*/ 9 h 22"/>
                <a:gd name="T10" fmla="*/ 18 w 22"/>
                <a:gd name="T11" fmla="*/ 0 h 22"/>
                <a:gd name="T12" fmla="*/ 2 w 22"/>
                <a:gd name="T13" fmla="*/ 8 h 22"/>
                <a:gd name="T14" fmla="*/ 8 w 22"/>
                <a:gd name="T15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" h="22">
                  <a:moveTo>
                    <a:pt x="8" y="16"/>
                  </a:moveTo>
                  <a:cubicBezTo>
                    <a:pt x="6" y="18"/>
                    <a:pt x="0" y="19"/>
                    <a:pt x="3" y="22"/>
                  </a:cubicBezTo>
                  <a:cubicBezTo>
                    <a:pt x="6" y="20"/>
                    <a:pt x="9" y="19"/>
                    <a:pt x="12" y="19"/>
                  </a:cubicBezTo>
                  <a:cubicBezTo>
                    <a:pt x="6" y="9"/>
                    <a:pt x="22" y="17"/>
                    <a:pt x="18" y="7"/>
                  </a:cubicBezTo>
                  <a:cubicBezTo>
                    <a:pt x="17" y="9"/>
                    <a:pt x="13" y="14"/>
                    <a:pt x="10" y="9"/>
                  </a:cubicBezTo>
                  <a:cubicBezTo>
                    <a:pt x="11" y="4"/>
                    <a:pt x="22" y="6"/>
                    <a:pt x="18" y="0"/>
                  </a:cubicBezTo>
                  <a:cubicBezTo>
                    <a:pt x="12" y="5"/>
                    <a:pt x="8" y="7"/>
                    <a:pt x="2" y="8"/>
                  </a:cubicBezTo>
                  <a:cubicBezTo>
                    <a:pt x="9" y="11"/>
                    <a:pt x="2" y="14"/>
                    <a:pt x="8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2" name="任意多边形: 形状 581">
              <a:extLst>
                <a:ext uri="{FF2B5EF4-FFF2-40B4-BE49-F238E27FC236}">
                  <a16:creationId xmlns:a16="http://schemas.microsoft.com/office/drawing/2014/main" id="{898C2FDB-67A4-4FE3-845E-8471A0851A6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50625" y="-6351575"/>
              <a:ext cx="39688" cy="36513"/>
            </a:xfrm>
            <a:custGeom>
              <a:avLst/>
              <a:gdLst>
                <a:gd name="T0" fmla="*/ 0 w 12"/>
                <a:gd name="T1" fmla="*/ 5 h 11"/>
                <a:gd name="T2" fmla="*/ 3 w 12"/>
                <a:gd name="T3" fmla="*/ 11 h 11"/>
                <a:gd name="T4" fmla="*/ 6 w 12"/>
                <a:gd name="T5" fmla="*/ 0 h 11"/>
                <a:gd name="T6" fmla="*/ 0 w 12"/>
                <a:gd name="T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1">
                  <a:moveTo>
                    <a:pt x="0" y="5"/>
                  </a:moveTo>
                  <a:cubicBezTo>
                    <a:pt x="3" y="11"/>
                    <a:pt x="3" y="11"/>
                    <a:pt x="3" y="11"/>
                  </a:cubicBezTo>
                  <a:cubicBezTo>
                    <a:pt x="12" y="4"/>
                    <a:pt x="2" y="6"/>
                    <a:pt x="6" y="0"/>
                  </a:cubicBezTo>
                  <a:cubicBezTo>
                    <a:pt x="1" y="0"/>
                    <a:pt x="4" y="2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3" name="任意多边形: 形状 582">
              <a:extLst>
                <a:ext uri="{FF2B5EF4-FFF2-40B4-BE49-F238E27FC236}">
                  <a16:creationId xmlns:a16="http://schemas.microsoft.com/office/drawing/2014/main" id="{EF514A71-7FCB-46AF-9FF6-B756AE098F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71250" y="-6370625"/>
              <a:ext cx="103188" cy="114300"/>
            </a:xfrm>
            <a:custGeom>
              <a:avLst/>
              <a:gdLst>
                <a:gd name="T0" fmla="*/ 10 w 31"/>
                <a:gd name="T1" fmla="*/ 25 h 35"/>
                <a:gd name="T2" fmla="*/ 25 w 31"/>
                <a:gd name="T3" fmla="*/ 25 h 35"/>
                <a:gd name="T4" fmla="*/ 9 w 31"/>
                <a:gd name="T5" fmla="*/ 27 h 35"/>
                <a:gd name="T6" fmla="*/ 9 w 31"/>
                <a:gd name="T7" fmla="*/ 33 h 35"/>
                <a:gd name="T8" fmla="*/ 6 w 31"/>
                <a:gd name="T9" fmla="*/ 29 h 35"/>
                <a:gd name="T10" fmla="*/ 5 w 31"/>
                <a:gd name="T11" fmla="*/ 35 h 35"/>
                <a:gd name="T12" fmla="*/ 28 w 31"/>
                <a:gd name="T13" fmla="*/ 29 h 35"/>
                <a:gd name="T14" fmla="*/ 27 w 31"/>
                <a:gd name="T15" fmla="*/ 25 h 35"/>
                <a:gd name="T16" fmla="*/ 31 w 31"/>
                <a:gd name="T17" fmla="*/ 22 h 35"/>
                <a:gd name="T18" fmla="*/ 20 w 31"/>
                <a:gd name="T19" fmla="*/ 13 h 35"/>
                <a:gd name="T20" fmla="*/ 13 w 31"/>
                <a:gd name="T21" fmla="*/ 22 h 35"/>
                <a:gd name="T22" fmla="*/ 10 w 31"/>
                <a:gd name="T23" fmla="*/ 19 h 35"/>
                <a:gd name="T24" fmla="*/ 19 w 31"/>
                <a:gd name="T25" fmla="*/ 0 h 35"/>
                <a:gd name="T26" fmla="*/ 12 w 31"/>
                <a:gd name="T27" fmla="*/ 6 h 35"/>
                <a:gd name="T28" fmla="*/ 3 w 31"/>
                <a:gd name="T29" fmla="*/ 5 h 35"/>
                <a:gd name="T30" fmla="*/ 0 w 31"/>
                <a:gd name="T31" fmla="*/ 17 h 35"/>
                <a:gd name="T32" fmla="*/ 10 w 31"/>
                <a:gd name="T33" fmla="*/ 2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1" h="35">
                  <a:moveTo>
                    <a:pt x="10" y="25"/>
                  </a:moveTo>
                  <a:cubicBezTo>
                    <a:pt x="15" y="21"/>
                    <a:pt x="20" y="24"/>
                    <a:pt x="25" y="25"/>
                  </a:cubicBezTo>
                  <a:cubicBezTo>
                    <a:pt x="20" y="30"/>
                    <a:pt x="16" y="31"/>
                    <a:pt x="9" y="27"/>
                  </a:cubicBezTo>
                  <a:cubicBezTo>
                    <a:pt x="11" y="30"/>
                    <a:pt x="11" y="32"/>
                    <a:pt x="9" y="33"/>
                  </a:cubicBezTo>
                  <a:cubicBezTo>
                    <a:pt x="8" y="31"/>
                    <a:pt x="7" y="29"/>
                    <a:pt x="6" y="29"/>
                  </a:cubicBezTo>
                  <a:cubicBezTo>
                    <a:pt x="4" y="30"/>
                    <a:pt x="4" y="32"/>
                    <a:pt x="5" y="35"/>
                  </a:cubicBezTo>
                  <a:cubicBezTo>
                    <a:pt x="14" y="34"/>
                    <a:pt x="19" y="29"/>
                    <a:pt x="28" y="29"/>
                  </a:cubicBezTo>
                  <a:cubicBezTo>
                    <a:pt x="26" y="27"/>
                    <a:pt x="26" y="26"/>
                    <a:pt x="27" y="25"/>
                  </a:cubicBezTo>
                  <a:cubicBezTo>
                    <a:pt x="29" y="25"/>
                    <a:pt x="30" y="25"/>
                    <a:pt x="31" y="22"/>
                  </a:cubicBezTo>
                  <a:cubicBezTo>
                    <a:pt x="23" y="25"/>
                    <a:pt x="22" y="16"/>
                    <a:pt x="20" y="13"/>
                  </a:cubicBezTo>
                  <a:cubicBezTo>
                    <a:pt x="18" y="16"/>
                    <a:pt x="15" y="19"/>
                    <a:pt x="13" y="22"/>
                  </a:cubicBezTo>
                  <a:cubicBezTo>
                    <a:pt x="12" y="20"/>
                    <a:pt x="11" y="21"/>
                    <a:pt x="10" y="19"/>
                  </a:cubicBezTo>
                  <a:cubicBezTo>
                    <a:pt x="17" y="14"/>
                    <a:pt x="14" y="6"/>
                    <a:pt x="19" y="0"/>
                  </a:cubicBezTo>
                  <a:cubicBezTo>
                    <a:pt x="14" y="3"/>
                    <a:pt x="13" y="2"/>
                    <a:pt x="12" y="6"/>
                  </a:cubicBezTo>
                  <a:cubicBezTo>
                    <a:pt x="9" y="4"/>
                    <a:pt x="6" y="3"/>
                    <a:pt x="3" y="5"/>
                  </a:cubicBezTo>
                  <a:cubicBezTo>
                    <a:pt x="1" y="9"/>
                    <a:pt x="0" y="13"/>
                    <a:pt x="0" y="17"/>
                  </a:cubicBezTo>
                  <a:cubicBezTo>
                    <a:pt x="4" y="18"/>
                    <a:pt x="7" y="20"/>
                    <a:pt x="1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4" name="任意多边形: 形状 583">
              <a:extLst>
                <a:ext uri="{FF2B5EF4-FFF2-40B4-BE49-F238E27FC236}">
                  <a16:creationId xmlns:a16="http://schemas.microsoft.com/office/drawing/2014/main" id="{2F3F69E0-0DF5-4597-A6A7-2D2B15BD31C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320463" y="-6262675"/>
              <a:ext cx="39688" cy="46038"/>
            </a:xfrm>
            <a:custGeom>
              <a:avLst/>
              <a:gdLst>
                <a:gd name="T0" fmla="*/ 12 w 12"/>
                <a:gd name="T1" fmla="*/ 9 h 14"/>
                <a:gd name="T2" fmla="*/ 4 w 12"/>
                <a:gd name="T3" fmla="*/ 0 h 14"/>
                <a:gd name="T4" fmla="*/ 0 w 12"/>
                <a:gd name="T5" fmla="*/ 7 h 14"/>
                <a:gd name="T6" fmla="*/ 12 w 12"/>
                <a:gd name="T7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4">
                  <a:moveTo>
                    <a:pt x="12" y="9"/>
                  </a:moveTo>
                  <a:cubicBezTo>
                    <a:pt x="10" y="4"/>
                    <a:pt x="6" y="6"/>
                    <a:pt x="4" y="0"/>
                  </a:cubicBezTo>
                  <a:cubicBezTo>
                    <a:pt x="2" y="2"/>
                    <a:pt x="2" y="5"/>
                    <a:pt x="0" y="7"/>
                  </a:cubicBezTo>
                  <a:cubicBezTo>
                    <a:pt x="7" y="2"/>
                    <a:pt x="5" y="14"/>
                    <a:pt x="1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5" name="任意多边形: 形状 584">
              <a:extLst>
                <a:ext uri="{FF2B5EF4-FFF2-40B4-BE49-F238E27FC236}">
                  <a16:creationId xmlns:a16="http://schemas.microsoft.com/office/drawing/2014/main" id="{BF377D3C-8598-461B-BA9C-46BB6A869B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31688" y="-4568808"/>
              <a:ext cx="31750" cy="31750"/>
            </a:xfrm>
            <a:custGeom>
              <a:avLst/>
              <a:gdLst>
                <a:gd name="T0" fmla="*/ 7 w 10"/>
                <a:gd name="T1" fmla="*/ 10 h 10"/>
                <a:gd name="T2" fmla="*/ 10 w 10"/>
                <a:gd name="T3" fmla="*/ 6 h 10"/>
                <a:gd name="T4" fmla="*/ 6 w 10"/>
                <a:gd name="T5" fmla="*/ 0 h 10"/>
                <a:gd name="T6" fmla="*/ 7 w 10"/>
                <a:gd name="T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10">
                  <a:moveTo>
                    <a:pt x="7" y="10"/>
                  </a:moveTo>
                  <a:cubicBezTo>
                    <a:pt x="9" y="9"/>
                    <a:pt x="8" y="7"/>
                    <a:pt x="10" y="6"/>
                  </a:cubicBezTo>
                  <a:cubicBezTo>
                    <a:pt x="7" y="3"/>
                    <a:pt x="5" y="4"/>
                    <a:pt x="6" y="0"/>
                  </a:cubicBezTo>
                  <a:cubicBezTo>
                    <a:pt x="0" y="1"/>
                    <a:pt x="7" y="7"/>
                    <a:pt x="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6" name="任意多边形: 形状 585">
              <a:extLst>
                <a:ext uri="{FF2B5EF4-FFF2-40B4-BE49-F238E27FC236}">
                  <a16:creationId xmlns:a16="http://schemas.microsoft.com/office/drawing/2014/main" id="{CC8B2BF2-A772-495E-81AF-CB0D4140A1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30113" y="-4351320"/>
              <a:ext cx="19050" cy="25400"/>
            </a:xfrm>
            <a:custGeom>
              <a:avLst/>
              <a:gdLst>
                <a:gd name="T0" fmla="*/ 0 w 6"/>
                <a:gd name="T1" fmla="*/ 2 h 8"/>
                <a:gd name="T2" fmla="*/ 6 w 6"/>
                <a:gd name="T3" fmla="*/ 2 h 8"/>
                <a:gd name="T4" fmla="*/ 0 w 6"/>
                <a:gd name="T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8">
                  <a:moveTo>
                    <a:pt x="0" y="2"/>
                  </a:moveTo>
                  <a:cubicBezTo>
                    <a:pt x="3" y="8"/>
                    <a:pt x="6" y="5"/>
                    <a:pt x="6" y="2"/>
                  </a:cubicBezTo>
                  <a:cubicBezTo>
                    <a:pt x="4" y="4"/>
                    <a:pt x="3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7" name="任意多边形: 形状 586">
              <a:extLst>
                <a:ext uri="{FF2B5EF4-FFF2-40B4-BE49-F238E27FC236}">
                  <a16:creationId xmlns:a16="http://schemas.microsoft.com/office/drawing/2014/main" id="{240BBA57-C5A9-42F4-8E50-B77E26959A2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44388" y="-4216382"/>
              <a:ext cx="69850" cy="52388"/>
            </a:xfrm>
            <a:custGeom>
              <a:avLst/>
              <a:gdLst>
                <a:gd name="T0" fmla="*/ 10 w 21"/>
                <a:gd name="T1" fmla="*/ 6 h 16"/>
                <a:gd name="T2" fmla="*/ 0 w 21"/>
                <a:gd name="T3" fmla="*/ 9 h 16"/>
                <a:gd name="T4" fmla="*/ 11 w 21"/>
                <a:gd name="T5" fmla="*/ 16 h 16"/>
                <a:gd name="T6" fmla="*/ 9 w 21"/>
                <a:gd name="T7" fmla="*/ 7 h 16"/>
                <a:gd name="T8" fmla="*/ 18 w 21"/>
                <a:gd name="T9" fmla="*/ 0 h 16"/>
                <a:gd name="T10" fmla="*/ 10 w 21"/>
                <a:gd name="T11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16">
                  <a:moveTo>
                    <a:pt x="10" y="6"/>
                  </a:moveTo>
                  <a:cubicBezTo>
                    <a:pt x="10" y="1"/>
                    <a:pt x="0" y="6"/>
                    <a:pt x="0" y="9"/>
                  </a:cubicBezTo>
                  <a:cubicBezTo>
                    <a:pt x="3" y="11"/>
                    <a:pt x="7" y="15"/>
                    <a:pt x="11" y="16"/>
                  </a:cubicBezTo>
                  <a:cubicBezTo>
                    <a:pt x="10" y="13"/>
                    <a:pt x="7" y="9"/>
                    <a:pt x="9" y="7"/>
                  </a:cubicBezTo>
                  <a:cubicBezTo>
                    <a:pt x="11" y="8"/>
                    <a:pt x="21" y="4"/>
                    <a:pt x="18" y="0"/>
                  </a:cubicBezTo>
                  <a:cubicBezTo>
                    <a:pt x="14" y="1"/>
                    <a:pt x="12" y="3"/>
                    <a:pt x="1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8" name="任意多边形: 形状 587">
              <a:extLst>
                <a:ext uri="{FF2B5EF4-FFF2-40B4-BE49-F238E27FC236}">
                  <a16:creationId xmlns:a16="http://schemas.microsoft.com/office/drawing/2014/main" id="{83BC454C-FD7F-4C08-B6A6-50DE8BB5A20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980863" y="-4575158"/>
              <a:ext cx="30163" cy="15875"/>
            </a:xfrm>
            <a:custGeom>
              <a:avLst/>
              <a:gdLst>
                <a:gd name="T0" fmla="*/ 0 w 9"/>
                <a:gd name="T1" fmla="*/ 4 h 5"/>
                <a:gd name="T2" fmla="*/ 8 w 9"/>
                <a:gd name="T3" fmla="*/ 0 h 5"/>
                <a:gd name="T4" fmla="*/ 0 w 9"/>
                <a:gd name="T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5">
                  <a:moveTo>
                    <a:pt x="0" y="4"/>
                  </a:moveTo>
                  <a:cubicBezTo>
                    <a:pt x="2" y="5"/>
                    <a:pt x="9" y="4"/>
                    <a:pt x="8" y="0"/>
                  </a:cubicBezTo>
                  <a:cubicBezTo>
                    <a:pt x="6" y="2"/>
                    <a:pt x="0" y="0"/>
                    <a:pt x="0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89" name="任意多边形: 形状 588">
              <a:extLst>
                <a:ext uri="{FF2B5EF4-FFF2-40B4-BE49-F238E27FC236}">
                  <a16:creationId xmlns:a16="http://schemas.microsoft.com/office/drawing/2014/main" id="{FFF8F47C-CD9E-43FD-AA7E-E660978AB75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25288" y="-4611671"/>
              <a:ext cx="30163" cy="31750"/>
            </a:xfrm>
            <a:custGeom>
              <a:avLst/>
              <a:gdLst>
                <a:gd name="T0" fmla="*/ 3 w 9"/>
                <a:gd name="T1" fmla="*/ 10 h 10"/>
                <a:gd name="T2" fmla="*/ 9 w 9"/>
                <a:gd name="T3" fmla="*/ 0 h 10"/>
                <a:gd name="T4" fmla="*/ 3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3" y="10"/>
                  </a:moveTo>
                  <a:cubicBezTo>
                    <a:pt x="6" y="7"/>
                    <a:pt x="7" y="3"/>
                    <a:pt x="9" y="0"/>
                  </a:cubicBezTo>
                  <a:cubicBezTo>
                    <a:pt x="5" y="1"/>
                    <a:pt x="0" y="4"/>
                    <a:pt x="3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0" name="任意多边形: 形状 589">
              <a:extLst>
                <a:ext uri="{FF2B5EF4-FFF2-40B4-BE49-F238E27FC236}">
                  <a16:creationId xmlns:a16="http://schemas.microsoft.com/office/drawing/2014/main" id="{55ED33A8-EBA9-4B35-A75F-B2EBDA34D1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88738" y="-5099035"/>
              <a:ext cx="30163" cy="25400"/>
            </a:xfrm>
            <a:custGeom>
              <a:avLst/>
              <a:gdLst>
                <a:gd name="T0" fmla="*/ 9 w 9"/>
                <a:gd name="T1" fmla="*/ 4 h 8"/>
                <a:gd name="T2" fmla="*/ 7 w 9"/>
                <a:gd name="T3" fmla="*/ 0 h 8"/>
                <a:gd name="T4" fmla="*/ 3 w 9"/>
                <a:gd name="T5" fmla="*/ 6 h 8"/>
                <a:gd name="T6" fmla="*/ 9 w 9"/>
                <a:gd name="T7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8">
                  <a:moveTo>
                    <a:pt x="9" y="4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5" y="2"/>
                    <a:pt x="0" y="3"/>
                    <a:pt x="3" y="6"/>
                  </a:cubicBezTo>
                  <a:cubicBezTo>
                    <a:pt x="4" y="8"/>
                    <a:pt x="7" y="4"/>
                    <a:pt x="9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1" name="任意多边形: 形状 590">
              <a:extLst>
                <a:ext uri="{FF2B5EF4-FFF2-40B4-BE49-F238E27FC236}">
                  <a16:creationId xmlns:a16="http://schemas.microsoft.com/office/drawing/2014/main" id="{0D240C74-2E90-4288-B075-158427C52F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445875" y="-5119672"/>
              <a:ext cx="30163" cy="30163"/>
            </a:xfrm>
            <a:custGeom>
              <a:avLst/>
              <a:gdLst>
                <a:gd name="T0" fmla="*/ 6 w 9"/>
                <a:gd name="T1" fmla="*/ 9 h 9"/>
                <a:gd name="T2" fmla="*/ 8 w 9"/>
                <a:gd name="T3" fmla="*/ 1 h 9"/>
                <a:gd name="T4" fmla="*/ 0 w 9"/>
                <a:gd name="T5" fmla="*/ 3 h 9"/>
                <a:gd name="T6" fmla="*/ 6 w 9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9">
                  <a:moveTo>
                    <a:pt x="6" y="9"/>
                  </a:moveTo>
                  <a:cubicBezTo>
                    <a:pt x="8" y="7"/>
                    <a:pt x="9" y="4"/>
                    <a:pt x="8" y="1"/>
                  </a:cubicBezTo>
                  <a:cubicBezTo>
                    <a:pt x="5" y="5"/>
                    <a:pt x="3" y="0"/>
                    <a:pt x="0" y="3"/>
                  </a:cubicBezTo>
                  <a:cubicBezTo>
                    <a:pt x="0" y="7"/>
                    <a:pt x="4" y="5"/>
                    <a:pt x="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2" name="任意多边形: 形状 591">
              <a:extLst>
                <a:ext uri="{FF2B5EF4-FFF2-40B4-BE49-F238E27FC236}">
                  <a16:creationId xmlns:a16="http://schemas.microsoft.com/office/drawing/2014/main" id="{82FCBDEA-31D8-4A5C-909F-74774469CE4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25150" y="-6081700"/>
              <a:ext cx="38100" cy="33338"/>
            </a:xfrm>
            <a:custGeom>
              <a:avLst/>
              <a:gdLst>
                <a:gd name="T0" fmla="*/ 4 w 12"/>
                <a:gd name="T1" fmla="*/ 8 h 10"/>
                <a:gd name="T2" fmla="*/ 1 w 12"/>
                <a:gd name="T3" fmla="*/ 10 h 10"/>
                <a:gd name="T4" fmla="*/ 12 w 12"/>
                <a:gd name="T5" fmla="*/ 3 h 10"/>
                <a:gd name="T6" fmla="*/ 5 w 12"/>
                <a:gd name="T7" fmla="*/ 2 h 10"/>
                <a:gd name="T8" fmla="*/ 4 w 12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10">
                  <a:moveTo>
                    <a:pt x="4" y="8"/>
                  </a:moveTo>
                  <a:cubicBezTo>
                    <a:pt x="3" y="7"/>
                    <a:pt x="0" y="8"/>
                    <a:pt x="1" y="10"/>
                  </a:cubicBezTo>
                  <a:cubicBezTo>
                    <a:pt x="8" y="10"/>
                    <a:pt x="7" y="7"/>
                    <a:pt x="12" y="3"/>
                  </a:cubicBezTo>
                  <a:cubicBezTo>
                    <a:pt x="10" y="1"/>
                    <a:pt x="8" y="0"/>
                    <a:pt x="5" y="2"/>
                  </a:cubicBezTo>
                  <a:cubicBezTo>
                    <a:pt x="7" y="4"/>
                    <a:pt x="5" y="6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3" name="任意多边形: 形状 592">
              <a:extLst>
                <a:ext uri="{FF2B5EF4-FFF2-40B4-BE49-F238E27FC236}">
                  <a16:creationId xmlns:a16="http://schemas.microsoft.com/office/drawing/2014/main" id="{7DCB2EB2-803D-4668-9997-1732F25188B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8950" y="-6103925"/>
              <a:ext cx="95250" cy="52388"/>
            </a:xfrm>
            <a:custGeom>
              <a:avLst/>
              <a:gdLst>
                <a:gd name="T0" fmla="*/ 29 w 29"/>
                <a:gd name="T1" fmla="*/ 6 h 16"/>
                <a:gd name="T2" fmla="*/ 0 w 29"/>
                <a:gd name="T3" fmla="*/ 11 h 16"/>
                <a:gd name="T4" fmla="*/ 29 w 29"/>
                <a:gd name="T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9" h="16">
                  <a:moveTo>
                    <a:pt x="29" y="6"/>
                  </a:moveTo>
                  <a:cubicBezTo>
                    <a:pt x="22" y="0"/>
                    <a:pt x="6" y="10"/>
                    <a:pt x="0" y="11"/>
                  </a:cubicBezTo>
                  <a:cubicBezTo>
                    <a:pt x="10" y="16"/>
                    <a:pt x="19" y="5"/>
                    <a:pt x="2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4" name="任意多边形: 形状 593">
              <a:extLst>
                <a:ext uri="{FF2B5EF4-FFF2-40B4-BE49-F238E27FC236}">
                  <a16:creationId xmlns:a16="http://schemas.microsoft.com/office/drawing/2014/main" id="{E779E501-9D84-4D02-BB32-C4C550A52FA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34775" y="-4737084"/>
              <a:ext cx="30163" cy="19050"/>
            </a:xfrm>
            <a:custGeom>
              <a:avLst/>
              <a:gdLst>
                <a:gd name="T0" fmla="*/ 9 w 9"/>
                <a:gd name="T1" fmla="*/ 0 h 6"/>
                <a:gd name="T2" fmla="*/ 0 w 9"/>
                <a:gd name="T3" fmla="*/ 2 h 6"/>
                <a:gd name="T4" fmla="*/ 9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9" y="0"/>
                  </a:moveTo>
                  <a:cubicBezTo>
                    <a:pt x="6" y="1"/>
                    <a:pt x="3" y="0"/>
                    <a:pt x="0" y="2"/>
                  </a:cubicBezTo>
                  <a:cubicBezTo>
                    <a:pt x="3" y="6"/>
                    <a:pt x="7" y="2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5" name="任意多边形: 形状 594">
              <a:extLst>
                <a:ext uri="{FF2B5EF4-FFF2-40B4-BE49-F238E27FC236}">
                  <a16:creationId xmlns:a16="http://schemas.microsoft.com/office/drawing/2014/main" id="{E9D373B1-92F5-4D08-B7E8-0B306D53F8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298238" y="-4846621"/>
              <a:ext cx="119063" cy="46038"/>
            </a:xfrm>
            <a:custGeom>
              <a:avLst/>
              <a:gdLst>
                <a:gd name="T0" fmla="*/ 36 w 36"/>
                <a:gd name="T1" fmla="*/ 0 h 14"/>
                <a:gd name="T2" fmla="*/ 0 w 36"/>
                <a:gd name="T3" fmla="*/ 7 h 14"/>
                <a:gd name="T4" fmla="*/ 36 w 36"/>
                <a:gd name="T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6" h="14">
                  <a:moveTo>
                    <a:pt x="36" y="0"/>
                  </a:moveTo>
                  <a:cubicBezTo>
                    <a:pt x="24" y="8"/>
                    <a:pt x="9" y="4"/>
                    <a:pt x="0" y="7"/>
                  </a:cubicBezTo>
                  <a:cubicBezTo>
                    <a:pt x="11" y="14"/>
                    <a:pt x="31" y="11"/>
                    <a:pt x="3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6" name="任意多边形: 形状 595">
              <a:extLst>
                <a:ext uri="{FF2B5EF4-FFF2-40B4-BE49-F238E27FC236}">
                  <a16:creationId xmlns:a16="http://schemas.microsoft.com/office/drawing/2014/main" id="{AC9E5BFF-9FFE-4631-A0DF-EDA335392B5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149013" y="-4905359"/>
              <a:ext cx="57150" cy="46038"/>
            </a:xfrm>
            <a:custGeom>
              <a:avLst/>
              <a:gdLst>
                <a:gd name="T0" fmla="*/ 1 w 17"/>
                <a:gd name="T1" fmla="*/ 2 h 14"/>
                <a:gd name="T2" fmla="*/ 3 w 17"/>
                <a:gd name="T3" fmla="*/ 9 h 14"/>
                <a:gd name="T4" fmla="*/ 13 w 17"/>
                <a:gd name="T5" fmla="*/ 9 h 14"/>
                <a:gd name="T6" fmla="*/ 7 w 17"/>
                <a:gd name="T7" fmla="*/ 8 h 14"/>
                <a:gd name="T8" fmla="*/ 15 w 17"/>
                <a:gd name="T9" fmla="*/ 2 h 14"/>
                <a:gd name="T10" fmla="*/ 1 w 17"/>
                <a:gd name="T11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4">
                  <a:moveTo>
                    <a:pt x="1" y="2"/>
                  </a:moveTo>
                  <a:cubicBezTo>
                    <a:pt x="4" y="5"/>
                    <a:pt x="0" y="6"/>
                    <a:pt x="3" y="9"/>
                  </a:cubicBezTo>
                  <a:cubicBezTo>
                    <a:pt x="5" y="10"/>
                    <a:pt x="12" y="14"/>
                    <a:pt x="13" y="9"/>
                  </a:cubicBezTo>
                  <a:cubicBezTo>
                    <a:pt x="11" y="11"/>
                    <a:pt x="9" y="10"/>
                    <a:pt x="7" y="8"/>
                  </a:cubicBezTo>
                  <a:cubicBezTo>
                    <a:pt x="10" y="4"/>
                    <a:pt x="17" y="7"/>
                    <a:pt x="15" y="2"/>
                  </a:cubicBezTo>
                  <a:cubicBezTo>
                    <a:pt x="10" y="2"/>
                    <a:pt x="6" y="0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7" name="任意多边形: 形状 596">
              <a:extLst>
                <a:ext uri="{FF2B5EF4-FFF2-40B4-BE49-F238E27FC236}">
                  <a16:creationId xmlns:a16="http://schemas.microsoft.com/office/drawing/2014/main" id="{48DFAF3D-9E2A-48C5-BF48-BCDDFFEEAC3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23538" y="-5619736"/>
              <a:ext cx="58738" cy="25400"/>
            </a:xfrm>
            <a:custGeom>
              <a:avLst/>
              <a:gdLst>
                <a:gd name="T0" fmla="*/ 18 w 18"/>
                <a:gd name="T1" fmla="*/ 0 h 8"/>
                <a:gd name="T2" fmla="*/ 0 w 18"/>
                <a:gd name="T3" fmla="*/ 8 h 8"/>
                <a:gd name="T4" fmla="*/ 18 w 18"/>
                <a:gd name="T5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8">
                  <a:moveTo>
                    <a:pt x="18" y="0"/>
                  </a:moveTo>
                  <a:cubicBezTo>
                    <a:pt x="12" y="5"/>
                    <a:pt x="3" y="2"/>
                    <a:pt x="0" y="8"/>
                  </a:cubicBezTo>
                  <a:cubicBezTo>
                    <a:pt x="6" y="6"/>
                    <a:pt x="15" y="7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8" name="任意多边形: 形状 597">
              <a:extLst>
                <a:ext uri="{FF2B5EF4-FFF2-40B4-BE49-F238E27FC236}">
                  <a16:creationId xmlns:a16="http://schemas.microsoft.com/office/drawing/2014/main" id="{3D7DF16E-CDB8-4F5B-8A2D-97787883C54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137775" y="-5238735"/>
              <a:ext cx="33338" cy="23813"/>
            </a:xfrm>
            <a:custGeom>
              <a:avLst/>
              <a:gdLst>
                <a:gd name="T0" fmla="*/ 0 w 10"/>
                <a:gd name="T1" fmla="*/ 2 h 7"/>
                <a:gd name="T2" fmla="*/ 10 w 10"/>
                <a:gd name="T3" fmla="*/ 6 h 7"/>
                <a:gd name="T4" fmla="*/ 9 w 10"/>
                <a:gd name="T5" fmla="*/ 1 h 7"/>
                <a:gd name="T6" fmla="*/ 0 w 10"/>
                <a:gd name="T7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7">
                  <a:moveTo>
                    <a:pt x="0" y="2"/>
                  </a:moveTo>
                  <a:cubicBezTo>
                    <a:pt x="1" y="7"/>
                    <a:pt x="6" y="6"/>
                    <a:pt x="10" y="6"/>
                  </a:cubicBezTo>
                  <a:cubicBezTo>
                    <a:pt x="9" y="4"/>
                    <a:pt x="10" y="3"/>
                    <a:pt x="9" y="1"/>
                  </a:cubicBezTo>
                  <a:cubicBezTo>
                    <a:pt x="6" y="1"/>
                    <a:pt x="3" y="0"/>
                    <a:pt x="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599" name="任意多边形: 形状 598">
              <a:extLst>
                <a:ext uri="{FF2B5EF4-FFF2-40B4-BE49-F238E27FC236}">
                  <a16:creationId xmlns:a16="http://schemas.microsoft.com/office/drawing/2014/main" id="{1652E69B-D0B4-4380-8C3A-A116053594D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435764" y="-8894757"/>
              <a:ext cx="55563" cy="33338"/>
            </a:xfrm>
            <a:custGeom>
              <a:avLst/>
              <a:gdLst>
                <a:gd name="T0" fmla="*/ 13 w 17"/>
                <a:gd name="T1" fmla="*/ 2 h 10"/>
                <a:gd name="T2" fmla="*/ 8 w 17"/>
                <a:gd name="T3" fmla="*/ 5 h 10"/>
                <a:gd name="T4" fmla="*/ 6 w 17"/>
                <a:gd name="T5" fmla="*/ 0 h 10"/>
                <a:gd name="T6" fmla="*/ 14 w 17"/>
                <a:gd name="T7" fmla="*/ 10 h 10"/>
                <a:gd name="T8" fmla="*/ 16 w 17"/>
                <a:gd name="T9" fmla="*/ 5 h 10"/>
                <a:gd name="T10" fmla="*/ 13 w 17"/>
                <a:gd name="T11" fmla="*/ 2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0">
                  <a:moveTo>
                    <a:pt x="13" y="2"/>
                  </a:moveTo>
                  <a:cubicBezTo>
                    <a:pt x="8" y="5"/>
                    <a:pt x="8" y="5"/>
                    <a:pt x="8" y="5"/>
                  </a:cubicBezTo>
                  <a:cubicBezTo>
                    <a:pt x="6" y="3"/>
                    <a:pt x="6" y="2"/>
                    <a:pt x="6" y="0"/>
                  </a:cubicBezTo>
                  <a:cubicBezTo>
                    <a:pt x="0" y="6"/>
                    <a:pt x="12" y="5"/>
                    <a:pt x="14" y="10"/>
                  </a:cubicBezTo>
                  <a:cubicBezTo>
                    <a:pt x="17" y="9"/>
                    <a:pt x="15" y="7"/>
                    <a:pt x="16" y="5"/>
                  </a:cubicBezTo>
                  <a:cubicBezTo>
                    <a:pt x="15" y="5"/>
                    <a:pt x="14" y="4"/>
                    <a:pt x="13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0" name="任意多边形: 形状 599">
              <a:extLst>
                <a:ext uri="{FF2B5EF4-FFF2-40B4-BE49-F238E27FC236}">
                  <a16:creationId xmlns:a16="http://schemas.microsoft.com/office/drawing/2014/main" id="{1B65C4C4-9AB5-4355-98EE-64882677BE6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40427" y="-8864595"/>
              <a:ext cx="58738" cy="31750"/>
            </a:xfrm>
            <a:custGeom>
              <a:avLst/>
              <a:gdLst>
                <a:gd name="T0" fmla="*/ 18 w 18"/>
                <a:gd name="T1" fmla="*/ 0 h 10"/>
                <a:gd name="T2" fmla="*/ 0 w 18"/>
                <a:gd name="T3" fmla="*/ 7 h 10"/>
                <a:gd name="T4" fmla="*/ 18 w 18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0">
                  <a:moveTo>
                    <a:pt x="18" y="0"/>
                  </a:moveTo>
                  <a:cubicBezTo>
                    <a:pt x="11" y="3"/>
                    <a:pt x="4" y="6"/>
                    <a:pt x="0" y="7"/>
                  </a:cubicBezTo>
                  <a:cubicBezTo>
                    <a:pt x="5" y="10"/>
                    <a:pt x="15" y="6"/>
                    <a:pt x="1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1" name="任意多边形: 形状 600">
              <a:extLst>
                <a:ext uri="{FF2B5EF4-FFF2-40B4-BE49-F238E27FC236}">
                  <a16:creationId xmlns:a16="http://schemas.microsoft.com/office/drawing/2014/main" id="{6DAE1765-E7A5-455C-8D61-46F7A16F6D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548352" y="-8707432"/>
              <a:ext cx="65088" cy="46038"/>
            </a:xfrm>
            <a:custGeom>
              <a:avLst/>
              <a:gdLst>
                <a:gd name="T0" fmla="*/ 13 w 20"/>
                <a:gd name="T1" fmla="*/ 0 h 14"/>
                <a:gd name="T2" fmla="*/ 6 w 20"/>
                <a:gd name="T3" fmla="*/ 1 h 14"/>
                <a:gd name="T4" fmla="*/ 5 w 20"/>
                <a:gd name="T5" fmla="*/ 6 h 14"/>
                <a:gd name="T6" fmla="*/ 10 w 20"/>
                <a:gd name="T7" fmla="*/ 4 h 14"/>
                <a:gd name="T8" fmla="*/ 14 w 20"/>
                <a:gd name="T9" fmla="*/ 14 h 14"/>
                <a:gd name="T10" fmla="*/ 20 w 20"/>
                <a:gd name="T11" fmla="*/ 5 h 14"/>
                <a:gd name="T12" fmla="*/ 13 w 20"/>
                <a:gd name="T1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4">
                  <a:moveTo>
                    <a:pt x="13" y="0"/>
                  </a:moveTo>
                  <a:cubicBezTo>
                    <a:pt x="10" y="2"/>
                    <a:pt x="8" y="0"/>
                    <a:pt x="6" y="1"/>
                  </a:cubicBezTo>
                  <a:cubicBezTo>
                    <a:pt x="8" y="3"/>
                    <a:pt x="0" y="6"/>
                    <a:pt x="5" y="6"/>
                  </a:cubicBezTo>
                  <a:cubicBezTo>
                    <a:pt x="7" y="4"/>
                    <a:pt x="7" y="1"/>
                    <a:pt x="10" y="4"/>
                  </a:cubicBezTo>
                  <a:cubicBezTo>
                    <a:pt x="5" y="7"/>
                    <a:pt x="12" y="9"/>
                    <a:pt x="14" y="14"/>
                  </a:cubicBezTo>
                  <a:cubicBezTo>
                    <a:pt x="15" y="11"/>
                    <a:pt x="18" y="8"/>
                    <a:pt x="20" y="5"/>
                  </a:cubicBezTo>
                  <a:cubicBezTo>
                    <a:pt x="16" y="8"/>
                    <a:pt x="14" y="3"/>
                    <a:pt x="1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2" name="任意多边形: 形状 601">
              <a:extLst>
                <a:ext uri="{FF2B5EF4-FFF2-40B4-BE49-F238E27FC236}">
                  <a16:creationId xmlns:a16="http://schemas.microsoft.com/office/drawing/2014/main" id="{910F5D2B-18B0-45FD-B4FB-DAA050DD36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281652" y="-8769344"/>
              <a:ext cx="36513" cy="42863"/>
            </a:xfrm>
            <a:custGeom>
              <a:avLst/>
              <a:gdLst>
                <a:gd name="T0" fmla="*/ 0 w 11"/>
                <a:gd name="T1" fmla="*/ 8 h 13"/>
                <a:gd name="T2" fmla="*/ 6 w 11"/>
                <a:gd name="T3" fmla="*/ 0 h 13"/>
                <a:gd name="T4" fmla="*/ 0 w 11"/>
                <a:gd name="T5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13">
                  <a:moveTo>
                    <a:pt x="0" y="8"/>
                  </a:moveTo>
                  <a:cubicBezTo>
                    <a:pt x="3" y="13"/>
                    <a:pt x="11" y="6"/>
                    <a:pt x="6" y="0"/>
                  </a:cubicBezTo>
                  <a:cubicBezTo>
                    <a:pt x="3" y="5"/>
                    <a:pt x="9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3" name="任意多边形: 形状 602">
              <a:extLst>
                <a:ext uri="{FF2B5EF4-FFF2-40B4-BE49-F238E27FC236}">
                  <a16:creationId xmlns:a16="http://schemas.microsoft.com/office/drawing/2014/main" id="{EA585BEF-2D17-495F-998E-C46F5953057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34039" y="-8624882"/>
              <a:ext cx="33338" cy="20638"/>
            </a:xfrm>
            <a:custGeom>
              <a:avLst/>
              <a:gdLst>
                <a:gd name="T0" fmla="*/ 9 w 10"/>
                <a:gd name="T1" fmla="*/ 1 h 6"/>
                <a:gd name="T2" fmla="*/ 2 w 10"/>
                <a:gd name="T3" fmla="*/ 6 h 6"/>
                <a:gd name="T4" fmla="*/ 9 w 10"/>
                <a:gd name="T5" fmla="*/ 5 h 6"/>
                <a:gd name="T6" fmla="*/ 9 w 10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9" y="1"/>
                  </a:moveTo>
                  <a:cubicBezTo>
                    <a:pt x="7" y="0"/>
                    <a:pt x="0" y="3"/>
                    <a:pt x="2" y="6"/>
                  </a:cubicBezTo>
                  <a:cubicBezTo>
                    <a:pt x="5" y="2"/>
                    <a:pt x="7" y="3"/>
                    <a:pt x="9" y="5"/>
                  </a:cubicBezTo>
                  <a:cubicBezTo>
                    <a:pt x="8" y="3"/>
                    <a:pt x="10" y="2"/>
                    <a:pt x="9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4" name="任意多边形: 形状 603">
              <a:extLst>
                <a:ext uri="{FF2B5EF4-FFF2-40B4-BE49-F238E27FC236}">
                  <a16:creationId xmlns:a16="http://schemas.microsoft.com/office/drawing/2014/main" id="{59BC4621-19DD-44CD-BB20-622B8588A0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70214" y="-7056427"/>
              <a:ext cx="71438" cy="30163"/>
            </a:xfrm>
            <a:custGeom>
              <a:avLst/>
              <a:gdLst>
                <a:gd name="T0" fmla="*/ 0 w 22"/>
                <a:gd name="T1" fmla="*/ 9 h 9"/>
                <a:gd name="T2" fmla="*/ 22 w 22"/>
                <a:gd name="T3" fmla="*/ 4 h 9"/>
                <a:gd name="T4" fmla="*/ 21 w 22"/>
                <a:gd name="T5" fmla="*/ 0 h 9"/>
                <a:gd name="T6" fmla="*/ 0 w 22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9">
                  <a:moveTo>
                    <a:pt x="0" y="9"/>
                  </a:moveTo>
                  <a:cubicBezTo>
                    <a:pt x="8" y="5"/>
                    <a:pt x="15" y="6"/>
                    <a:pt x="22" y="4"/>
                  </a:cubicBezTo>
                  <a:cubicBezTo>
                    <a:pt x="20" y="2"/>
                    <a:pt x="21" y="1"/>
                    <a:pt x="21" y="0"/>
                  </a:cubicBezTo>
                  <a:cubicBezTo>
                    <a:pt x="15" y="1"/>
                    <a:pt x="4" y="0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5" name="任意多边形: 形状 604">
              <a:extLst>
                <a:ext uri="{FF2B5EF4-FFF2-40B4-BE49-F238E27FC236}">
                  <a16:creationId xmlns:a16="http://schemas.microsoft.com/office/drawing/2014/main" id="{49E95726-2FEA-4F3E-BC0E-FE8D5C67E83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14276" y="-695800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6" name="任意多边形: 形状 605">
              <a:extLst>
                <a:ext uri="{FF2B5EF4-FFF2-40B4-BE49-F238E27FC236}">
                  <a16:creationId xmlns:a16="http://schemas.microsoft.com/office/drawing/2014/main" id="{EB6D22F4-E08E-42EF-9D93-542CA1B881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27426" y="-6183300"/>
              <a:ext cx="3175" cy="6350"/>
            </a:xfrm>
            <a:custGeom>
              <a:avLst/>
              <a:gdLst>
                <a:gd name="T0" fmla="*/ 1 w 1"/>
                <a:gd name="T1" fmla="*/ 2 h 2"/>
                <a:gd name="T2" fmla="*/ 0 w 1"/>
                <a:gd name="T3" fmla="*/ 0 h 2"/>
                <a:gd name="T4" fmla="*/ 1 w 1"/>
                <a:gd name="T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cubicBezTo>
                    <a:pt x="1" y="1"/>
                    <a:pt x="0" y="0"/>
                    <a:pt x="0" y="0"/>
                  </a:cubicBezTo>
                  <a:cubicBezTo>
                    <a:pt x="0" y="1"/>
                    <a:pt x="1" y="2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7" name="任意多边形: 形状 606">
              <a:extLst>
                <a:ext uri="{FF2B5EF4-FFF2-40B4-BE49-F238E27FC236}">
                  <a16:creationId xmlns:a16="http://schemas.microsoft.com/office/drawing/2014/main" id="{33398E88-EE70-48E5-8EE7-637B9DCC4F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858626" y="-6651614"/>
              <a:ext cx="3175" cy="0"/>
            </a:xfrm>
            <a:custGeom>
              <a:avLst/>
              <a:gdLst>
                <a:gd name="T0" fmla="*/ 0 w 1"/>
                <a:gd name="T1" fmla="*/ 1 w 1"/>
                <a:gd name="T2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cubicBezTo>
                    <a:pt x="0" y="0"/>
                    <a:pt x="1" y="0"/>
                    <a:pt x="1" y="0"/>
                  </a:cubicBezTo>
                  <a:cubicBezTo>
                    <a:pt x="1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8" name="任意多边形: 形状 607">
              <a:extLst>
                <a:ext uri="{FF2B5EF4-FFF2-40B4-BE49-F238E27FC236}">
                  <a16:creationId xmlns:a16="http://schemas.microsoft.com/office/drawing/2014/main" id="{0AB5BEF5-6578-4C94-8163-09232CCC6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560301" y="-486567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09" name="任意多边形: 形状 608">
              <a:extLst>
                <a:ext uri="{FF2B5EF4-FFF2-40B4-BE49-F238E27FC236}">
                  <a16:creationId xmlns:a16="http://schemas.microsoft.com/office/drawing/2014/main" id="{FD2DC548-A396-4E0E-B4AE-8C7251D58C2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41651" y="-7043727"/>
              <a:ext cx="0" cy="3175"/>
            </a:xfrm>
            <a:custGeom>
              <a:avLst/>
              <a:gdLst>
                <a:gd name="T0" fmla="*/ 1 h 1"/>
                <a:gd name="T1" fmla="*/ 0 h 1"/>
                <a:gd name="T2" fmla="*/ 0 h 1"/>
                <a:gd name="T3" fmla="*/ 1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1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0" name="任意多边形: 形状 609">
              <a:extLst>
                <a:ext uri="{FF2B5EF4-FFF2-40B4-BE49-F238E27FC236}">
                  <a16:creationId xmlns:a16="http://schemas.microsoft.com/office/drawing/2014/main" id="{91BE2DAA-EB21-4847-9F08-1E8162193DB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7351" y="-7013565"/>
              <a:ext cx="0" cy="3175"/>
            </a:xfrm>
            <a:custGeom>
              <a:avLst/>
              <a:gdLst>
                <a:gd name="T0" fmla="*/ 0 h 1"/>
                <a:gd name="T1" fmla="*/ 1 h 1"/>
                <a:gd name="T2" fmla="*/ 0 h 1"/>
                <a:gd name="T3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1" name="任意多边形: 形状 610">
              <a:extLst>
                <a:ext uri="{FF2B5EF4-FFF2-40B4-BE49-F238E27FC236}">
                  <a16:creationId xmlns:a16="http://schemas.microsoft.com/office/drawing/2014/main" id="{F2CDB13E-F909-4AA6-8853-9CC1BE8880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526713" y="-9383449"/>
              <a:ext cx="7332664" cy="5416565"/>
            </a:xfrm>
            <a:custGeom>
              <a:avLst/>
              <a:gdLst>
                <a:gd name="T0" fmla="*/ 1620 w 2224"/>
                <a:gd name="T1" fmla="*/ 761 h 1644"/>
                <a:gd name="T2" fmla="*/ 1787 w 2224"/>
                <a:gd name="T3" fmla="*/ 628 h 1644"/>
                <a:gd name="T4" fmla="*/ 2209 w 2224"/>
                <a:gd name="T5" fmla="*/ 305 h 1644"/>
                <a:gd name="T6" fmla="*/ 1742 w 2224"/>
                <a:gd name="T7" fmla="*/ 423 h 1644"/>
                <a:gd name="T8" fmla="*/ 1632 w 2224"/>
                <a:gd name="T9" fmla="*/ 371 h 1644"/>
                <a:gd name="T10" fmla="*/ 1453 w 2224"/>
                <a:gd name="T11" fmla="*/ 209 h 1644"/>
                <a:gd name="T12" fmla="*/ 1350 w 2224"/>
                <a:gd name="T13" fmla="*/ 195 h 1644"/>
                <a:gd name="T14" fmla="*/ 1247 w 2224"/>
                <a:gd name="T15" fmla="*/ 87 h 1644"/>
                <a:gd name="T16" fmla="*/ 1145 w 2224"/>
                <a:gd name="T17" fmla="*/ 55 h 1644"/>
                <a:gd name="T18" fmla="*/ 968 w 2224"/>
                <a:gd name="T19" fmla="*/ 105 h 1644"/>
                <a:gd name="T20" fmla="*/ 730 w 2224"/>
                <a:gd name="T21" fmla="*/ 259 h 1644"/>
                <a:gd name="T22" fmla="*/ 553 w 2224"/>
                <a:gd name="T23" fmla="*/ 439 h 1644"/>
                <a:gd name="T24" fmla="*/ 421 w 2224"/>
                <a:gd name="T25" fmla="*/ 566 h 1644"/>
                <a:gd name="T26" fmla="*/ 459 w 2224"/>
                <a:gd name="T27" fmla="*/ 615 h 1644"/>
                <a:gd name="T28" fmla="*/ 514 w 2224"/>
                <a:gd name="T29" fmla="*/ 601 h 1644"/>
                <a:gd name="T30" fmla="*/ 476 w 2224"/>
                <a:gd name="T31" fmla="*/ 647 h 1644"/>
                <a:gd name="T32" fmla="*/ 552 w 2224"/>
                <a:gd name="T33" fmla="*/ 643 h 1644"/>
                <a:gd name="T34" fmla="*/ 479 w 2224"/>
                <a:gd name="T35" fmla="*/ 723 h 1644"/>
                <a:gd name="T36" fmla="*/ 586 w 2224"/>
                <a:gd name="T37" fmla="*/ 696 h 1644"/>
                <a:gd name="T38" fmla="*/ 678 w 2224"/>
                <a:gd name="T39" fmla="*/ 656 h 1644"/>
                <a:gd name="T40" fmla="*/ 702 w 2224"/>
                <a:gd name="T41" fmla="*/ 680 h 1644"/>
                <a:gd name="T42" fmla="*/ 679 w 2224"/>
                <a:gd name="T43" fmla="*/ 678 h 1644"/>
                <a:gd name="T44" fmla="*/ 580 w 2224"/>
                <a:gd name="T45" fmla="*/ 747 h 1644"/>
                <a:gd name="T46" fmla="*/ 412 w 2224"/>
                <a:gd name="T47" fmla="*/ 829 h 1644"/>
                <a:gd name="T48" fmla="*/ 265 w 2224"/>
                <a:gd name="T49" fmla="*/ 961 h 1644"/>
                <a:gd name="T50" fmla="*/ 309 w 2224"/>
                <a:gd name="T51" fmla="*/ 1186 h 1644"/>
                <a:gd name="T52" fmla="*/ 153 w 2224"/>
                <a:gd name="T53" fmla="*/ 1340 h 1644"/>
                <a:gd name="T54" fmla="*/ 301 w 2224"/>
                <a:gd name="T55" fmla="*/ 1405 h 1644"/>
                <a:gd name="T56" fmla="*/ 615 w 2224"/>
                <a:gd name="T57" fmla="*/ 1372 h 1644"/>
                <a:gd name="T58" fmla="*/ 603 w 2224"/>
                <a:gd name="T59" fmla="*/ 1407 h 1644"/>
                <a:gd name="T60" fmla="*/ 652 w 2224"/>
                <a:gd name="T61" fmla="*/ 1455 h 1644"/>
                <a:gd name="T62" fmla="*/ 690 w 2224"/>
                <a:gd name="T63" fmla="*/ 1499 h 1644"/>
                <a:gd name="T64" fmla="*/ 1266 w 2224"/>
                <a:gd name="T65" fmla="*/ 1386 h 1644"/>
                <a:gd name="T66" fmla="*/ 1516 w 2224"/>
                <a:gd name="T67" fmla="*/ 1165 h 1644"/>
                <a:gd name="T68" fmla="*/ 1611 w 2224"/>
                <a:gd name="T69" fmla="*/ 1077 h 1644"/>
                <a:gd name="T70" fmla="*/ 1886 w 2224"/>
                <a:gd name="T71" fmla="*/ 933 h 1644"/>
                <a:gd name="T72" fmla="*/ 1544 w 2224"/>
                <a:gd name="T73" fmla="*/ 1056 h 1644"/>
                <a:gd name="T74" fmla="*/ 1783 w 2224"/>
                <a:gd name="T75" fmla="*/ 900 h 1644"/>
                <a:gd name="T76" fmla="*/ 2202 w 2224"/>
                <a:gd name="T77" fmla="*/ 273 h 1644"/>
                <a:gd name="T78" fmla="*/ 451 w 2224"/>
                <a:gd name="T79" fmla="*/ 560 h 1644"/>
                <a:gd name="T80" fmla="*/ 482 w 2224"/>
                <a:gd name="T81" fmla="*/ 711 h 1644"/>
                <a:gd name="T82" fmla="*/ 574 w 2224"/>
                <a:gd name="T83" fmla="*/ 673 h 1644"/>
                <a:gd name="T84" fmla="*/ 559 w 2224"/>
                <a:gd name="T85" fmla="*/ 664 h 1644"/>
                <a:gd name="T86" fmla="*/ 615 w 2224"/>
                <a:gd name="T87" fmla="*/ 628 h 1644"/>
                <a:gd name="T88" fmla="*/ 739 w 2224"/>
                <a:gd name="T89" fmla="*/ 671 h 1644"/>
                <a:gd name="T90" fmla="*/ 368 w 2224"/>
                <a:gd name="T91" fmla="*/ 868 h 1644"/>
                <a:gd name="T92" fmla="*/ 498 w 2224"/>
                <a:gd name="T93" fmla="*/ 805 h 1644"/>
                <a:gd name="T94" fmla="*/ 577 w 2224"/>
                <a:gd name="T95" fmla="*/ 772 h 1644"/>
                <a:gd name="T96" fmla="*/ 747 w 2224"/>
                <a:gd name="T97" fmla="*/ 1443 h 1644"/>
                <a:gd name="T98" fmla="*/ 651 w 2224"/>
                <a:gd name="T99" fmla="*/ 743 h 1644"/>
                <a:gd name="T100" fmla="*/ 766 w 2224"/>
                <a:gd name="T101" fmla="*/ 1269 h 1644"/>
                <a:gd name="T102" fmla="*/ 672 w 2224"/>
                <a:gd name="T103" fmla="*/ 752 h 1644"/>
                <a:gd name="T104" fmla="*/ 784 w 2224"/>
                <a:gd name="T105" fmla="*/ 675 h 1644"/>
                <a:gd name="T106" fmla="*/ 1108 w 2224"/>
                <a:gd name="T107" fmla="*/ 65 h 1644"/>
                <a:gd name="T108" fmla="*/ 1245 w 2224"/>
                <a:gd name="T109" fmla="*/ 105 h 1644"/>
                <a:gd name="T110" fmla="*/ 1291 w 2224"/>
                <a:gd name="T111" fmla="*/ 216 h 1644"/>
                <a:gd name="T112" fmla="*/ 1639 w 2224"/>
                <a:gd name="T113" fmla="*/ 1067 h 1644"/>
                <a:gd name="T114" fmla="*/ 1575 w 2224"/>
                <a:gd name="T115" fmla="*/ 485 h 1644"/>
                <a:gd name="T116" fmla="*/ 1483 w 2224"/>
                <a:gd name="T117" fmla="*/ 373 h 1644"/>
                <a:gd name="T118" fmla="*/ 1377 w 2224"/>
                <a:gd name="T119" fmla="*/ 815 h 1644"/>
                <a:gd name="T120" fmla="*/ 1399 w 2224"/>
                <a:gd name="T121" fmla="*/ 832 h 1644"/>
                <a:gd name="T122" fmla="*/ 1590 w 2224"/>
                <a:gd name="T123" fmla="*/ 718 h 1644"/>
                <a:gd name="T124" fmla="*/ 1506 w 2224"/>
                <a:gd name="T125" fmla="*/ 1055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24" h="1644">
                  <a:moveTo>
                    <a:pt x="2053" y="642"/>
                  </a:moveTo>
                  <a:cubicBezTo>
                    <a:pt x="2054" y="641"/>
                    <a:pt x="2049" y="632"/>
                    <a:pt x="2050" y="636"/>
                  </a:cubicBezTo>
                  <a:cubicBezTo>
                    <a:pt x="2055" y="644"/>
                    <a:pt x="2045" y="640"/>
                    <a:pt x="2045" y="646"/>
                  </a:cubicBezTo>
                  <a:cubicBezTo>
                    <a:pt x="2041" y="647"/>
                    <a:pt x="2039" y="645"/>
                    <a:pt x="2036" y="642"/>
                  </a:cubicBezTo>
                  <a:cubicBezTo>
                    <a:pt x="2037" y="635"/>
                    <a:pt x="2046" y="632"/>
                    <a:pt x="2048" y="626"/>
                  </a:cubicBezTo>
                  <a:cubicBezTo>
                    <a:pt x="2045" y="621"/>
                    <a:pt x="2041" y="621"/>
                    <a:pt x="2038" y="625"/>
                  </a:cubicBezTo>
                  <a:cubicBezTo>
                    <a:pt x="2017" y="624"/>
                    <a:pt x="1995" y="648"/>
                    <a:pt x="1976" y="653"/>
                  </a:cubicBezTo>
                  <a:cubicBezTo>
                    <a:pt x="1974" y="654"/>
                    <a:pt x="1973" y="651"/>
                    <a:pt x="1970" y="653"/>
                  </a:cubicBezTo>
                  <a:cubicBezTo>
                    <a:pt x="1962" y="659"/>
                    <a:pt x="1949" y="673"/>
                    <a:pt x="1936" y="668"/>
                  </a:cubicBezTo>
                  <a:cubicBezTo>
                    <a:pt x="1930" y="673"/>
                    <a:pt x="1924" y="674"/>
                    <a:pt x="1916" y="677"/>
                  </a:cubicBezTo>
                  <a:cubicBezTo>
                    <a:pt x="1918" y="680"/>
                    <a:pt x="1916" y="683"/>
                    <a:pt x="1912" y="684"/>
                  </a:cubicBezTo>
                  <a:cubicBezTo>
                    <a:pt x="1912" y="681"/>
                    <a:pt x="1911" y="682"/>
                    <a:pt x="1909" y="679"/>
                  </a:cubicBezTo>
                  <a:cubicBezTo>
                    <a:pt x="1912" y="677"/>
                    <a:pt x="1915" y="676"/>
                    <a:pt x="1916" y="673"/>
                  </a:cubicBezTo>
                  <a:cubicBezTo>
                    <a:pt x="1914" y="672"/>
                    <a:pt x="1910" y="676"/>
                    <a:pt x="1909" y="671"/>
                  </a:cubicBezTo>
                  <a:cubicBezTo>
                    <a:pt x="1916" y="667"/>
                    <a:pt x="1916" y="661"/>
                    <a:pt x="1922" y="657"/>
                  </a:cubicBezTo>
                  <a:cubicBezTo>
                    <a:pt x="1920" y="658"/>
                    <a:pt x="1919" y="655"/>
                    <a:pt x="1916" y="658"/>
                  </a:cubicBezTo>
                  <a:cubicBezTo>
                    <a:pt x="1914" y="666"/>
                    <a:pt x="1903" y="671"/>
                    <a:pt x="1905" y="681"/>
                  </a:cubicBezTo>
                  <a:cubicBezTo>
                    <a:pt x="1902" y="681"/>
                    <a:pt x="1898" y="677"/>
                    <a:pt x="1899" y="674"/>
                  </a:cubicBezTo>
                  <a:cubicBezTo>
                    <a:pt x="1888" y="672"/>
                    <a:pt x="1878" y="683"/>
                    <a:pt x="1868" y="683"/>
                  </a:cubicBezTo>
                  <a:cubicBezTo>
                    <a:pt x="1866" y="679"/>
                    <a:pt x="1870" y="677"/>
                    <a:pt x="1870" y="673"/>
                  </a:cubicBezTo>
                  <a:cubicBezTo>
                    <a:pt x="1862" y="676"/>
                    <a:pt x="1869" y="670"/>
                    <a:pt x="1868" y="667"/>
                  </a:cubicBezTo>
                  <a:cubicBezTo>
                    <a:pt x="1864" y="674"/>
                    <a:pt x="1854" y="677"/>
                    <a:pt x="1847" y="683"/>
                  </a:cubicBezTo>
                  <a:cubicBezTo>
                    <a:pt x="1786" y="694"/>
                    <a:pt x="1731" y="737"/>
                    <a:pt x="1676" y="753"/>
                  </a:cubicBezTo>
                  <a:cubicBezTo>
                    <a:pt x="1662" y="763"/>
                    <a:pt x="1646" y="770"/>
                    <a:pt x="1637" y="776"/>
                  </a:cubicBezTo>
                  <a:cubicBezTo>
                    <a:pt x="1636" y="778"/>
                    <a:pt x="1634" y="780"/>
                    <a:pt x="1633" y="782"/>
                  </a:cubicBezTo>
                  <a:cubicBezTo>
                    <a:pt x="1633" y="782"/>
                    <a:pt x="1633" y="781"/>
                    <a:pt x="1632" y="780"/>
                  </a:cubicBezTo>
                  <a:cubicBezTo>
                    <a:pt x="1633" y="780"/>
                    <a:pt x="1634" y="779"/>
                    <a:pt x="1634" y="779"/>
                  </a:cubicBezTo>
                  <a:cubicBezTo>
                    <a:pt x="1633" y="779"/>
                    <a:pt x="1632" y="779"/>
                    <a:pt x="1632" y="779"/>
                  </a:cubicBezTo>
                  <a:cubicBezTo>
                    <a:pt x="1631" y="779"/>
                    <a:pt x="1631" y="778"/>
                    <a:pt x="1631" y="778"/>
                  </a:cubicBezTo>
                  <a:cubicBezTo>
                    <a:pt x="1630" y="779"/>
                    <a:pt x="1630" y="779"/>
                    <a:pt x="1629" y="779"/>
                  </a:cubicBezTo>
                  <a:cubicBezTo>
                    <a:pt x="1629" y="779"/>
                    <a:pt x="1629" y="779"/>
                    <a:pt x="1629" y="779"/>
                  </a:cubicBezTo>
                  <a:cubicBezTo>
                    <a:pt x="1625" y="781"/>
                    <a:pt x="1622" y="786"/>
                    <a:pt x="1618" y="786"/>
                  </a:cubicBezTo>
                  <a:cubicBezTo>
                    <a:pt x="1616" y="785"/>
                    <a:pt x="1615" y="783"/>
                    <a:pt x="1613" y="782"/>
                  </a:cubicBezTo>
                  <a:cubicBezTo>
                    <a:pt x="1606" y="781"/>
                    <a:pt x="1603" y="787"/>
                    <a:pt x="1597" y="783"/>
                  </a:cubicBezTo>
                  <a:cubicBezTo>
                    <a:pt x="1610" y="773"/>
                    <a:pt x="1610" y="782"/>
                    <a:pt x="1620" y="777"/>
                  </a:cubicBezTo>
                  <a:cubicBezTo>
                    <a:pt x="1619" y="777"/>
                    <a:pt x="1618" y="777"/>
                    <a:pt x="1619" y="776"/>
                  </a:cubicBezTo>
                  <a:cubicBezTo>
                    <a:pt x="1621" y="774"/>
                    <a:pt x="1623" y="774"/>
                    <a:pt x="1625" y="773"/>
                  </a:cubicBezTo>
                  <a:cubicBezTo>
                    <a:pt x="1625" y="774"/>
                    <a:pt x="1625" y="775"/>
                    <a:pt x="1627" y="777"/>
                  </a:cubicBezTo>
                  <a:cubicBezTo>
                    <a:pt x="1631" y="778"/>
                    <a:pt x="1629" y="774"/>
                    <a:pt x="1626" y="772"/>
                  </a:cubicBezTo>
                  <a:cubicBezTo>
                    <a:pt x="1629" y="771"/>
                    <a:pt x="1632" y="770"/>
                    <a:pt x="1635" y="767"/>
                  </a:cubicBezTo>
                  <a:cubicBezTo>
                    <a:pt x="1638" y="768"/>
                    <a:pt x="1649" y="772"/>
                    <a:pt x="1644" y="763"/>
                  </a:cubicBezTo>
                  <a:cubicBezTo>
                    <a:pt x="1641" y="766"/>
                    <a:pt x="1636" y="769"/>
                    <a:pt x="1632" y="764"/>
                  </a:cubicBezTo>
                  <a:cubicBezTo>
                    <a:pt x="1622" y="766"/>
                    <a:pt x="1621" y="778"/>
                    <a:pt x="1613" y="776"/>
                  </a:cubicBezTo>
                  <a:cubicBezTo>
                    <a:pt x="1617" y="773"/>
                    <a:pt x="1620" y="770"/>
                    <a:pt x="1620" y="766"/>
                  </a:cubicBezTo>
                  <a:cubicBezTo>
                    <a:pt x="1615" y="767"/>
                    <a:pt x="1618" y="772"/>
                    <a:pt x="1613" y="773"/>
                  </a:cubicBezTo>
                  <a:cubicBezTo>
                    <a:pt x="1612" y="771"/>
                    <a:pt x="1614" y="770"/>
                    <a:pt x="1613" y="769"/>
                  </a:cubicBezTo>
                  <a:cubicBezTo>
                    <a:pt x="1609" y="773"/>
                    <a:pt x="1601" y="779"/>
                    <a:pt x="1597" y="775"/>
                  </a:cubicBezTo>
                  <a:cubicBezTo>
                    <a:pt x="1605" y="769"/>
                    <a:pt x="1612" y="764"/>
                    <a:pt x="1618" y="759"/>
                  </a:cubicBezTo>
                  <a:cubicBezTo>
                    <a:pt x="1619" y="761"/>
                    <a:pt x="1620" y="764"/>
                    <a:pt x="1620" y="761"/>
                  </a:cubicBezTo>
                  <a:cubicBezTo>
                    <a:pt x="1619" y="759"/>
                    <a:pt x="1619" y="759"/>
                    <a:pt x="1619" y="759"/>
                  </a:cubicBezTo>
                  <a:cubicBezTo>
                    <a:pt x="1607" y="758"/>
                    <a:pt x="1607" y="770"/>
                    <a:pt x="1597" y="765"/>
                  </a:cubicBezTo>
                  <a:cubicBezTo>
                    <a:pt x="1602" y="763"/>
                    <a:pt x="1605" y="757"/>
                    <a:pt x="1610" y="759"/>
                  </a:cubicBezTo>
                  <a:cubicBezTo>
                    <a:pt x="1609" y="752"/>
                    <a:pt x="1619" y="746"/>
                    <a:pt x="1625" y="745"/>
                  </a:cubicBezTo>
                  <a:cubicBezTo>
                    <a:pt x="1606" y="743"/>
                    <a:pt x="1602" y="762"/>
                    <a:pt x="1589" y="770"/>
                  </a:cubicBezTo>
                  <a:cubicBezTo>
                    <a:pt x="1586" y="766"/>
                    <a:pt x="1594" y="762"/>
                    <a:pt x="1588" y="760"/>
                  </a:cubicBezTo>
                  <a:cubicBezTo>
                    <a:pt x="1577" y="774"/>
                    <a:pt x="1552" y="772"/>
                    <a:pt x="1538" y="779"/>
                  </a:cubicBezTo>
                  <a:cubicBezTo>
                    <a:pt x="1549" y="769"/>
                    <a:pt x="1559" y="762"/>
                    <a:pt x="1571" y="759"/>
                  </a:cubicBezTo>
                  <a:cubicBezTo>
                    <a:pt x="1574" y="758"/>
                    <a:pt x="1567" y="757"/>
                    <a:pt x="1570" y="756"/>
                  </a:cubicBezTo>
                  <a:cubicBezTo>
                    <a:pt x="1581" y="756"/>
                    <a:pt x="1597" y="744"/>
                    <a:pt x="1609" y="735"/>
                  </a:cubicBezTo>
                  <a:cubicBezTo>
                    <a:pt x="1609" y="737"/>
                    <a:pt x="1608" y="738"/>
                    <a:pt x="1610" y="739"/>
                  </a:cubicBezTo>
                  <a:cubicBezTo>
                    <a:pt x="1613" y="727"/>
                    <a:pt x="1628" y="728"/>
                    <a:pt x="1634" y="722"/>
                  </a:cubicBezTo>
                  <a:cubicBezTo>
                    <a:pt x="1633" y="722"/>
                    <a:pt x="1632" y="723"/>
                    <a:pt x="1631" y="722"/>
                  </a:cubicBezTo>
                  <a:cubicBezTo>
                    <a:pt x="1648" y="717"/>
                    <a:pt x="1670" y="708"/>
                    <a:pt x="1682" y="695"/>
                  </a:cubicBezTo>
                  <a:cubicBezTo>
                    <a:pt x="1684" y="699"/>
                    <a:pt x="1684" y="699"/>
                    <a:pt x="1684" y="699"/>
                  </a:cubicBezTo>
                  <a:cubicBezTo>
                    <a:pt x="1699" y="687"/>
                    <a:pt x="1721" y="671"/>
                    <a:pt x="1742" y="668"/>
                  </a:cubicBezTo>
                  <a:cubicBezTo>
                    <a:pt x="1741" y="666"/>
                    <a:pt x="1741" y="664"/>
                    <a:pt x="1744" y="663"/>
                  </a:cubicBezTo>
                  <a:cubicBezTo>
                    <a:pt x="1791" y="645"/>
                    <a:pt x="1838" y="609"/>
                    <a:pt x="1883" y="593"/>
                  </a:cubicBezTo>
                  <a:cubicBezTo>
                    <a:pt x="1882" y="593"/>
                    <a:pt x="1880" y="593"/>
                    <a:pt x="1880" y="591"/>
                  </a:cubicBezTo>
                  <a:cubicBezTo>
                    <a:pt x="1903" y="589"/>
                    <a:pt x="1919" y="578"/>
                    <a:pt x="1937" y="569"/>
                  </a:cubicBezTo>
                  <a:cubicBezTo>
                    <a:pt x="1940" y="569"/>
                    <a:pt x="1943" y="572"/>
                    <a:pt x="1946" y="573"/>
                  </a:cubicBezTo>
                  <a:cubicBezTo>
                    <a:pt x="1943" y="568"/>
                    <a:pt x="1943" y="571"/>
                    <a:pt x="1939" y="566"/>
                  </a:cubicBezTo>
                  <a:cubicBezTo>
                    <a:pt x="1950" y="567"/>
                    <a:pt x="1961" y="561"/>
                    <a:pt x="1969" y="555"/>
                  </a:cubicBezTo>
                  <a:cubicBezTo>
                    <a:pt x="1971" y="558"/>
                    <a:pt x="1971" y="558"/>
                    <a:pt x="1971" y="558"/>
                  </a:cubicBezTo>
                  <a:cubicBezTo>
                    <a:pt x="1975" y="550"/>
                    <a:pt x="1983" y="545"/>
                    <a:pt x="1991" y="546"/>
                  </a:cubicBezTo>
                  <a:cubicBezTo>
                    <a:pt x="1989" y="546"/>
                    <a:pt x="1989" y="544"/>
                    <a:pt x="1988" y="543"/>
                  </a:cubicBezTo>
                  <a:cubicBezTo>
                    <a:pt x="1993" y="539"/>
                    <a:pt x="1997" y="536"/>
                    <a:pt x="2000" y="540"/>
                  </a:cubicBezTo>
                  <a:cubicBezTo>
                    <a:pt x="2002" y="537"/>
                    <a:pt x="2006" y="536"/>
                    <a:pt x="2010" y="539"/>
                  </a:cubicBezTo>
                  <a:cubicBezTo>
                    <a:pt x="2014" y="536"/>
                    <a:pt x="2007" y="534"/>
                    <a:pt x="2009" y="531"/>
                  </a:cubicBezTo>
                  <a:cubicBezTo>
                    <a:pt x="2030" y="524"/>
                    <a:pt x="2054" y="514"/>
                    <a:pt x="2079" y="502"/>
                  </a:cubicBezTo>
                  <a:cubicBezTo>
                    <a:pt x="2103" y="490"/>
                    <a:pt x="2127" y="476"/>
                    <a:pt x="2148" y="464"/>
                  </a:cubicBezTo>
                  <a:cubicBezTo>
                    <a:pt x="2111" y="480"/>
                    <a:pt x="2074" y="496"/>
                    <a:pt x="2039" y="518"/>
                  </a:cubicBezTo>
                  <a:cubicBezTo>
                    <a:pt x="2037" y="515"/>
                    <a:pt x="2033" y="523"/>
                    <a:pt x="2032" y="517"/>
                  </a:cubicBezTo>
                  <a:cubicBezTo>
                    <a:pt x="2013" y="531"/>
                    <a:pt x="1982" y="534"/>
                    <a:pt x="1965" y="549"/>
                  </a:cubicBezTo>
                  <a:cubicBezTo>
                    <a:pt x="1964" y="548"/>
                    <a:pt x="1964" y="546"/>
                    <a:pt x="1962" y="546"/>
                  </a:cubicBezTo>
                  <a:cubicBezTo>
                    <a:pt x="1965" y="550"/>
                    <a:pt x="1962" y="552"/>
                    <a:pt x="1961" y="554"/>
                  </a:cubicBezTo>
                  <a:cubicBezTo>
                    <a:pt x="1956" y="550"/>
                    <a:pt x="1951" y="559"/>
                    <a:pt x="1943" y="556"/>
                  </a:cubicBezTo>
                  <a:cubicBezTo>
                    <a:pt x="1944" y="561"/>
                    <a:pt x="1929" y="562"/>
                    <a:pt x="1926" y="563"/>
                  </a:cubicBezTo>
                  <a:cubicBezTo>
                    <a:pt x="1925" y="565"/>
                    <a:pt x="1927" y="567"/>
                    <a:pt x="1925" y="569"/>
                  </a:cubicBezTo>
                  <a:cubicBezTo>
                    <a:pt x="1922" y="565"/>
                    <a:pt x="1920" y="572"/>
                    <a:pt x="1916" y="569"/>
                  </a:cubicBezTo>
                  <a:cubicBezTo>
                    <a:pt x="1915" y="575"/>
                    <a:pt x="1908" y="575"/>
                    <a:pt x="1904" y="579"/>
                  </a:cubicBezTo>
                  <a:cubicBezTo>
                    <a:pt x="1899" y="572"/>
                    <a:pt x="1895" y="579"/>
                    <a:pt x="1889" y="581"/>
                  </a:cubicBezTo>
                  <a:cubicBezTo>
                    <a:pt x="1888" y="584"/>
                    <a:pt x="1892" y="584"/>
                    <a:pt x="1890" y="585"/>
                  </a:cubicBezTo>
                  <a:cubicBezTo>
                    <a:pt x="1861" y="595"/>
                    <a:pt x="1837" y="610"/>
                    <a:pt x="1805" y="619"/>
                  </a:cubicBezTo>
                  <a:cubicBezTo>
                    <a:pt x="1805" y="619"/>
                    <a:pt x="1807" y="618"/>
                    <a:pt x="1806" y="617"/>
                  </a:cubicBezTo>
                  <a:cubicBezTo>
                    <a:pt x="1802" y="618"/>
                    <a:pt x="1806" y="621"/>
                    <a:pt x="1802" y="622"/>
                  </a:cubicBezTo>
                  <a:cubicBezTo>
                    <a:pt x="1801" y="619"/>
                    <a:pt x="1799" y="621"/>
                    <a:pt x="1800" y="617"/>
                  </a:cubicBezTo>
                  <a:cubicBezTo>
                    <a:pt x="1796" y="622"/>
                    <a:pt x="1788" y="623"/>
                    <a:pt x="1782" y="624"/>
                  </a:cubicBezTo>
                  <a:cubicBezTo>
                    <a:pt x="1783" y="628"/>
                    <a:pt x="1785" y="626"/>
                    <a:pt x="1787" y="628"/>
                  </a:cubicBezTo>
                  <a:cubicBezTo>
                    <a:pt x="1784" y="629"/>
                    <a:pt x="1785" y="631"/>
                    <a:pt x="1782" y="631"/>
                  </a:cubicBezTo>
                  <a:cubicBezTo>
                    <a:pt x="1781" y="629"/>
                    <a:pt x="1784" y="629"/>
                    <a:pt x="1782" y="626"/>
                  </a:cubicBezTo>
                  <a:cubicBezTo>
                    <a:pt x="1776" y="627"/>
                    <a:pt x="1780" y="631"/>
                    <a:pt x="1774" y="632"/>
                  </a:cubicBezTo>
                  <a:cubicBezTo>
                    <a:pt x="1772" y="626"/>
                    <a:pt x="1768" y="633"/>
                    <a:pt x="1763" y="631"/>
                  </a:cubicBezTo>
                  <a:cubicBezTo>
                    <a:pt x="1763" y="637"/>
                    <a:pt x="1763" y="637"/>
                    <a:pt x="1765" y="639"/>
                  </a:cubicBezTo>
                  <a:cubicBezTo>
                    <a:pt x="1761" y="640"/>
                    <a:pt x="1759" y="640"/>
                    <a:pt x="1759" y="644"/>
                  </a:cubicBezTo>
                  <a:cubicBezTo>
                    <a:pt x="1757" y="640"/>
                    <a:pt x="1757" y="640"/>
                    <a:pt x="1757" y="640"/>
                  </a:cubicBezTo>
                  <a:cubicBezTo>
                    <a:pt x="1756" y="642"/>
                    <a:pt x="1749" y="650"/>
                    <a:pt x="1746" y="646"/>
                  </a:cubicBezTo>
                  <a:cubicBezTo>
                    <a:pt x="1751" y="645"/>
                    <a:pt x="1752" y="636"/>
                    <a:pt x="1760" y="639"/>
                  </a:cubicBezTo>
                  <a:cubicBezTo>
                    <a:pt x="1755" y="629"/>
                    <a:pt x="1740" y="650"/>
                    <a:pt x="1733" y="643"/>
                  </a:cubicBezTo>
                  <a:cubicBezTo>
                    <a:pt x="1755" y="631"/>
                    <a:pt x="1774" y="624"/>
                    <a:pt x="1799" y="613"/>
                  </a:cubicBezTo>
                  <a:cubicBezTo>
                    <a:pt x="1798" y="611"/>
                    <a:pt x="1796" y="611"/>
                    <a:pt x="1797" y="610"/>
                  </a:cubicBezTo>
                  <a:cubicBezTo>
                    <a:pt x="1800" y="610"/>
                    <a:pt x="1803" y="606"/>
                    <a:pt x="1804" y="608"/>
                  </a:cubicBezTo>
                  <a:cubicBezTo>
                    <a:pt x="1804" y="612"/>
                    <a:pt x="1798" y="607"/>
                    <a:pt x="1801" y="612"/>
                  </a:cubicBezTo>
                  <a:cubicBezTo>
                    <a:pt x="1807" y="610"/>
                    <a:pt x="1816" y="605"/>
                    <a:pt x="1819" y="603"/>
                  </a:cubicBezTo>
                  <a:cubicBezTo>
                    <a:pt x="1816" y="604"/>
                    <a:pt x="1810" y="603"/>
                    <a:pt x="1813" y="599"/>
                  </a:cubicBezTo>
                  <a:cubicBezTo>
                    <a:pt x="1834" y="595"/>
                    <a:pt x="1855" y="581"/>
                    <a:pt x="1872" y="574"/>
                  </a:cubicBezTo>
                  <a:cubicBezTo>
                    <a:pt x="1897" y="563"/>
                    <a:pt x="1923" y="554"/>
                    <a:pt x="1950" y="544"/>
                  </a:cubicBezTo>
                  <a:cubicBezTo>
                    <a:pt x="1951" y="546"/>
                    <a:pt x="1951" y="546"/>
                    <a:pt x="1951" y="546"/>
                  </a:cubicBezTo>
                  <a:cubicBezTo>
                    <a:pt x="1959" y="536"/>
                    <a:pt x="1971" y="540"/>
                    <a:pt x="1976" y="530"/>
                  </a:cubicBezTo>
                  <a:cubicBezTo>
                    <a:pt x="1980" y="529"/>
                    <a:pt x="1983" y="529"/>
                    <a:pt x="1985" y="532"/>
                  </a:cubicBezTo>
                  <a:cubicBezTo>
                    <a:pt x="1987" y="531"/>
                    <a:pt x="1992" y="531"/>
                    <a:pt x="1991" y="528"/>
                  </a:cubicBezTo>
                  <a:cubicBezTo>
                    <a:pt x="1987" y="531"/>
                    <a:pt x="1983" y="530"/>
                    <a:pt x="1981" y="526"/>
                  </a:cubicBezTo>
                  <a:cubicBezTo>
                    <a:pt x="1986" y="523"/>
                    <a:pt x="2002" y="516"/>
                    <a:pt x="2010" y="515"/>
                  </a:cubicBezTo>
                  <a:cubicBezTo>
                    <a:pt x="2018" y="505"/>
                    <a:pt x="2035" y="502"/>
                    <a:pt x="2042" y="494"/>
                  </a:cubicBezTo>
                  <a:cubicBezTo>
                    <a:pt x="2034" y="493"/>
                    <a:pt x="2024" y="508"/>
                    <a:pt x="2017" y="497"/>
                  </a:cubicBezTo>
                  <a:cubicBezTo>
                    <a:pt x="2025" y="496"/>
                    <a:pt x="2026" y="486"/>
                    <a:pt x="2035" y="487"/>
                  </a:cubicBezTo>
                  <a:cubicBezTo>
                    <a:pt x="2033" y="483"/>
                    <a:pt x="2036" y="482"/>
                    <a:pt x="2041" y="481"/>
                  </a:cubicBezTo>
                  <a:cubicBezTo>
                    <a:pt x="2041" y="470"/>
                    <a:pt x="2062" y="472"/>
                    <a:pt x="2067" y="461"/>
                  </a:cubicBezTo>
                  <a:cubicBezTo>
                    <a:pt x="2071" y="463"/>
                    <a:pt x="2075" y="463"/>
                    <a:pt x="2079" y="462"/>
                  </a:cubicBezTo>
                  <a:cubicBezTo>
                    <a:pt x="2078" y="458"/>
                    <a:pt x="2075" y="463"/>
                    <a:pt x="2076" y="458"/>
                  </a:cubicBezTo>
                  <a:cubicBezTo>
                    <a:pt x="2074" y="458"/>
                    <a:pt x="2071" y="463"/>
                    <a:pt x="2069" y="460"/>
                  </a:cubicBezTo>
                  <a:cubicBezTo>
                    <a:pt x="2091" y="447"/>
                    <a:pt x="2105" y="436"/>
                    <a:pt x="2124" y="425"/>
                  </a:cubicBezTo>
                  <a:cubicBezTo>
                    <a:pt x="2118" y="414"/>
                    <a:pt x="2134" y="417"/>
                    <a:pt x="2136" y="413"/>
                  </a:cubicBezTo>
                  <a:cubicBezTo>
                    <a:pt x="2129" y="410"/>
                    <a:pt x="2145" y="408"/>
                    <a:pt x="2148" y="406"/>
                  </a:cubicBezTo>
                  <a:cubicBezTo>
                    <a:pt x="2158" y="401"/>
                    <a:pt x="2166" y="392"/>
                    <a:pt x="2170" y="387"/>
                  </a:cubicBezTo>
                  <a:cubicBezTo>
                    <a:pt x="2162" y="384"/>
                    <a:pt x="2161" y="395"/>
                    <a:pt x="2153" y="395"/>
                  </a:cubicBezTo>
                  <a:cubicBezTo>
                    <a:pt x="2152" y="392"/>
                    <a:pt x="2151" y="389"/>
                    <a:pt x="2153" y="387"/>
                  </a:cubicBezTo>
                  <a:cubicBezTo>
                    <a:pt x="2155" y="389"/>
                    <a:pt x="2160" y="384"/>
                    <a:pt x="2157" y="381"/>
                  </a:cubicBezTo>
                  <a:cubicBezTo>
                    <a:pt x="2152" y="385"/>
                    <a:pt x="2148" y="385"/>
                    <a:pt x="2143" y="385"/>
                  </a:cubicBezTo>
                  <a:cubicBezTo>
                    <a:pt x="2147" y="379"/>
                    <a:pt x="2151" y="368"/>
                    <a:pt x="2161" y="371"/>
                  </a:cubicBezTo>
                  <a:cubicBezTo>
                    <a:pt x="2163" y="364"/>
                    <a:pt x="2172" y="363"/>
                    <a:pt x="2180" y="356"/>
                  </a:cubicBezTo>
                  <a:cubicBezTo>
                    <a:pt x="2174" y="351"/>
                    <a:pt x="2185" y="348"/>
                    <a:pt x="2192" y="345"/>
                  </a:cubicBezTo>
                  <a:cubicBezTo>
                    <a:pt x="2194" y="337"/>
                    <a:pt x="2188" y="337"/>
                    <a:pt x="2195" y="331"/>
                  </a:cubicBezTo>
                  <a:cubicBezTo>
                    <a:pt x="2191" y="330"/>
                    <a:pt x="2191" y="335"/>
                    <a:pt x="2188" y="333"/>
                  </a:cubicBezTo>
                  <a:cubicBezTo>
                    <a:pt x="2187" y="327"/>
                    <a:pt x="2186" y="321"/>
                    <a:pt x="2194" y="317"/>
                  </a:cubicBezTo>
                  <a:cubicBezTo>
                    <a:pt x="2194" y="319"/>
                    <a:pt x="2193" y="320"/>
                    <a:pt x="2194" y="322"/>
                  </a:cubicBezTo>
                  <a:cubicBezTo>
                    <a:pt x="2199" y="318"/>
                    <a:pt x="2203" y="312"/>
                    <a:pt x="2203" y="310"/>
                  </a:cubicBezTo>
                  <a:cubicBezTo>
                    <a:pt x="2209" y="310"/>
                    <a:pt x="2206" y="307"/>
                    <a:pt x="2209" y="305"/>
                  </a:cubicBezTo>
                  <a:cubicBezTo>
                    <a:pt x="2214" y="301"/>
                    <a:pt x="2224" y="300"/>
                    <a:pt x="2223" y="293"/>
                  </a:cubicBezTo>
                  <a:cubicBezTo>
                    <a:pt x="2218" y="292"/>
                    <a:pt x="2216" y="299"/>
                    <a:pt x="2211" y="293"/>
                  </a:cubicBezTo>
                  <a:cubicBezTo>
                    <a:pt x="2213" y="288"/>
                    <a:pt x="2219" y="293"/>
                    <a:pt x="2217" y="289"/>
                  </a:cubicBezTo>
                  <a:cubicBezTo>
                    <a:pt x="2213" y="287"/>
                    <a:pt x="2205" y="297"/>
                    <a:pt x="2202" y="291"/>
                  </a:cubicBezTo>
                  <a:cubicBezTo>
                    <a:pt x="2208" y="288"/>
                    <a:pt x="2208" y="288"/>
                    <a:pt x="2208" y="288"/>
                  </a:cubicBezTo>
                  <a:cubicBezTo>
                    <a:pt x="2206" y="284"/>
                    <a:pt x="2201" y="287"/>
                    <a:pt x="2202" y="282"/>
                  </a:cubicBezTo>
                  <a:cubicBezTo>
                    <a:pt x="2201" y="284"/>
                    <a:pt x="2196" y="284"/>
                    <a:pt x="2197" y="286"/>
                  </a:cubicBezTo>
                  <a:cubicBezTo>
                    <a:pt x="2199" y="285"/>
                    <a:pt x="2201" y="285"/>
                    <a:pt x="2202" y="288"/>
                  </a:cubicBezTo>
                  <a:cubicBezTo>
                    <a:pt x="2200" y="289"/>
                    <a:pt x="2194" y="291"/>
                    <a:pt x="2190" y="293"/>
                  </a:cubicBezTo>
                  <a:cubicBezTo>
                    <a:pt x="2193" y="282"/>
                    <a:pt x="2210" y="274"/>
                    <a:pt x="2219" y="270"/>
                  </a:cubicBezTo>
                  <a:cubicBezTo>
                    <a:pt x="2218" y="268"/>
                    <a:pt x="2217" y="265"/>
                    <a:pt x="2219" y="263"/>
                  </a:cubicBezTo>
                  <a:cubicBezTo>
                    <a:pt x="2214" y="265"/>
                    <a:pt x="2209" y="268"/>
                    <a:pt x="2216" y="267"/>
                  </a:cubicBezTo>
                  <a:cubicBezTo>
                    <a:pt x="2212" y="270"/>
                    <a:pt x="2210" y="267"/>
                    <a:pt x="2207" y="266"/>
                  </a:cubicBezTo>
                  <a:cubicBezTo>
                    <a:pt x="2211" y="257"/>
                    <a:pt x="2214" y="264"/>
                    <a:pt x="2219" y="259"/>
                  </a:cubicBezTo>
                  <a:cubicBezTo>
                    <a:pt x="2215" y="261"/>
                    <a:pt x="2213" y="259"/>
                    <a:pt x="2214" y="255"/>
                  </a:cubicBezTo>
                  <a:cubicBezTo>
                    <a:pt x="2204" y="258"/>
                    <a:pt x="2191" y="262"/>
                    <a:pt x="2186" y="267"/>
                  </a:cubicBezTo>
                  <a:cubicBezTo>
                    <a:pt x="2177" y="261"/>
                    <a:pt x="2166" y="281"/>
                    <a:pt x="2158" y="269"/>
                  </a:cubicBezTo>
                  <a:cubicBezTo>
                    <a:pt x="2153" y="270"/>
                    <a:pt x="2160" y="276"/>
                    <a:pt x="2155" y="278"/>
                  </a:cubicBezTo>
                  <a:cubicBezTo>
                    <a:pt x="2151" y="278"/>
                    <a:pt x="2147" y="276"/>
                    <a:pt x="2142" y="277"/>
                  </a:cubicBezTo>
                  <a:cubicBezTo>
                    <a:pt x="2142" y="282"/>
                    <a:pt x="2134" y="283"/>
                    <a:pt x="2131" y="279"/>
                  </a:cubicBezTo>
                  <a:cubicBezTo>
                    <a:pt x="2132" y="279"/>
                    <a:pt x="2131" y="277"/>
                    <a:pt x="2132" y="276"/>
                  </a:cubicBezTo>
                  <a:cubicBezTo>
                    <a:pt x="2138" y="278"/>
                    <a:pt x="2147" y="272"/>
                    <a:pt x="2150" y="267"/>
                  </a:cubicBezTo>
                  <a:cubicBezTo>
                    <a:pt x="2143" y="270"/>
                    <a:pt x="2132" y="273"/>
                    <a:pt x="2127" y="279"/>
                  </a:cubicBezTo>
                  <a:cubicBezTo>
                    <a:pt x="2128" y="278"/>
                    <a:pt x="2129" y="277"/>
                    <a:pt x="2130" y="278"/>
                  </a:cubicBezTo>
                  <a:cubicBezTo>
                    <a:pt x="2127" y="280"/>
                    <a:pt x="2129" y="282"/>
                    <a:pt x="2125" y="284"/>
                  </a:cubicBezTo>
                  <a:cubicBezTo>
                    <a:pt x="2123" y="282"/>
                    <a:pt x="2126" y="279"/>
                    <a:pt x="2122" y="281"/>
                  </a:cubicBezTo>
                  <a:cubicBezTo>
                    <a:pt x="2122" y="283"/>
                    <a:pt x="2122" y="285"/>
                    <a:pt x="2120" y="286"/>
                  </a:cubicBezTo>
                  <a:cubicBezTo>
                    <a:pt x="2112" y="286"/>
                    <a:pt x="2100" y="290"/>
                    <a:pt x="2095" y="296"/>
                  </a:cubicBezTo>
                  <a:cubicBezTo>
                    <a:pt x="2081" y="291"/>
                    <a:pt x="2068" y="313"/>
                    <a:pt x="2058" y="299"/>
                  </a:cubicBezTo>
                  <a:cubicBezTo>
                    <a:pt x="2051" y="306"/>
                    <a:pt x="2043" y="310"/>
                    <a:pt x="2032" y="309"/>
                  </a:cubicBezTo>
                  <a:cubicBezTo>
                    <a:pt x="2030" y="310"/>
                    <a:pt x="2034" y="313"/>
                    <a:pt x="2031" y="314"/>
                  </a:cubicBezTo>
                  <a:cubicBezTo>
                    <a:pt x="2019" y="311"/>
                    <a:pt x="2012" y="328"/>
                    <a:pt x="2000" y="330"/>
                  </a:cubicBezTo>
                  <a:cubicBezTo>
                    <a:pt x="1999" y="325"/>
                    <a:pt x="2011" y="325"/>
                    <a:pt x="2005" y="321"/>
                  </a:cubicBezTo>
                  <a:cubicBezTo>
                    <a:pt x="1993" y="333"/>
                    <a:pt x="1976" y="330"/>
                    <a:pt x="1964" y="336"/>
                  </a:cubicBezTo>
                  <a:cubicBezTo>
                    <a:pt x="1963" y="333"/>
                    <a:pt x="1968" y="332"/>
                    <a:pt x="1966" y="329"/>
                  </a:cubicBezTo>
                  <a:cubicBezTo>
                    <a:pt x="1963" y="331"/>
                    <a:pt x="1955" y="332"/>
                    <a:pt x="1952" y="336"/>
                  </a:cubicBezTo>
                  <a:cubicBezTo>
                    <a:pt x="1951" y="335"/>
                    <a:pt x="1949" y="334"/>
                    <a:pt x="1948" y="332"/>
                  </a:cubicBezTo>
                  <a:cubicBezTo>
                    <a:pt x="1942" y="338"/>
                    <a:pt x="1933" y="336"/>
                    <a:pt x="1923" y="338"/>
                  </a:cubicBezTo>
                  <a:cubicBezTo>
                    <a:pt x="1923" y="342"/>
                    <a:pt x="1928" y="341"/>
                    <a:pt x="1925" y="343"/>
                  </a:cubicBezTo>
                  <a:cubicBezTo>
                    <a:pt x="1919" y="346"/>
                    <a:pt x="1919" y="346"/>
                    <a:pt x="1919" y="346"/>
                  </a:cubicBezTo>
                  <a:cubicBezTo>
                    <a:pt x="1920" y="344"/>
                    <a:pt x="1918" y="341"/>
                    <a:pt x="1916" y="342"/>
                  </a:cubicBezTo>
                  <a:cubicBezTo>
                    <a:pt x="1908" y="348"/>
                    <a:pt x="1895" y="350"/>
                    <a:pt x="1890" y="359"/>
                  </a:cubicBezTo>
                  <a:cubicBezTo>
                    <a:pt x="1891" y="353"/>
                    <a:pt x="1886" y="359"/>
                    <a:pt x="1886" y="359"/>
                  </a:cubicBezTo>
                  <a:cubicBezTo>
                    <a:pt x="1886" y="359"/>
                    <a:pt x="1885" y="357"/>
                    <a:pt x="1885" y="357"/>
                  </a:cubicBezTo>
                  <a:cubicBezTo>
                    <a:pt x="1866" y="359"/>
                    <a:pt x="1840" y="385"/>
                    <a:pt x="1829" y="382"/>
                  </a:cubicBezTo>
                  <a:cubicBezTo>
                    <a:pt x="1832" y="384"/>
                    <a:pt x="1828" y="392"/>
                    <a:pt x="1823" y="390"/>
                  </a:cubicBezTo>
                  <a:cubicBezTo>
                    <a:pt x="1820" y="387"/>
                    <a:pt x="1824" y="386"/>
                    <a:pt x="1822" y="384"/>
                  </a:cubicBezTo>
                  <a:cubicBezTo>
                    <a:pt x="1798" y="398"/>
                    <a:pt x="1769" y="408"/>
                    <a:pt x="1739" y="423"/>
                  </a:cubicBezTo>
                  <a:cubicBezTo>
                    <a:pt x="1740" y="423"/>
                    <a:pt x="1742" y="422"/>
                    <a:pt x="1742" y="423"/>
                  </a:cubicBezTo>
                  <a:cubicBezTo>
                    <a:pt x="1727" y="428"/>
                    <a:pt x="1720" y="427"/>
                    <a:pt x="1709" y="435"/>
                  </a:cubicBezTo>
                  <a:cubicBezTo>
                    <a:pt x="1698" y="438"/>
                    <a:pt x="1679" y="449"/>
                    <a:pt x="1673" y="451"/>
                  </a:cubicBezTo>
                  <a:cubicBezTo>
                    <a:pt x="1674" y="451"/>
                    <a:pt x="1680" y="451"/>
                    <a:pt x="1678" y="453"/>
                  </a:cubicBezTo>
                  <a:cubicBezTo>
                    <a:pt x="1663" y="451"/>
                    <a:pt x="1653" y="455"/>
                    <a:pt x="1638" y="463"/>
                  </a:cubicBezTo>
                  <a:cubicBezTo>
                    <a:pt x="1634" y="458"/>
                    <a:pt x="1622" y="463"/>
                    <a:pt x="1625" y="469"/>
                  </a:cubicBezTo>
                  <a:cubicBezTo>
                    <a:pt x="1629" y="468"/>
                    <a:pt x="1630" y="466"/>
                    <a:pt x="1630" y="464"/>
                  </a:cubicBezTo>
                  <a:cubicBezTo>
                    <a:pt x="1632" y="465"/>
                    <a:pt x="1636" y="461"/>
                    <a:pt x="1637" y="466"/>
                  </a:cubicBezTo>
                  <a:cubicBezTo>
                    <a:pt x="1631" y="469"/>
                    <a:pt x="1615" y="478"/>
                    <a:pt x="1621" y="469"/>
                  </a:cubicBezTo>
                  <a:cubicBezTo>
                    <a:pt x="1607" y="481"/>
                    <a:pt x="1598" y="475"/>
                    <a:pt x="1584" y="485"/>
                  </a:cubicBezTo>
                  <a:cubicBezTo>
                    <a:pt x="1583" y="483"/>
                    <a:pt x="1582" y="482"/>
                    <a:pt x="1580" y="482"/>
                  </a:cubicBezTo>
                  <a:cubicBezTo>
                    <a:pt x="1578" y="480"/>
                    <a:pt x="1577" y="479"/>
                    <a:pt x="1576" y="480"/>
                  </a:cubicBezTo>
                  <a:cubicBezTo>
                    <a:pt x="1576" y="477"/>
                    <a:pt x="1578" y="477"/>
                    <a:pt x="1580" y="477"/>
                  </a:cubicBezTo>
                  <a:cubicBezTo>
                    <a:pt x="1577" y="473"/>
                    <a:pt x="1581" y="474"/>
                    <a:pt x="1580" y="471"/>
                  </a:cubicBezTo>
                  <a:cubicBezTo>
                    <a:pt x="1578" y="472"/>
                    <a:pt x="1577" y="472"/>
                    <a:pt x="1575" y="470"/>
                  </a:cubicBezTo>
                  <a:cubicBezTo>
                    <a:pt x="1576" y="469"/>
                    <a:pt x="1577" y="468"/>
                    <a:pt x="1578" y="466"/>
                  </a:cubicBezTo>
                  <a:cubicBezTo>
                    <a:pt x="1572" y="459"/>
                    <a:pt x="1572" y="456"/>
                    <a:pt x="1566" y="447"/>
                  </a:cubicBezTo>
                  <a:cubicBezTo>
                    <a:pt x="1564" y="446"/>
                    <a:pt x="1562" y="448"/>
                    <a:pt x="1559" y="445"/>
                  </a:cubicBezTo>
                  <a:cubicBezTo>
                    <a:pt x="1559" y="443"/>
                    <a:pt x="1559" y="441"/>
                    <a:pt x="1558" y="440"/>
                  </a:cubicBezTo>
                  <a:cubicBezTo>
                    <a:pt x="1565" y="437"/>
                    <a:pt x="1572" y="434"/>
                    <a:pt x="1570" y="431"/>
                  </a:cubicBezTo>
                  <a:cubicBezTo>
                    <a:pt x="1574" y="432"/>
                    <a:pt x="1582" y="431"/>
                    <a:pt x="1582" y="434"/>
                  </a:cubicBezTo>
                  <a:cubicBezTo>
                    <a:pt x="1577" y="437"/>
                    <a:pt x="1563" y="440"/>
                    <a:pt x="1563" y="445"/>
                  </a:cubicBezTo>
                  <a:cubicBezTo>
                    <a:pt x="1570" y="442"/>
                    <a:pt x="1586" y="435"/>
                    <a:pt x="1592" y="427"/>
                  </a:cubicBezTo>
                  <a:cubicBezTo>
                    <a:pt x="1586" y="429"/>
                    <a:pt x="1586" y="430"/>
                    <a:pt x="1579" y="431"/>
                  </a:cubicBezTo>
                  <a:cubicBezTo>
                    <a:pt x="1575" y="427"/>
                    <a:pt x="1565" y="431"/>
                    <a:pt x="1558" y="436"/>
                  </a:cubicBezTo>
                  <a:cubicBezTo>
                    <a:pt x="1558" y="436"/>
                    <a:pt x="1558" y="436"/>
                    <a:pt x="1558" y="435"/>
                  </a:cubicBezTo>
                  <a:cubicBezTo>
                    <a:pt x="1557" y="430"/>
                    <a:pt x="1554" y="432"/>
                    <a:pt x="1552" y="428"/>
                  </a:cubicBezTo>
                  <a:cubicBezTo>
                    <a:pt x="1555" y="427"/>
                    <a:pt x="1557" y="425"/>
                    <a:pt x="1559" y="426"/>
                  </a:cubicBezTo>
                  <a:cubicBezTo>
                    <a:pt x="1557" y="424"/>
                    <a:pt x="1558" y="423"/>
                    <a:pt x="1557" y="421"/>
                  </a:cubicBezTo>
                  <a:cubicBezTo>
                    <a:pt x="1554" y="421"/>
                    <a:pt x="1555" y="427"/>
                    <a:pt x="1552" y="424"/>
                  </a:cubicBezTo>
                  <a:cubicBezTo>
                    <a:pt x="1550" y="421"/>
                    <a:pt x="1552" y="418"/>
                    <a:pt x="1554" y="419"/>
                  </a:cubicBezTo>
                  <a:cubicBezTo>
                    <a:pt x="1552" y="412"/>
                    <a:pt x="1558" y="400"/>
                    <a:pt x="1547" y="398"/>
                  </a:cubicBezTo>
                  <a:cubicBezTo>
                    <a:pt x="1547" y="397"/>
                    <a:pt x="1547" y="396"/>
                    <a:pt x="1549" y="395"/>
                  </a:cubicBezTo>
                  <a:cubicBezTo>
                    <a:pt x="1545" y="391"/>
                    <a:pt x="1545" y="390"/>
                    <a:pt x="1541" y="388"/>
                  </a:cubicBezTo>
                  <a:cubicBezTo>
                    <a:pt x="1542" y="387"/>
                    <a:pt x="1541" y="385"/>
                    <a:pt x="1542" y="384"/>
                  </a:cubicBezTo>
                  <a:cubicBezTo>
                    <a:pt x="1544" y="382"/>
                    <a:pt x="1545" y="384"/>
                    <a:pt x="1546" y="383"/>
                  </a:cubicBezTo>
                  <a:cubicBezTo>
                    <a:pt x="1545" y="373"/>
                    <a:pt x="1532" y="360"/>
                    <a:pt x="1530" y="372"/>
                  </a:cubicBezTo>
                  <a:cubicBezTo>
                    <a:pt x="1528" y="369"/>
                    <a:pt x="1527" y="366"/>
                    <a:pt x="1528" y="364"/>
                  </a:cubicBezTo>
                  <a:cubicBezTo>
                    <a:pt x="1531" y="363"/>
                    <a:pt x="1535" y="364"/>
                    <a:pt x="1538" y="362"/>
                  </a:cubicBezTo>
                  <a:cubicBezTo>
                    <a:pt x="1550" y="369"/>
                    <a:pt x="1562" y="380"/>
                    <a:pt x="1560" y="394"/>
                  </a:cubicBezTo>
                  <a:cubicBezTo>
                    <a:pt x="1559" y="399"/>
                    <a:pt x="1555" y="398"/>
                    <a:pt x="1558" y="405"/>
                  </a:cubicBezTo>
                  <a:cubicBezTo>
                    <a:pt x="1561" y="403"/>
                    <a:pt x="1561" y="401"/>
                    <a:pt x="1565" y="402"/>
                  </a:cubicBezTo>
                  <a:cubicBezTo>
                    <a:pt x="1558" y="393"/>
                    <a:pt x="1573" y="395"/>
                    <a:pt x="1573" y="389"/>
                  </a:cubicBezTo>
                  <a:cubicBezTo>
                    <a:pt x="1575" y="390"/>
                    <a:pt x="1577" y="393"/>
                    <a:pt x="1579" y="392"/>
                  </a:cubicBezTo>
                  <a:cubicBezTo>
                    <a:pt x="1580" y="390"/>
                    <a:pt x="1579" y="388"/>
                    <a:pt x="1580" y="386"/>
                  </a:cubicBezTo>
                  <a:cubicBezTo>
                    <a:pt x="1585" y="388"/>
                    <a:pt x="1588" y="382"/>
                    <a:pt x="1595" y="379"/>
                  </a:cubicBezTo>
                  <a:cubicBezTo>
                    <a:pt x="1596" y="381"/>
                    <a:pt x="1595" y="381"/>
                    <a:pt x="1596" y="382"/>
                  </a:cubicBezTo>
                  <a:cubicBezTo>
                    <a:pt x="1602" y="375"/>
                    <a:pt x="1613" y="377"/>
                    <a:pt x="1616" y="366"/>
                  </a:cubicBezTo>
                  <a:cubicBezTo>
                    <a:pt x="1620" y="365"/>
                    <a:pt x="1623" y="367"/>
                    <a:pt x="1626" y="364"/>
                  </a:cubicBezTo>
                  <a:cubicBezTo>
                    <a:pt x="1628" y="368"/>
                    <a:pt x="1630" y="369"/>
                    <a:pt x="1632" y="371"/>
                  </a:cubicBezTo>
                  <a:cubicBezTo>
                    <a:pt x="1635" y="352"/>
                    <a:pt x="1612" y="324"/>
                    <a:pt x="1597" y="331"/>
                  </a:cubicBezTo>
                  <a:cubicBezTo>
                    <a:pt x="1584" y="327"/>
                    <a:pt x="1572" y="327"/>
                    <a:pt x="1563" y="334"/>
                  </a:cubicBezTo>
                  <a:cubicBezTo>
                    <a:pt x="1560" y="332"/>
                    <a:pt x="1561" y="330"/>
                    <a:pt x="1558" y="328"/>
                  </a:cubicBezTo>
                  <a:cubicBezTo>
                    <a:pt x="1553" y="332"/>
                    <a:pt x="1548" y="331"/>
                    <a:pt x="1544" y="328"/>
                  </a:cubicBezTo>
                  <a:cubicBezTo>
                    <a:pt x="1545" y="331"/>
                    <a:pt x="1542" y="328"/>
                    <a:pt x="1541" y="330"/>
                  </a:cubicBezTo>
                  <a:cubicBezTo>
                    <a:pt x="1543" y="331"/>
                    <a:pt x="1546" y="332"/>
                    <a:pt x="1550" y="336"/>
                  </a:cubicBezTo>
                  <a:cubicBezTo>
                    <a:pt x="1542" y="340"/>
                    <a:pt x="1543" y="349"/>
                    <a:pt x="1534" y="349"/>
                  </a:cubicBezTo>
                  <a:cubicBezTo>
                    <a:pt x="1531" y="338"/>
                    <a:pt x="1535" y="332"/>
                    <a:pt x="1528" y="320"/>
                  </a:cubicBezTo>
                  <a:cubicBezTo>
                    <a:pt x="1525" y="317"/>
                    <a:pt x="1522" y="319"/>
                    <a:pt x="1520" y="314"/>
                  </a:cubicBezTo>
                  <a:cubicBezTo>
                    <a:pt x="1518" y="315"/>
                    <a:pt x="1518" y="316"/>
                    <a:pt x="1517" y="317"/>
                  </a:cubicBezTo>
                  <a:cubicBezTo>
                    <a:pt x="1511" y="310"/>
                    <a:pt x="1505" y="314"/>
                    <a:pt x="1501" y="320"/>
                  </a:cubicBezTo>
                  <a:cubicBezTo>
                    <a:pt x="1498" y="316"/>
                    <a:pt x="1498" y="314"/>
                    <a:pt x="1496" y="316"/>
                  </a:cubicBezTo>
                  <a:cubicBezTo>
                    <a:pt x="1493" y="312"/>
                    <a:pt x="1497" y="313"/>
                    <a:pt x="1494" y="310"/>
                  </a:cubicBezTo>
                  <a:cubicBezTo>
                    <a:pt x="1494" y="310"/>
                    <a:pt x="1493" y="310"/>
                    <a:pt x="1492" y="308"/>
                  </a:cubicBezTo>
                  <a:cubicBezTo>
                    <a:pt x="1491" y="309"/>
                    <a:pt x="1490" y="310"/>
                    <a:pt x="1490" y="311"/>
                  </a:cubicBezTo>
                  <a:cubicBezTo>
                    <a:pt x="1482" y="304"/>
                    <a:pt x="1464" y="313"/>
                    <a:pt x="1465" y="295"/>
                  </a:cubicBezTo>
                  <a:cubicBezTo>
                    <a:pt x="1468" y="294"/>
                    <a:pt x="1470" y="291"/>
                    <a:pt x="1473" y="292"/>
                  </a:cubicBezTo>
                  <a:cubicBezTo>
                    <a:pt x="1470" y="284"/>
                    <a:pt x="1479" y="288"/>
                    <a:pt x="1479" y="282"/>
                  </a:cubicBezTo>
                  <a:cubicBezTo>
                    <a:pt x="1473" y="285"/>
                    <a:pt x="1470" y="283"/>
                    <a:pt x="1469" y="289"/>
                  </a:cubicBezTo>
                  <a:cubicBezTo>
                    <a:pt x="1466" y="282"/>
                    <a:pt x="1461" y="283"/>
                    <a:pt x="1463" y="278"/>
                  </a:cubicBezTo>
                  <a:cubicBezTo>
                    <a:pt x="1459" y="279"/>
                    <a:pt x="1457" y="279"/>
                    <a:pt x="1454" y="277"/>
                  </a:cubicBezTo>
                  <a:cubicBezTo>
                    <a:pt x="1456" y="275"/>
                    <a:pt x="1452" y="275"/>
                    <a:pt x="1451" y="272"/>
                  </a:cubicBezTo>
                  <a:cubicBezTo>
                    <a:pt x="1455" y="271"/>
                    <a:pt x="1454" y="267"/>
                    <a:pt x="1454" y="264"/>
                  </a:cubicBezTo>
                  <a:cubicBezTo>
                    <a:pt x="1458" y="267"/>
                    <a:pt x="1462" y="266"/>
                    <a:pt x="1467" y="265"/>
                  </a:cubicBezTo>
                  <a:cubicBezTo>
                    <a:pt x="1466" y="264"/>
                    <a:pt x="1465" y="262"/>
                    <a:pt x="1465" y="261"/>
                  </a:cubicBezTo>
                  <a:cubicBezTo>
                    <a:pt x="1468" y="263"/>
                    <a:pt x="1471" y="263"/>
                    <a:pt x="1475" y="260"/>
                  </a:cubicBezTo>
                  <a:cubicBezTo>
                    <a:pt x="1471" y="255"/>
                    <a:pt x="1471" y="251"/>
                    <a:pt x="1467" y="248"/>
                  </a:cubicBezTo>
                  <a:cubicBezTo>
                    <a:pt x="1472" y="242"/>
                    <a:pt x="1462" y="236"/>
                    <a:pt x="1462" y="229"/>
                  </a:cubicBezTo>
                  <a:cubicBezTo>
                    <a:pt x="1460" y="233"/>
                    <a:pt x="1453" y="231"/>
                    <a:pt x="1454" y="237"/>
                  </a:cubicBezTo>
                  <a:cubicBezTo>
                    <a:pt x="1451" y="235"/>
                    <a:pt x="1447" y="232"/>
                    <a:pt x="1444" y="232"/>
                  </a:cubicBezTo>
                  <a:cubicBezTo>
                    <a:pt x="1449" y="241"/>
                    <a:pt x="1437" y="241"/>
                    <a:pt x="1433" y="235"/>
                  </a:cubicBezTo>
                  <a:cubicBezTo>
                    <a:pt x="1432" y="238"/>
                    <a:pt x="1431" y="241"/>
                    <a:pt x="1429" y="244"/>
                  </a:cubicBezTo>
                  <a:cubicBezTo>
                    <a:pt x="1429" y="243"/>
                    <a:pt x="1428" y="243"/>
                    <a:pt x="1427" y="242"/>
                  </a:cubicBezTo>
                  <a:cubicBezTo>
                    <a:pt x="1426" y="237"/>
                    <a:pt x="1427" y="235"/>
                    <a:pt x="1429" y="234"/>
                  </a:cubicBezTo>
                  <a:cubicBezTo>
                    <a:pt x="1428" y="234"/>
                    <a:pt x="1427" y="234"/>
                    <a:pt x="1426" y="231"/>
                  </a:cubicBezTo>
                  <a:cubicBezTo>
                    <a:pt x="1424" y="233"/>
                    <a:pt x="1423" y="237"/>
                    <a:pt x="1420" y="233"/>
                  </a:cubicBezTo>
                  <a:cubicBezTo>
                    <a:pt x="1421" y="231"/>
                    <a:pt x="1426" y="230"/>
                    <a:pt x="1423" y="228"/>
                  </a:cubicBezTo>
                  <a:cubicBezTo>
                    <a:pt x="1420" y="233"/>
                    <a:pt x="1421" y="224"/>
                    <a:pt x="1417" y="223"/>
                  </a:cubicBezTo>
                  <a:cubicBezTo>
                    <a:pt x="1417" y="219"/>
                    <a:pt x="1421" y="220"/>
                    <a:pt x="1423" y="219"/>
                  </a:cubicBezTo>
                  <a:cubicBezTo>
                    <a:pt x="1423" y="215"/>
                    <a:pt x="1421" y="216"/>
                    <a:pt x="1421" y="214"/>
                  </a:cubicBezTo>
                  <a:cubicBezTo>
                    <a:pt x="1430" y="211"/>
                    <a:pt x="1433" y="205"/>
                    <a:pt x="1438" y="203"/>
                  </a:cubicBezTo>
                  <a:cubicBezTo>
                    <a:pt x="1435" y="204"/>
                    <a:pt x="1435" y="198"/>
                    <a:pt x="1437" y="196"/>
                  </a:cubicBezTo>
                  <a:cubicBezTo>
                    <a:pt x="1440" y="200"/>
                    <a:pt x="1440" y="193"/>
                    <a:pt x="1443" y="195"/>
                  </a:cubicBezTo>
                  <a:cubicBezTo>
                    <a:pt x="1443" y="199"/>
                    <a:pt x="1442" y="199"/>
                    <a:pt x="1439" y="200"/>
                  </a:cubicBezTo>
                  <a:cubicBezTo>
                    <a:pt x="1440" y="204"/>
                    <a:pt x="1442" y="203"/>
                    <a:pt x="1442" y="207"/>
                  </a:cubicBezTo>
                  <a:cubicBezTo>
                    <a:pt x="1446" y="207"/>
                    <a:pt x="1440" y="202"/>
                    <a:pt x="1442" y="201"/>
                  </a:cubicBezTo>
                  <a:cubicBezTo>
                    <a:pt x="1443" y="200"/>
                    <a:pt x="1444" y="199"/>
                    <a:pt x="1445" y="200"/>
                  </a:cubicBezTo>
                  <a:cubicBezTo>
                    <a:pt x="1446" y="202"/>
                    <a:pt x="1444" y="202"/>
                    <a:pt x="1446" y="204"/>
                  </a:cubicBezTo>
                  <a:cubicBezTo>
                    <a:pt x="1449" y="202"/>
                    <a:pt x="1451" y="205"/>
                    <a:pt x="1453" y="209"/>
                  </a:cubicBezTo>
                  <a:cubicBezTo>
                    <a:pt x="1455" y="208"/>
                    <a:pt x="1455" y="209"/>
                    <a:pt x="1458" y="210"/>
                  </a:cubicBezTo>
                  <a:cubicBezTo>
                    <a:pt x="1457" y="208"/>
                    <a:pt x="1456" y="208"/>
                    <a:pt x="1455" y="206"/>
                  </a:cubicBezTo>
                  <a:cubicBezTo>
                    <a:pt x="1455" y="205"/>
                    <a:pt x="1457" y="204"/>
                    <a:pt x="1457" y="202"/>
                  </a:cubicBezTo>
                  <a:cubicBezTo>
                    <a:pt x="1456" y="205"/>
                    <a:pt x="1463" y="207"/>
                    <a:pt x="1463" y="203"/>
                  </a:cubicBezTo>
                  <a:cubicBezTo>
                    <a:pt x="1461" y="202"/>
                    <a:pt x="1460" y="202"/>
                    <a:pt x="1459" y="201"/>
                  </a:cubicBezTo>
                  <a:cubicBezTo>
                    <a:pt x="1463" y="198"/>
                    <a:pt x="1467" y="203"/>
                    <a:pt x="1467" y="199"/>
                  </a:cubicBezTo>
                  <a:cubicBezTo>
                    <a:pt x="1466" y="199"/>
                    <a:pt x="1465" y="197"/>
                    <a:pt x="1464" y="196"/>
                  </a:cubicBezTo>
                  <a:cubicBezTo>
                    <a:pt x="1467" y="197"/>
                    <a:pt x="1469" y="194"/>
                    <a:pt x="1468" y="191"/>
                  </a:cubicBezTo>
                  <a:cubicBezTo>
                    <a:pt x="1466" y="192"/>
                    <a:pt x="1466" y="195"/>
                    <a:pt x="1463" y="192"/>
                  </a:cubicBezTo>
                  <a:cubicBezTo>
                    <a:pt x="1465" y="187"/>
                    <a:pt x="1454" y="179"/>
                    <a:pt x="1456" y="186"/>
                  </a:cubicBezTo>
                  <a:cubicBezTo>
                    <a:pt x="1461" y="182"/>
                    <a:pt x="1462" y="196"/>
                    <a:pt x="1459" y="187"/>
                  </a:cubicBezTo>
                  <a:cubicBezTo>
                    <a:pt x="1456" y="188"/>
                    <a:pt x="1460" y="192"/>
                    <a:pt x="1458" y="192"/>
                  </a:cubicBezTo>
                  <a:cubicBezTo>
                    <a:pt x="1449" y="181"/>
                    <a:pt x="1459" y="184"/>
                    <a:pt x="1456" y="175"/>
                  </a:cubicBezTo>
                  <a:cubicBezTo>
                    <a:pt x="1456" y="178"/>
                    <a:pt x="1454" y="181"/>
                    <a:pt x="1450" y="179"/>
                  </a:cubicBezTo>
                  <a:cubicBezTo>
                    <a:pt x="1443" y="168"/>
                    <a:pt x="1433" y="165"/>
                    <a:pt x="1428" y="169"/>
                  </a:cubicBezTo>
                  <a:cubicBezTo>
                    <a:pt x="1431" y="167"/>
                    <a:pt x="1428" y="163"/>
                    <a:pt x="1427" y="160"/>
                  </a:cubicBezTo>
                  <a:cubicBezTo>
                    <a:pt x="1424" y="162"/>
                    <a:pt x="1423" y="159"/>
                    <a:pt x="1419" y="154"/>
                  </a:cubicBezTo>
                  <a:cubicBezTo>
                    <a:pt x="1418" y="157"/>
                    <a:pt x="1418" y="158"/>
                    <a:pt x="1414" y="157"/>
                  </a:cubicBezTo>
                  <a:cubicBezTo>
                    <a:pt x="1414" y="159"/>
                    <a:pt x="1417" y="163"/>
                    <a:pt x="1415" y="164"/>
                  </a:cubicBezTo>
                  <a:cubicBezTo>
                    <a:pt x="1413" y="165"/>
                    <a:pt x="1408" y="166"/>
                    <a:pt x="1408" y="161"/>
                  </a:cubicBezTo>
                  <a:cubicBezTo>
                    <a:pt x="1406" y="164"/>
                    <a:pt x="1400" y="164"/>
                    <a:pt x="1403" y="171"/>
                  </a:cubicBezTo>
                  <a:cubicBezTo>
                    <a:pt x="1404" y="171"/>
                    <a:pt x="1405" y="171"/>
                    <a:pt x="1406" y="171"/>
                  </a:cubicBezTo>
                  <a:cubicBezTo>
                    <a:pt x="1404" y="173"/>
                    <a:pt x="1404" y="173"/>
                    <a:pt x="1404" y="173"/>
                  </a:cubicBezTo>
                  <a:cubicBezTo>
                    <a:pt x="1414" y="179"/>
                    <a:pt x="1408" y="193"/>
                    <a:pt x="1400" y="186"/>
                  </a:cubicBezTo>
                  <a:cubicBezTo>
                    <a:pt x="1401" y="186"/>
                    <a:pt x="1405" y="183"/>
                    <a:pt x="1402" y="183"/>
                  </a:cubicBezTo>
                  <a:cubicBezTo>
                    <a:pt x="1401" y="185"/>
                    <a:pt x="1399" y="184"/>
                    <a:pt x="1398" y="181"/>
                  </a:cubicBezTo>
                  <a:cubicBezTo>
                    <a:pt x="1400" y="182"/>
                    <a:pt x="1401" y="179"/>
                    <a:pt x="1400" y="176"/>
                  </a:cubicBezTo>
                  <a:cubicBezTo>
                    <a:pt x="1397" y="179"/>
                    <a:pt x="1395" y="176"/>
                    <a:pt x="1393" y="175"/>
                  </a:cubicBezTo>
                  <a:cubicBezTo>
                    <a:pt x="1393" y="182"/>
                    <a:pt x="1384" y="184"/>
                    <a:pt x="1382" y="191"/>
                  </a:cubicBezTo>
                  <a:cubicBezTo>
                    <a:pt x="1381" y="190"/>
                    <a:pt x="1380" y="190"/>
                    <a:pt x="1379" y="189"/>
                  </a:cubicBezTo>
                  <a:cubicBezTo>
                    <a:pt x="1380" y="188"/>
                    <a:pt x="1381" y="187"/>
                    <a:pt x="1380" y="185"/>
                  </a:cubicBezTo>
                  <a:cubicBezTo>
                    <a:pt x="1375" y="187"/>
                    <a:pt x="1377" y="191"/>
                    <a:pt x="1374" y="194"/>
                  </a:cubicBezTo>
                  <a:cubicBezTo>
                    <a:pt x="1371" y="191"/>
                    <a:pt x="1368" y="191"/>
                    <a:pt x="1372" y="195"/>
                  </a:cubicBezTo>
                  <a:cubicBezTo>
                    <a:pt x="1369" y="197"/>
                    <a:pt x="1367" y="197"/>
                    <a:pt x="1364" y="192"/>
                  </a:cubicBezTo>
                  <a:cubicBezTo>
                    <a:pt x="1364" y="195"/>
                    <a:pt x="1363" y="193"/>
                    <a:pt x="1361" y="194"/>
                  </a:cubicBezTo>
                  <a:cubicBezTo>
                    <a:pt x="1360" y="193"/>
                    <a:pt x="1360" y="191"/>
                    <a:pt x="1362" y="190"/>
                  </a:cubicBezTo>
                  <a:cubicBezTo>
                    <a:pt x="1361" y="189"/>
                    <a:pt x="1361" y="190"/>
                    <a:pt x="1360" y="190"/>
                  </a:cubicBezTo>
                  <a:cubicBezTo>
                    <a:pt x="1360" y="189"/>
                    <a:pt x="1360" y="189"/>
                    <a:pt x="1360" y="188"/>
                  </a:cubicBezTo>
                  <a:cubicBezTo>
                    <a:pt x="1362" y="187"/>
                    <a:pt x="1362" y="187"/>
                    <a:pt x="1362" y="187"/>
                  </a:cubicBezTo>
                  <a:cubicBezTo>
                    <a:pt x="1362" y="190"/>
                    <a:pt x="1363" y="189"/>
                    <a:pt x="1364" y="192"/>
                  </a:cubicBezTo>
                  <a:cubicBezTo>
                    <a:pt x="1368" y="187"/>
                    <a:pt x="1365" y="188"/>
                    <a:pt x="1368" y="185"/>
                  </a:cubicBezTo>
                  <a:cubicBezTo>
                    <a:pt x="1365" y="186"/>
                    <a:pt x="1363" y="183"/>
                    <a:pt x="1361" y="184"/>
                  </a:cubicBezTo>
                  <a:cubicBezTo>
                    <a:pt x="1360" y="182"/>
                    <a:pt x="1362" y="182"/>
                    <a:pt x="1361" y="180"/>
                  </a:cubicBezTo>
                  <a:cubicBezTo>
                    <a:pt x="1356" y="178"/>
                    <a:pt x="1360" y="185"/>
                    <a:pt x="1359" y="188"/>
                  </a:cubicBezTo>
                  <a:cubicBezTo>
                    <a:pt x="1355" y="190"/>
                    <a:pt x="1355" y="190"/>
                    <a:pt x="1355" y="190"/>
                  </a:cubicBezTo>
                  <a:cubicBezTo>
                    <a:pt x="1354" y="188"/>
                    <a:pt x="1353" y="186"/>
                    <a:pt x="1352" y="186"/>
                  </a:cubicBezTo>
                  <a:cubicBezTo>
                    <a:pt x="1354" y="190"/>
                    <a:pt x="1355" y="192"/>
                    <a:pt x="1355" y="195"/>
                  </a:cubicBezTo>
                  <a:cubicBezTo>
                    <a:pt x="1354" y="196"/>
                    <a:pt x="1352" y="192"/>
                    <a:pt x="1351" y="193"/>
                  </a:cubicBezTo>
                  <a:cubicBezTo>
                    <a:pt x="1352" y="194"/>
                    <a:pt x="1351" y="195"/>
                    <a:pt x="1350" y="195"/>
                  </a:cubicBezTo>
                  <a:cubicBezTo>
                    <a:pt x="1350" y="198"/>
                    <a:pt x="1351" y="204"/>
                    <a:pt x="1354" y="201"/>
                  </a:cubicBezTo>
                  <a:cubicBezTo>
                    <a:pt x="1354" y="198"/>
                    <a:pt x="1350" y="198"/>
                    <a:pt x="1352" y="197"/>
                  </a:cubicBezTo>
                  <a:cubicBezTo>
                    <a:pt x="1354" y="195"/>
                    <a:pt x="1355" y="198"/>
                    <a:pt x="1357" y="200"/>
                  </a:cubicBezTo>
                  <a:cubicBezTo>
                    <a:pt x="1357" y="203"/>
                    <a:pt x="1350" y="203"/>
                    <a:pt x="1348" y="205"/>
                  </a:cubicBezTo>
                  <a:cubicBezTo>
                    <a:pt x="1349" y="205"/>
                    <a:pt x="1351" y="207"/>
                    <a:pt x="1349" y="208"/>
                  </a:cubicBezTo>
                  <a:cubicBezTo>
                    <a:pt x="1346" y="205"/>
                    <a:pt x="1348" y="204"/>
                    <a:pt x="1346" y="201"/>
                  </a:cubicBezTo>
                  <a:cubicBezTo>
                    <a:pt x="1342" y="202"/>
                    <a:pt x="1343" y="205"/>
                    <a:pt x="1341" y="207"/>
                  </a:cubicBezTo>
                  <a:cubicBezTo>
                    <a:pt x="1340" y="206"/>
                    <a:pt x="1339" y="206"/>
                    <a:pt x="1338" y="204"/>
                  </a:cubicBezTo>
                  <a:cubicBezTo>
                    <a:pt x="1339" y="201"/>
                    <a:pt x="1332" y="213"/>
                    <a:pt x="1331" y="216"/>
                  </a:cubicBezTo>
                  <a:cubicBezTo>
                    <a:pt x="1330" y="215"/>
                    <a:pt x="1330" y="215"/>
                    <a:pt x="1329" y="214"/>
                  </a:cubicBezTo>
                  <a:cubicBezTo>
                    <a:pt x="1330" y="212"/>
                    <a:pt x="1328" y="208"/>
                    <a:pt x="1328" y="206"/>
                  </a:cubicBezTo>
                  <a:cubicBezTo>
                    <a:pt x="1329" y="204"/>
                    <a:pt x="1334" y="207"/>
                    <a:pt x="1333" y="203"/>
                  </a:cubicBezTo>
                  <a:cubicBezTo>
                    <a:pt x="1330" y="205"/>
                    <a:pt x="1327" y="203"/>
                    <a:pt x="1325" y="202"/>
                  </a:cubicBezTo>
                  <a:cubicBezTo>
                    <a:pt x="1328" y="200"/>
                    <a:pt x="1323" y="196"/>
                    <a:pt x="1324" y="191"/>
                  </a:cubicBezTo>
                  <a:cubicBezTo>
                    <a:pt x="1326" y="191"/>
                    <a:pt x="1335" y="196"/>
                    <a:pt x="1333" y="194"/>
                  </a:cubicBezTo>
                  <a:cubicBezTo>
                    <a:pt x="1332" y="194"/>
                    <a:pt x="1331" y="193"/>
                    <a:pt x="1331" y="192"/>
                  </a:cubicBezTo>
                  <a:cubicBezTo>
                    <a:pt x="1334" y="189"/>
                    <a:pt x="1341" y="192"/>
                    <a:pt x="1339" y="185"/>
                  </a:cubicBezTo>
                  <a:cubicBezTo>
                    <a:pt x="1337" y="187"/>
                    <a:pt x="1334" y="189"/>
                    <a:pt x="1331" y="189"/>
                  </a:cubicBezTo>
                  <a:cubicBezTo>
                    <a:pt x="1330" y="186"/>
                    <a:pt x="1331" y="184"/>
                    <a:pt x="1333" y="183"/>
                  </a:cubicBezTo>
                  <a:cubicBezTo>
                    <a:pt x="1339" y="183"/>
                    <a:pt x="1339" y="183"/>
                    <a:pt x="1339" y="183"/>
                  </a:cubicBezTo>
                  <a:cubicBezTo>
                    <a:pt x="1339" y="179"/>
                    <a:pt x="1332" y="174"/>
                    <a:pt x="1334" y="170"/>
                  </a:cubicBezTo>
                  <a:cubicBezTo>
                    <a:pt x="1331" y="171"/>
                    <a:pt x="1326" y="170"/>
                    <a:pt x="1326" y="173"/>
                  </a:cubicBezTo>
                  <a:cubicBezTo>
                    <a:pt x="1328" y="172"/>
                    <a:pt x="1329" y="174"/>
                    <a:pt x="1331" y="175"/>
                  </a:cubicBezTo>
                  <a:cubicBezTo>
                    <a:pt x="1328" y="186"/>
                    <a:pt x="1318" y="171"/>
                    <a:pt x="1315" y="166"/>
                  </a:cubicBezTo>
                  <a:cubicBezTo>
                    <a:pt x="1313" y="166"/>
                    <a:pt x="1311" y="166"/>
                    <a:pt x="1308" y="165"/>
                  </a:cubicBezTo>
                  <a:cubicBezTo>
                    <a:pt x="1306" y="160"/>
                    <a:pt x="1313" y="160"/>
                    <a:pt x="1310" y="155"/>
                  </a:cubicBezTo>
                  <a:cubicBezTo>
                    <a:pt x="1307" y="154"/>
                    <a:pt x="1310" y="160"/>
                    <a:pt x="1307" y="158"/>
                  </a:cubicBezTo>
                  <a:cubicBezTo>
                    <a:pt x="1309" y="154"/>
                    <a:pt x="1302" y="151"/>
                    <a:pt x="1306" y="148"/>
                  </a:cubicBezTo>
                  <a:cubicBezTo>
                    <a:pt x="1308" y="152"/>
                    <a:pt x="1308" y="152"/>
                    <a:pt x="1308" y="152"/>
                  </a:cubicBezTo>
                  <a:cubicBezTo>
                    <a:pt x="1313" y="151"/>
                    <a:pt x="1304" y="143"/>
                    <a:pt x="1306" y="140"/>
                  </a:cubicBezTo>
                  <a:cubicBezTo>
                    <a:pt x="1307" y="140"/>
                    <a:pt x="1311" y="140"/>
                    <a:pt x="1309" y="137"/>
                  </a:cubicBezTo>
                  <a:cubicBezTo>
                    <a:pt x="1307" y="134"/>
                    <a:pt x="1305" y="140"/>
                    <a:pt x="1304" y="135"/>
                  </a:cubicBezTo>
                  <a:cubicBezTo>
                    <a:pt x="1303" y="133"/>
                    <a:pt x="1306" y="133"/>
                    <a:pt x="1305" y="132"/>
                  </a:cubicBezTo>
                  <a:cubicBezTo>
                    <a:pt x="1302" y="132"/>
                    <a:pt x="1304" y="128"/>
                    <a:pt x="1302" y="126"/>
                  </a:cubicBezTo>
                  <a:cubicBezTo>
                    <a:pt x="1299" y="127"/>
                    <a:pt x="1297" y="129"/>
                    <a:pt x="1294" y="125"/>
                  </a:cubicBezTo>
                  <a:cubicBezTo>
                    <a:pt x="1298" y="131"/>
                    <a:pt x="1294" y="130"/>
                    <a:pt x="1298" y="133"/>
                  </a:cubicBezTo>
                  <a:cubicBezTo>
                    <a:pt x="1296" y="132"/>
                    <a:pt x="1293" y="132"/>
                    <a:pt x="1293" y="128"/>
                  </a:cubicBezTo>
                  <a:cubicBezTo>
                    <a:pt x="1286" y="133"/>
                    <a:pt x="1279" y="134"/>
                    <a:pt x="1274" y="139"/>
                  </a:cubicBezTo>
                  <a:cubicBezTo>
                    <a:pt x="1271" y="136"/>
                    <a:pt x="1268" y="136"/>
                    <a:pt x="1265" y="132"/>
                  </a:cubicBezTo>
                  <a:cubicBezTo>
                    <a:pt x="1263" y="129"/>
                    <a:pt x="1267" y="129"/>
                    <a:pt x="1266" y="127"/>
                  </a:cubicBezTo>
                  <a:cubicBezTo>
                    <a:pt x="1265" y="127"/>
                    <a:pt x="1265" y="126"/>
                    <a:pt x="1265" y="125"/>
                  </a:cubicBezTo>
                  <a:cubicBezTo>
                    <a:pt x="1262" y="125"/>
                    <a:pt x="1258" y="123"/>
                    <a:pt x="1255" y="122"/>
                  </a:cubicBezTo>
                  <a:cubicBezTo>
                    <a:pt x="1261" y="122"/>
                    <a:pt x="1255" y="116"/>
                    <a:pt x="1259" y="113"/>
                  </a:cubicBezTo>
                  <a:cubicBezTo>
                    <a:pt x="1261" y="117"/>
                    <a:pt x="1267" y="114"/>
                    <a:pt x="1267" y="111"/>
                  </a:cubicBezTo>
                  <a:cubicBezTo>
                    <a:pt x="1262" y="109"/>
                    <a:pt x="1260" y="114"/>
                    <a:pt x="1257" y="110"/>
                  </a:cubicBezTo>
                  <a:cubicBezTo>
                    <a:pt x="1259" y="109"/>
                    <a:pt x="1263" y="107"/>
                    <a:pt x="1261" y="103"/>
                  </a:cubicBezTo>
                  <a:cubicBezTo>
                    <a:pt x="1257" y="105"/>
                    <a:pt x="1253" y="102"/>
                    <a:pt x="1250" y="101"/>
                  </a:cubicBezTo>
                  <a:cubicBezTo>
                    <a:pt x="1251" y="99"/>
                    <a:pt x="1264" y="100"/>
                    <a:pt x="1263" y="95"/>
                  </a:cubicBezTo>
                  <a:cubicBezTo>
                    <a:pt x="1257" y="96"/>
                    <a:pt x="1252" y="93"/>
                    <a:pt x="1247" y="87"/>
                  </a:cubicBezTo>
                  <a:cubicBezTo>
                    <a:pt x="1244" y="87"/>
                    <a:pt x="1245" y="92"/>
                    <a:pt x="1243" y="90"/>
                  </a:cubicBezTo>
                  <a:cubicBezTo>
                    <a:pt x="1247" y="88"/>
                    <a:pt x="1237" y="85"/>
                    <a:pt x="1239" y="89"/>
                  </a:cubicBezTo>
                  <a:cubicBezTo>
                    <a:pt x="1241" y="88"/>
                    <a:pt x="1244" y="94"/>
                    <a:pt x="1241" y="95"/>
                  </a:cubicBezTo>
                  <a:cubicBezTo>
                    <a:pt x="1241" y="92"/>
                    <a:pt x="1238" y="90"/>
                    <a:pt x="1236" y="88"/>
                  </a:cubicBezTo>
                  <a:cubicBezTo>
                    <a:pt x="1231" y="91"/>
                    <a:pt x="1227" y="94"/>
                    <a:pt x="1226" y="99"/>
                  </a:cubicBezTo>
                  <a:cubicBezTo>
                    <a:pt x="1228" y="97"/>
                    <a:pt x="1230" y="100"/>
                    <a:pt x="1230" y="96"/>
                  </a:cubicBezTo>
                  <a:cubicBezTo>
                    <a:pt x="1235" y="100"/>
                    <a:pt x="1236" y="104"/>
                    <a:pt x="1241" y="105"/>
                  </a:cubicBezTo>
                  <a:cubicBezTo>
                    <a:pt x="1238" y="107"/>
                    <a:pt x="1238" y="106"/>
                    <a:pt x="1237" y="110"/>
                  </a:cubicBezTo>
                  <a:cubicBezTo>
                    <a:pt x="1235" y="108"/>
                    <a:pt x="1237" y="105"/>
                    <a:pt x="1235" y="107"/>
                  </a:cubicBezTo>
                  <a:cubicBezTo>
                    <a:pt x="1235" y="114"/>
                    <a:pt x="1229" y="114"/>
                    <a:pt x="1225" y="112"/>
                  </a:cubicBezTo>
                  <a:cubicBezTo>
                    <a:pt x="1222" y="116"/>
                    <a:pt x="1214" y="131"/>
                    <a:pt x="1208" y="122"/>
                  </a:cubicBezTo>
                  <a:cubicBezTo>
                    <a:pt x="1207" y="123"/>
                    <a:pt x="1207" y="124"/>
                    <a:pt x="1207" y="125"/>
                  </a:cubicBezTo>
                  <a:cubicBezTo>
                    <a:pt x="1205" y="127"/>
                    <a:pt x="1209" y="124"/>
                    <a:pt x="1210" y="128"/>
                  </a:cubicBezTo>
                  <a:cubicBezTo>
                    <a:pt x="1209" y="128"/>
                    <a:pt x="1209" y="129"/>
                    <a:pt x="1209" y="130"/>
                  </a:cubicBezTo>
                  <a:cubicBezTo>
                    <a:pt x="1207" y="129"/>
                    <a:pt x="1202" y="125"/>
                    <a:pt x="1203" y="127"/>
                  </a:cubicBezTo>
                  <a:cubicBezTo>
                    <a:pt x="1204" y="134"/>
                    <a:pt x="1192" y="140"/>
                    <a:pt x="1190" y="147"/>
                  </a:cubicBezTo>
                  <a:cubicBezTo>
                    <a:pt x="1188" y="145"/>
                    <a:pt x="1183" y="146"/>
                    <a:pt x="1183" y="148"/>
                  </a:cubicBezTo>
                  <a:cubicBezTo>
                    <a:pt x="1183" y="148"/>
                    <a:pt x="1187" y="150"/>
                    <a:pt x="1185" y="151"/>
                  </a:cubicBezTo>
                  <a:cubicBezTo>
                    <a:pt x="1184" y="153"/>
                    <a:pt x="1180" y="149"/>
                    <a:pt x="1182" y="153"/>
                  </a:cubicBezTo>
                  <a:cubicBezTo>
                    <a:pt x="1182" y="153"/>
                    <a:pt x="1183" y="153"/>
                    <a:pt x="1182" y="154"/>
                  </a:cubicBezTo>
                  <a:cubicBezTo>
                    <a:pt x="1179" y="155"/>
                    <a:pt x="1176" y="150"/>
                    <a:pt x="1173" y="148"/>
                  </a:cubicBezTo>
                  <a:cubicBezTo>
                    <a:pt x="1171" y="145"/>
                    <a:pt x="1173" y="140"/>
                    <a:pt x="1170" y="139"/>
                  </a:cubicBezTo>
                  <a:cubicBezTo>
                    <a:pt x="1170" y="144"/>
                    <a:pt x="1159" y="141"/>
                    <a:pt x="1155" y="138"/>
                  </a:cubicBezTo>
                  <a:cubicBezTo>
                    <a:pt x="1157" y="135"/>
                    <a:pt x="1156" y="128"/>
                    <a:pt x="1162" y="129"/>
                  </a:cubicBezTo>
                  <a:cubicBezTo>
                    <a:pt x="1160" y="124"/>
                    <a:pt x="1161" y="122"/>
                    <a:pt x="1163" y="120"/>
                  </a:cubicBezTo>
                  <a:cubicBezTo>
                    <a:pt x="1163" y="123"/>
                    <a:pt x="1166" y="124"/>
                    <a:pt x="1167" y="124"/>
                  </a:cubicBezTo>
                  <a:cubicBezTo>
                    <a:pt x="1164" y="119"/>
                    <a:pt x="1164" y="117"/>
                    <a:pt x="1166" y="120"/>
                  </a:cubicBezTo>
                  <a:cubicBezTo>
                    <a:pt x="1163" y="115"/>
                    <a:pt x="1169" y="117"/>
                    <a:pt x="1166" y="114"/>
                  </a:cubicBezTo>
                  <a:cubicBezTo>
                    <a:pt x="1161" y="113"/>
                    <a:pt x="1164" y="119"/>
                    <a:pt x="1159" y="118"/>
                  </a:cubicBezTo>
                  <a:cubicBezTo>
                    <a:pt x="1160" y="111"/>
                    <a:pt x="1168" y="111"/>
                    <a:pt x="1164" y="101"/>
                  </a:cubicBezTo>
                  <a:cubicBezTo>
                    <a:pt x="1168" y="99"/>
                    <a:pt x="1170" y="99"/>
                    <a:pt x="1173" y="98"/>
                  </a:cubicBezTo>
                  <a:cubicBezTo>
                    <a:pt x="1169" y="96"/>
                    <a:pt x="1176" y="94"/>
                    <a:pt x="1176" y="92"/>
                  </a:cubicBezTo>
                  <a:cubicBezTo>
                    <a:pt x="1174" y="87"/>
                    <a:pt x="1172" y="90"/>
                    <a:pt x="1170" y="85"/>
                  </a:cubicBezTo>
                  <a:cubicBezTo>
                    <a:pt x="1168" y="87"/>
                    <a:pt x="1167" y="91"/>
                    <a:pt x="1165" y="87"/>
                  </a:cubicBezTo>
                  <a:cubicBezTo>
                    <a:pt x="1168" y="83"/>
                    <a:pt x="1172" y="84"/>
                    <a:pt x="1174" y="80"/>
                  </a:cubicBezTo>
                  <a:cubicBezTo>
                    <a:pt x="1172" y="79"/>
                    <a:pt x="1175" y="74"/>
                    <a:pt x="1175" y="72"/>
                  </a:cubicBezTo>
                  <a:cubicBezTo>
                    <a:pt x="1174" y="72"/>
                    <a:pt x="1173" y="71"/>
                    <a:pt x="1173" y="69"/>
                  </a:cubicBezTo>
                  <a:cubicBezTo>
                    <a:pt x="1171" y="70"/>
                    <a:pt x="1169" y="69"/>
                    <a:pt x="1168" y="68"/>
                  </a:cubicBezTo>
                  <a:cubicBezTo>
                    <a:pt x="1170" y="65"/>
                    <a:pt x="1165" y="66"/>
                    <a:pt x="1164" y="63"/>
                  </a:cubicBezTo>
                  <a:cubicBezTo>
                    <a:pt x="1163" y="61"/>
                    <a:pt x="1167" y="61"/>
                    <a:pt x="1164" y="58"/>
                  </a:cubicBezTo>
                  <a:cubicBezTo>
                    <a:pt x="1162" y="58"/>
                    <a:pt x="1157" y="58"/>
                    <a:pt x="1159" y="62"/>
                  </a:cubicBezTo>
                  <a:cubicBezTo>
                    <a:pt x="1163" y="60"/>
                    <a:pt x="1164" y="69"/>
                    <a:pt x="1163" y="73"/>
                  </a:cubicBezTo>
                  <a:cubicBezTo>
                    <a:pt x="1158" y="68"/>
                    <a:pt x="1155" y="77"/>
                    <a:pt x="1148" y="70"/>
                  </a:cubicBezTo>
                  <a:cubicBezTo>
                    <a:pt x="1149" y="72"/>
                    <a:pt x="1149" y="74"/>
                    <a:pt x="1149" y="76"/>
                  </a:cubicBezTo>
                  <a:cubicBezTo>
                    <a:pt x="1144" y="76"/>
                    <a:pt x="1141" y="76"/>
                    <a:pt x="1140" y="69"/>
                  </a:cubicBezTo>
                  <a:cubicBezTo>
                    <a:pt x="1138" y="70"/>
                    <a:pt x="1137" y="69"/>
                    <a:pt x="1135" y="68"/>
                  </a:cubicBezTo>
                  <a:cubicBezTo>
                    <a:pt x="1135" y="66"/>
                    <a:pt x="1140" y="63"/>
                    <a:pt x="1142" y="66"/>
                  </a:cubicBezTo>
                  <a:cubicBezTo>
                    <a:pt x="1144" y="65"/>
                    <a:pt x="1143" y="63"/>
                    <a:pt x="1146" y="64"/>
                  </a:cubicBezTo>
                  <a:cubicBezTo>
                    <a:pt x="1146" y="61"/>
                    <a:pt x="1145" y="58"/>
                    <a:pt x="1145" y="55"/>
                  </a:cubicBezTo>
                  <a:cubicBezTo>
                    <a:pt x="1150" y="55"/>
                    <a:pt x="1147" y="51"/>
                    <a:pt x="1151" y="51"/>
                  </a:cubicBezTo>
                  <a:cubicBezTo>
                    <a:pt x="1147" y="43"/>
                    <a:pt x="1147" y="43"/>
                    <a:pt x="1147" y="43"/>
                  </a:cubicBezTo>
                  <a:cubicBezTo>
                    <a:pt x="1144" y="43"/>
                    <a:pt x="1146" y="49"/>
                    <a:pt x="1143" y="46"/>
                  </a:cubicBezTo>
                  <a:cubicBezTo>
                    <a:pt x="1145" y="43"/>
                    <a:pt x="1143" y="37"/>
                    <a:pt x="1140" y="35"/>
                  </a:cubicBezTo>
                  <a:cubicBezTo>
                    <a:pt x="1140" y="33"/>
                    <a:pt x="1141" y="33"/>
                    <a:pt x="1143" y="34"/>
                  </a:cubicBezTo>
                  <a:cubicBezTo>
                    <a:pt x="1140" y="32"/>
                    <a:pt x="1137" y="28"/>
                    <a:pt x="1138" y="25"/>
                  </a:cubicBezTo>
                  <a:cubicBezTo>
                    <a:pt x="1136" y="26"/>
                    <a:pt x="1134" y="26"/>
                    <a:pt x="1133" y="23"/>
                  </a:cubicBezTo>
                  <a:cubicBezTo>
                    <a:pt x="1131" y="24"/>
                    <a:pt x="1132" y="25"/>
                    <a:pt x="1130" y="26"/>
                  </a:cubicBezTo>
                  <a:cubicBezTo>
                    <a:pt x="1129" y="24"/>
                    <a:pt x="1128" y="23"/>
                    <a:pt x="1127" y="22"/>
                  </a:cubicBezTo>
                  <a:cubicBezTo>
                    <a:pt x="1129" y="20"/>
                    <a:pt x="1127" y="15"/>
                    <a:pt x="1125" y="9"/>
                  </a:cubicBezTo>
                  <a:cubicBezTo>
                    <a:pt x="1125" y="9"/>
                    <a:pt x="1124" y="9"/>
                    <a:pt x="1123" y="8"/>
                  </a:cubicBezTo>
                  <a:cubicBezTo>
                    <a:pt x="1122" y="12"/>
                    <a:pt x="1118" y="6"/>
                    <a:pt x="1119" y="12"/>
                  </a:cubicBezTo>
                  <a:cubicBezTo>
                    <a:pt x="1115" y="8"/>
                    <a:pt x="1115" y="6"/>
                    <a:pt x="1114" y="3"/>
                  </a:cubicBezTo>
                  <a:cubicBezTo>
                    <a:pt x="1116" y="4"/>
                    <a:pt x="1117" y="3"/>
                    <a:pt x="1116" y="0"/>
                  </a:cubicBezTo>
                  <a:cubicBezTo>
                    <a:pt x="1113" y="2"/>
                    <a:pt x="1111" y="4"/>
                    <a:pt x="1111" y="9"/>
                  </a:cubicBezTo>
                  <a:cubicBezTo>
                    <a:pt x="1110" y="9"/>
                    <a:pt x="1105" y="9"/>
                    <a:pt x="1106" y="5"/>
                  </a:cubicBezTo>
                  <a:cubicBezTo>
                    <a:pt x="1103" y="3"/>
                    <a:pt x="1101" y="4"/>
                    <a:pt x="1100" y="7"/>
                  </a:cubicBezTo>
                  <a:cubicBezTo>
                    <a:pt x="1098" y="2"/>
                    <a:pt x="1094" y="7"/>
                    <a:pt x="1094" y="2"/>
                  </a:cubicBezTo>
                  <a:cubicBezTo>
                    <a:pt x="1091" y="2"/>
                    <a:pt x="1096" y="7"/>
                    <a:pt x="1094" y="8"/>
                  </a:cubicBezTo>
                  <a:cubicBezTo>
                    <a:pt x="1087" y="5"/>
                    <a:pt x="1077" y="13"/>
                    <a:pt x="1073" y="23"/>
                  </a:cubicBezTo>
                  <a:cubicBezTo>
                    <a:pt x="1073" y="22"/>
                    <a:pt x="1074" y="22"/>
                    <a:pt x="1075" y="23"/>
                  </a:cubicBezTo>
                  <a:cubicBezTo>
                    <a:pt x="1068" y="27"/>
                    <a:pt x="1054" y="22"/>
                    <a:pt x="1056" y="35"/>
                  </a:cubicBezTo>
                  <a:cubicBezTo>
                    <a:pt x="1053" y="35"/>
                    <a:pt x="1055" y="31"/>
                    <a:pt x="1053" y="31"/>
                  </a:cubicBezTo>
                  <a:cubicBezTo>
                    <a:pt x="1053" y="32"/>
                    <a:pt x="1052" y="33"/>
                    <a:pt x="1051" y="32"/>
                  </a:cubicBezTo>
                  <a:cubicBezTo>
                    <a:pt x="1051" y="31"/>
                    <a:pt x="1051" y="31"/>
                    <a:pt x="1050" y="29"/>
                  </a:cubicBezTo>
                  <a:cubicBezTo>
                    <a:pt x="1053" y="29"/>
                    <a:pt x="1054" y="29"/>
                    <a:pt x="1052" y="25"/>
                  </a:cubicBezTo>
                  <a:cubicBezTo>
                    <a:pt x="1041" y="30"/>
                    <a:pt x="1029" y="37"/>
                    <a:pt x="1020" y="41"/>
                  </a:cubicBezTo>
                  <a:cubicBezTo>
                    <a:pt x="1018" y="42"/>
                    <a:pt x="1018" y="47"/>
                    <a:pt x="1014" y="43"/>
                  </a:cubicBezTo>
                  <a:cubicBezTo>
                    <a:pt x="1015" y="46"/>
                    <a:pt x="1016" y="45"/>
                    <a:pt x="1017" y="46"/>
                  </a:cubicBezTo>
                  <a:cubicBezTo>
                    <a:pt x="1017" y="48"/>
                    <a:pt x="1017" y="50"/>
                    <a:pt x="1016" y="51"/>
                  </a:cubicBezTo>
                  <a:cubicBezTo>
                    <a:pt x="1012" y="48"/>
                    <a:pt x="1007" y="53"/>
                    <a:pt x="1006" y="58"/>
                  </a:cubicBezTo>
                  <a:cubicBezTo>
                    <a:pt x="994" y="59"/>
                    <a:pt x="992" y="71"/>
                    <a:pt x="983" y="69"/>
                  </a:cubicBezTo>
                  <a:cubicBezTo>
                    <a:pt x="980" y="76"/>
                    <a:pt x="961" y="75"/>
                    <a:pt x="960" y="87"/>
                  </a:cubicBezTo>
                  <a:cubicBezTo>
                    <a:pt x="959" y="87"/>
                    <a:pt x="958" y="88"/>
                    <a:pt x="957" y="86"/>
                  </a:cubicBezTo>
                  <a:cubicBezTo>
                    <a:pt x="954" y="87"/>
                    <a:pt x="959" y="92"/>
                    <a:pt x="955" y="93"/>
                  </a:cubicBezTo>
                  <a:cubicBezTo>
                    <a:pt x="954" y="94"/>
                    <a:pt x="953" y="90"/>
                    <a:pt x="951" y="91"/>
                  </a:cubicBezTo>
                  <a:cubicBezTo>
                    <a:pt x="951" y="95"/>
                    <a:pt x="949" y="96"/>
                    <a:pt x="951" y="97"/>
                  </a:cubicBezTo>
                  <a:cubicBezTo>
                    <a:pt x="948" y="97"/>
                    <a:pt x="946" y="94"/>
                    <a:pt x="943" y="94"/>
                  </a:cubicBezTo>
                  <a:cubicBezTo>
                    <a:pt x="945" y="101"/>
                    <a:pt x="939" y="97"/>
                    <a:pt x="937" y="97"/>
                  </a:cubicBezTo>
                  <a:cubicBezTo>
                    <a:pt x="930" y="106"/>
                    <a:pt x="915" y="111"/>
                    <a:pt x="908" y="126"/>
                  </a:cubicBezTo>
                  <a:cubicBezTo>
                    <a:pt x="911" y="125"/>
                    <a:pt x="915" y="122"/>
                    <a:pt x="914" y="128"/>
                  </a:cubicBezTo>
                  <a:cubicBezTo>
                    <a:pt x="914" y="121"/>
                    <a:pt x="920" y="122"/>
                    <a:pt x="919" y="114"/>
                  </a:cubicBezTo>
                  <a:cubicBezTo>
                    <a:pt x="923" y="117"/>
                    <a:pt x="927" y="112"/>
                    <a:pt x="927" y="107"/>
                  </a:cubicBezTo>
                  <a:cubicBezTo>
                    <a:pt x="931" y="108"/>
                    <a:pt x="931" y="108"/>
                    <a:pt x="933" y="105"/>
                  </a:cubicBezTo>
                  <a:cubicBezTo>
                    <a:pt x="934" y="108"/>
                    <a:pt x="935" y="107"/>
                    <a:pt x="937" y="108"/>
                  </a:cubicBezTo>
                  <a:cubicBezTo>
                    <a:pt x="936" y="117"/>
                    <a:pt x="928" y="116"/>
                    <a:pt x="923" y="123"/>
                  </a:cubicBezTo>
                  <a:cubicBezTo>
                    <a:pt x="933" y="122"/>
                    <a:pt x="937" y="118"/>
                    <a:pt x="944" y="112"/>
                  </a:cubicBezTo>
                  <a:cubicBezTo>
                    <a:pt x="945" y="115"/>
                    <a:pt x="947" y="116"/>
                    <a:pt x="948" y="116"/>
                  </a:cubicBezTo>
                  <a:cubicBezTo>
                    <a:pt x="947" y="106"/>
                    <a:pt x="963" y="102"/>
                    <a:pt x="968" y="105"/>
                  </a:cubicBezTo>
                  <a:cubicBezTo>
                    <a:pt x="972" y="99"/>
                    <a:pt x="974" y="91"/>
                    <a:pt x="981" y="95"/>
                  </a:cubicBezTo>
                  <a:cubicBezTo>
                    <a:pt x="979" y="93"/>
                    <a:pt x="986" y="82"/>
                    <a:pt x="990" y="88"/>
                  </a:cubicBezTo>
                  <a:cubicBezTo>
                    <a:pt x="991" y="89"/>
                    <a:pt x="989" y="90"/>
                    <a:pt x="989" y="91"/>
                  </a:cubicBezTo>
                  <a:cubicBezTo>
                    <a:pt x="992" y="92"/>
                    <a:pt x="993" y="84"/>
                    <a:pt x="998" y="89"/>
                  </a:cubicBezTo>
                  <a:cubicBezTo>
                    <a:pt x="995" y="79"/>
                    <a:pt x="1011" y="83"/>
                    <a:pt x="1011" y="72"/>
                  </a:cubicBezTo>
                  <a:cubicBezTo>
                    <a:pt x="1013" y="72"/>
                    <a:pt x="1015" y="74"/>
                    <a:pt x="1016" y="77"/>
                  </a:cubicBezTo>
                  <a:cubicBezTo>
                    <a:pt x="1018" y="73"/>
                    <a:pt x="1019" y="73"/>
                    <a:pt x="1022" y="67"/>
                  </a:cubicBezTo>
                  <a:cubicBezTo>
                    <a:pt x="1032" y="77"/>
                    <a:pt x="1039" y="55"/>
                    <a:pt x="1048" y="63"/>
                  </a:cubicBezTo>
                  <a:cubicBezTo>
                    <a:pt x="1041" y="70"/>
                    <a:pt x="1024" y="80"/>
                    <a:pt x="1017" y="94"/>
                  </a:cubicBezTo>
                  <a:cubicBezTo>
                    <a:pt x="1020" y="89"/>
                    <a:pt x="1028" y="92"/>
                    <a:pt x="1027" y="84"/>
                  </a:cubicBezTo>
                  <a:cubicBezTo>
                    <a:pt x="1030" y="91"/>
                    <a:pt x="1034" y="83"/>
                    <a:pt x="1037" y="88"/>
                  </a:cubicBezTo>
                  <a:cubicBezTo>
                    <a:pt x="1030" y="90"/>
                    <a:pt x="1024" y="103"/>
                    <a:pt x="1016" y="96"/>
                  </a:cubicBezTo>
                  <a:cubicBezTo>
                    <a:pt x="1018" y="100"/>
                    <a:pt x="1021" y="98"/>
                    <a:pt x="1023" y="101"/>
                  </a:cubicBezTo>
                  <a:cubicBezTo>
                    <a:pt x="1018" y="105"/>
                    <a:pt x="1009" y="98"/>
                    <a:pt x="1008" y="110"/>
                  </a:cubicBezTo>
                  <a:cubicBezTo>
                    <a:pt x="1007" y="106"/>
                    <a:pt x="1007" y="107"/>
                    <a:pt x="1004" y="105"/>
                  </a:cubicBezTo>
                  <a:cubicBezTo>
                    <a:pt x="999" y="110"/>
                    <a:pt x="991" y="113"/>
                    <a:pt x="987" y="114"/>
                  </a:cubicBezTo>
                  <a:cubicBezTo>
                    <a:pt x="984" y="115"/>
                    <a:pt x="979" y="113"/>
                    <a:pt x="977" y="114"/>
                  </a:cubicBezTo>
                  <a:cubicBezTo>
                    <a:pt x="975" y="116"/>
                    <a:pt x="975" y="119"/>
                    <a:pt x="973" y="120"/>
                  </a:cubicBezTo>
                  <a:cubicBezTo>
                    <a:pt x="971" y="121"/>
                    <a:pt x="963" y="121"/>
                    <a:pt x="966" y="120"/>
                  </a:cubicBezTo>
                  <a:cubicBezTo>
                    <a:pt x="962" y="121"/>
                    <a:pt x="957" y="122"/>
                    <a:pt x="956" y="128"/>
                  </a:cubicBezTo>
                  <a:cubicBezTo>
                    <a:pt x="954" y="122"/>
                    <a:pt x="950" y="132"/>
                    <a:pt x="948" y="127"/>
                  </a:cubicBezTo>
                  <a:cubicBezTo>
                    <a:pt x="945" y="129"/>
                    <a:pt x="948" y="133"/>
                    <a:pt x="943" y="134"/>
                  </a:cubicBezTo>
                  <a:cubicBezTo>
                    <a:pt x="941" y="132"/>
                    <a:pt x="938" y="130"/>
                    <a:pt x="936" y="131"/>
                  </a:cubicBezTo>
                  <a:cubicBezTo>
                    <a:pt x="931" y="137"/>
                    <a:pt x="928" y="145"/>
                    <a:pt x="918" y="146"/>
                  </a:cubicBezTo>
                  <a:cubicBezTo>
                    <a:pt x="918" y="147"/>
                    <a:pt x="920" y="149"/>
                    <a:pt x="919" y="150"/>
                  </a:cubicBezTo>
                  <a:cubicBezTo>
                    <a:pt x="913" y="154"/>
                    <a:pt x="912" y="164"/>
                    <a:pt x="904" y="158"/>
                  </a:cubicBezTo>
                  <a:cubicBezTo>
                    <a:pt x="905" y="166"/>
                    <a:pt x="898" y="161"/>
                    <a:pt x="895" y="163"/>
                  </a:cubicBezTo>
                  <a:cubicBezTo>
                    <a:pt x="892" y="165"/>
                    <a:pt x="888" y="177"/>
                    <a:pt x="883" y="169"/>
                  </a:cubicBezTo>
                  <a:cubicBezTo>
                    <a:pt x="883" y="171"/>
                    <a:pt x="885" y="174"/>
                    <a:pt x="883" y="176"/>
                  </a:cubicBezTo>
                  <a:cubicBezTo>
                    <a:pt x="881" y="172"/>
                    <a:pt x="879" y="174"/>
                    <a:pt x="877" y="173"/>
                  </a:cubicBezTo>
                  <a:cubicBezTo>
                    <a:pt x="880" y="183"/>
                    <a:pt x="868" y="180"/>
                    <a:pt x="868" y="185"/>
                  </a:cubicBezTo>
                  <a:cubicBezTo>
                    <a:pt x="857" y="182"/>
                    <a:pt x="855" y="197"/>
                    <a:pt x="846" y="197"/>
                  </a:cubicBezTo>
                  <a:cubicBezTo>
                    <a:pt x="845" y="196"/>
                    <a:pt x="844" y="193"/>
                    <a:pt x="843" y="195"/>
                  </a:cubicBezTo>
                  <a:cubicBezTo>
                    <a:pt x="844" y="197"/>
                    <a:pt x="847" y="199"/>
                    <a:pt x="845" y="201"/>
                  </a:cubicBezTo>
                  <a:cubicBezTo>
                    <a:pt x="842" y="204"/>
                    <a:pt x="840" y="201"/>
                    <a:pt x="837" y="202"/>
                  </a:cubicBezTo>
                  <a:cubicBezTo>
                    <a:pt x="838" y="204"/>
                    <a:pt x="840" y="204"/>
                    <a:pt x="839" y="207"/>
                  </a:cubicBezTo>
                  <a:cubicBezTo>
                    <a:pt x="836" y="206"/>
                    <a:pt x="826" y="207"/>
                    <a:pt x="828" y="212"/>
                  </a:cubicBezTo>
                  <a:cubicBezTo>
                    <a:pt x="818" y="217"/>
                    <a:pt x="810" y="220"/>
                    <a:pt x="805" y="226"/>
                  </a:cubicBezTo>
                  <a:cubicBezTo>
                    <a:pt x="801" y="222"/>
                    <a:pt x="796" y="230"/>
                    <a:pt x="792" y="231"/>
                  </a:cubicBezTo>
                  <a:cubicBezTo>
                    <a:pt x="789" y="232"/>
                    <a:pt x="787" y="229"/>
                    <a:pt x="784" y="229"/>
                  </a:cubicBezTo>
                  <a:cubicBezTo>
                    <a:pt x="781" y="229"/>
                    <a:pt x="778" y="234"/>
                    <a:pt x="774" y="235"/>
                  </a:cubicBezTo>
                  <a:cubicBezTo>
                    <a:pt x="765" y="238"/>
                    <a:pt x="764" y="242"/>
                    <a:pt x="756" y="245"/>
                  </a:cubicBezTo>
                  <a:cubicBezTo>
                    <a:pt x="754" y="243"/>
                    <a:pt x="758" y="243"/>
                    <a:pt x="756" y="241"/>
                  </a:cubicBezTo>
                  <a:cubicBezTo>
                    <a:pt x="753" y="242"/>
                    <a:pt x="755" y="246"/>
                    <a:pt x="753" y="248"/>
                  </a:cubicBezTo>
                  <a:cubicBezTo>
                    <a:pt x="750" y="246"/>
                    <a:pt x="745" y="254"/>
                    <a:pt x="744" y="247"/>
                  </a:cubicBezTo>
                  <a:cubicBezTo>
                    <a:pt x="739" y="249"/>
                    <a:pt x="743" y="255"/>
                    <a:pt x="740" y="257"/>
                  </a:cubicBezTo>
                  <a:cubicBezTo>
                    <a:pt x="738" y="258"/>
                    <a:pt x="736" y="254"/>
                    <a:pt x="734" y="256"/>
                  </a:cubicBezTo>
                  <a:cubicBezTo>
                    <a:pt x="735" y="259"/>
                    <a:pt x="735" y="261"/>
                    <a:pt x="732" y="262"/>
                  </a:cubicBezTo>
                  <a:cubicBezTo>
                    <a:pt x="731" y="261"/>
                    <a:pt x="730" y="261"/>
                    <a:pt x="730" y="259"/>
                  </a:cubicBezTo>
                  <a:cubicBezTo>
                    <a:pt x="724" y="270"/>
                    <a:pt x="718" y="263"/>
                    <a:pt x="708" y="268"/>
                  </a:cubicBezTo>
                  <a:cubicBezTo>
                    <a:pt x="710" y="270"/>
                    <a:pt x="712" y="273"/>
                    <a:pt x="709" y="273"/>
                  </a:cubicBezTo>
                  <a:cubicBezTo>
                    <a:pt x="707" y="269"/>
                    <a:pt x="700" y="271"/>
                    <a:pt x="696" y="271"/>
                  </a:cubicBezTo>
                  <a:cubicBezTo>
                    <a:pt x="698" y="275"/>
                    <a:pt x="701" y="269"/>
                    <a:pt x="702" y="274"/>
                  </a:cubicBezTo>
                  <a:cubicBezTo>
                    <a:pt x="699" y="275"/>
                    <a:pt x="697" y="273"/>
                    <a:pt x="699" y="278"/>
                  </a:cubicBezTo>
                  <a:cubicBezTo>
                    <a:pt x="697" y="276"/>
                    <a:pt x="697" y="274"/>
                    <a:pt x="693" y="274"/>
                  </a:cubicBezTo>
                  <a:cubicBezTo>
                    <a:pt x="695" y="277"/>
                    <a:pt x="697" y="280"/>
                    <a:pt x="695" y="281"/>
                  </a:cubicBezTo>
                  <a:cubicBezTo>
                    <a:pt x="693" y="277"/>
                    <a:pt x="692" y="279"/>
                    <a:pt x="691" y="276"/>
                  </a:cubicBezTo>
                  <a:cubicBezTo>
                    <a:pt x="684" y="289"/>
                    <a:pt x="664" y="289"/>
                    <a:pt x="651" y="304"/>
                  </a:cubicBezTo>
                  <a:cubicBezTo>
                    <a:pt x="644" y="306"/>
                    <a:pt x="631" y="307"/>
                    <a:pt x="628" y="317"/>
                  </a:cubicBezTo>
                  <a:cubicBezTo>
                    <a:pt x="618" y="318"/>
                    <a:pt x="614" y="325"/>
                    <a:pt x="605" y="331"/>
                  </a:cubicBezTo>
                  <a:cubicBezTo>
                    <a:pt x="602" y="330"/>
                    <a:pt x="600" y="329"/>
                    <a:pt x="599" y="332"/>
                  </a:cubicBezTo>
                  <a:cubicBezTo>
                    <a:pt x="600" y="332"/>
                    <a:pt x="600" y="334"/>
                    <a:pt x="600" y="335"/>
                  </a:cubicBezTo>
                  <a:cubicBezTo>
                    <a:pt x="598" y="334"/>
                    <a:pt x="595" y="333"/>
                    <a:pt x="593" y="333"/>
                  </a:cubicBezTo>
                  <a:cubicBezTo>
                    <a:pt x="594" y="334"/>
                    <a:pt x="593" y="336"/>
                    <a:pt x="592" y="337"/>
                  </a:cubicBezTo>
                  <a:cubicBezTo>
                    <a:pt x="584" y="329"/>
                    <a:pt x="588" y="348"/>
                    <a:pt x="578" y="342"/>
                  </a:cubicBezTo>
                  <a:cubicBezTo>
                    <a:pt x="575" y="356"/>
                    <a:pt x="552" y="352"/>
                    <a:pt x="553" y="369"/>
                  </a:cubicBezTo>
                  <a:cubicBezTo>
                    <a:pt x="557" y="368"/>
                    <a:pt x="553" y="360"/>
                    <a:pt x="558" y="363"/>
                  </a:cubicBezTo>
                  <a:cubicBezTo>
                    <a:pt x="560" y="378"/>
                    <a:pt x="549" y="374"/>
                    <a:pt x="543" y="385"/>
                  </a:cubicBezTo>
                  <a:cubicBezTo>
                    <a:pt x="544" y="386"/>
                    <a:pt x="545" y="387"/>
                    <a:pt x="545" y="388"/>
                  </a:cubicBezTo>
                  <a:cubicBezTo>
                    <a:pt x="544" y="393"/>
                    <a:pt x="537" y="396"/>
                    <a:pt x="533" y="393"/>
                  </a:cubicBezTo>
                  <a:cubicBezTo>
                    <a:pt x="532" y="402"/>
                    <a:pt x="518" y="401"/>
                    <a:pt x="512" y="407"/>
                  </a:cubicBezTo>
                  <a:cubicBezTo>
                    <a:pt x="509" y="403"/>
                    <a:pt x="508" y="404"/>
                    <a:pt x="510" y="408"/>
                  </a:cubicBezTo>
                  <a:cubicBezTo>
                    <a:pt x="508" y="407"/>
                    <a:pt x="507" y="403"/>
                    <a:pt x="505" y="403"/>
                  </a:cubicBezTo>
                  <a:cubicBezTo>
                    <a:pt x="507" y="411"/>
                    <a:pt x="493" y="405"/>
                    <a:pt x="495" y="415"/>
                  </a:cubicBezTo>
                  <a:cubicBezTo>
                    <a:pt x="488" y="411"/>
                    <a:pt x="484" y="418"/>
                    <a:pt x="479" y="417"/>
                  </a:cubicBezTo>
                  <a:cubicBezTo>
                    <a:pt x="481" y="423"/>
                    <a:pt x="474" y="426"/>
                    <a:pt x="470" y="427"/>
                  </a:cubicBezTo>
                  <a:cubicBezTo>
                    <a:pt x="471" y="429"/>
                    <a:pt x="472" y="429"/>
                    <a:pt x="473" y="431"/>
                  </a:cubicBezTo>
                  <a:cubicBezTo>
                    <a:pt x="471" y="432"/>
                    <a:pt x="474" y="435"/>
                    <a:pt x="472" y="436"/>
                  </a:cubicBezTo>
                  <a:cubicBezTo>
                    <a:pt x="469" y="440"/>
                    <a:pt x="466" y="435"/>
                    <a:pt x="465" y="439"/>
                  </a:cubicBezTo>
                  <a:cubicBezTo>
                    <a:pt x="465" y="438"/>
                    <a:pt x="462" y="432"/>
                    <a:pt x="463" y="436"/>
                  </a:cubicBezTo>
                  <a:cubicBezTo>
                    <a:pt x="467" y="444"/>
                    <a:pt x="461" y="449"/>
                    <a:pt x="456" y="450"/>
                  </a:cubicBezTo>
                  <a:cubicBezTo>
                    <a:pt x="459" y="454"/>
                    <a:pt x="452" y="450"/>
                    <a:pt x="453" y="454"/>
                  </a:cubicBezTo>
                  <a:cubicBezTo>
                    <a:pt x="455" y="457"/>
                    <a:pt x="457" y="457"/>
                    <a:pt x="460" y="458"/>
                  </a:cubicBezTo>
                  <a:cubicBezTo>
                    <a:pt x="459" y="456"/>
                    <a:pt x="459" y="455"/>
                    <a:pt x="459" y="454"/>
                  </a:cubicBezTo>
                  <a:cubicBezTo>
                    <a:pt x="463" y="454"/>
                    <a:pt x="467" y="457"/>
                    <a:pt x="471" y="457"/>
                  </a:cubicBezTo>
                  <a:cubicBezTo>
                    <a:pt x="469" y="458"/>
                    <a:pt x="466" y="459"/>
                    <a:pt x="468" y="462"/>
                  </a:cubicBezTo>
                  <a:cubicBezTo>
                    <a:pt x="474" y="458"/>
                    <a:pt x="475" y="456"/>
                    <a:pt x="482" y="452"/>
                  </a:cubicBezTo>
                  <a:cubicBezTo>
                    <a:pt x="483" y="456"/>
                    <a:pt x="485" y="454"/>
                    <a:pt x="487" y="456"/>
                  </a:cubicBezTo>
                  <a:cubicBezTo>
                    <a:pt x="489" y="454"/>
                    <a:pt x="488" y="451"/>
                    <a:pt x="490" y="448"/>
                  </a:cubicBezTo>
                  <a:cubicBezTo>
                    <a:pt x="496" y="452"/>
                    <a:pt x="501" y="444"/>
                    <a:pt x="509" y="447"/>
                  </a:cubicBezTo>
                  <a:cubicBezTo>
                    <a:pt x="511" y="444"/>
                    <a:pt x="512" y="436"/>
                    <a:pt x="517" y="442"/>
                  </a:cubicBezTo>
                  <a:cubicBezTo>
                    <a:pt x="520" y="441"/>
                    <a:pt x="517" y="438"/>
                    <a:pt x="519" y="437"/>
                  </a:cubicBezTo>
                  <a:cubicBezTo>
                    <a:pt x="521" y="436"/>
                    <a:pt x="522" y="443"/>
                    <a:pt x="524" y="442"/>
                  </a:cubicBezTo>
                  <a:cubicBezTo>
                    <a:pt x="523" y="439"/>
                    <a:pt x="526" y="440"/>
                    <a:pt x="525" y="436"/>
                  </a:cubicBezTo>
                  <a:cubicBezTo>
                    <a:pt x="529" y="439"/>
                    <a:pt x="533" y="437"/>
                    <a:pt x="536" y="441"/>
                  </a:cubicBezTo>
                  <a:cubicBezTo>
                    <a:pt x="535" y="443"/>
                    <a:pt x="530" y="449"/>
                    <a:pt x="536" y="452"/>
                  </a:cubicBezTo>
                  <a:cubicBezTo>
                    <a:pt x="533" y="437"/>
                    <a:pt x="546" y="434"/>
                    <a:pt x="554" y="443"/>
                  </a:cubicBezTo>
                  <a:cubicBezTo>
                    <a:pt x="557" y="441"/>
                    <a:pt x="551" y="440"/>
                    <a:pt x="553" y="439"/>
                  </a:cubicBezTo>
                  <a:cubicBezTo>
                    <a:pt x="556" y="440"/>
                    <a:pt x="559" y="441"/>
                    <a:pt x="562" y="446"/>
                  </a:cubicBezTo>
                  <a:cubicBezTo>
                    <a:pt x="559" y="448"/>
                    <a:pt x="559" y="448"/>
                    <a:pt x="559" y="448"/>
                  </a:cubicBezTo>
                  <a:cubicBezTo>
                    <a:pt x="565" y="459"/>
                    <a:pt x="568" y="454"/>
                    <a:pt x="573" y="452"/>
                  </a:cubicBezTo>
                  <a:cubicBezTo>
                    <a:pt x="576" y="463"/>
                    <a:pt x="567" y="461"/>
                    <a:pt x="560" y="464"/>
                  </a:cubicBezTo>
                  <a:cubicBezTo>
                    <a:pt x="561" y="469"/>
                    <a:pt x="562" y="468"/>
                    <a:pt x="564" y="469"/>
                  </a:cubicBezTo>
                  <a:cubicBezTo>
                    <a:pt x="563" y="478"/>
                    <a:pt x="549" y="470"/>
                    <a:pt x="549" y="482"/>
                  </a:cubicBezTo>
                  <a:cubicBezTo>
                    <a:pt x="551" y="481"/>
                    <a:pt x="554" y="481"/>
                    <a:pt x="557" y="481"/>
                  </a:cubicBezTo>
                  <a:cubicBezTo>
                    <a:pt x="544" y="488"/>
                    <a:pt x="536" y="489"/>
                    <a:pt x="524" y="497"/>
                  </a:cubicBezTo>
                  <a:cubicBezTo>
                    <a:pt x="523" y="496"/>
                    <a:pt x="524" y="495"/>
                    <a:pt x="523" y="493"/>
                  </a:cubicBezTo>
                  <a:cubicBezTo>
                    <a:pt x="520" y="496"/>
                    <a:pt x="522" y="500"/>
                    <a:pt x="519" y="502"/>
                  </a:cubicBezTo>
                  <a:cubicBezTo>
                    <a:pt x="518" y="501"/>
                    <a:pt x="517" y="499"/>
                    <a:pt x="516" y="499"/>
                  </a:cubicBezTo>
                  <a:cubicBezTo>
                    <a:pt x="517" y="501"/>
                    <a:pt x="515" y="501"/>
                    <a:pt x="514" y="501"/>
                  </a:cubicBezTo>
                  <a:cubicBezTo>
                    <a:pt x="515" y="505"/>
                    <a:pt x="517" y="501"/>
                    <a:pt x="518" y="504"/>
                  </a:cubicBezTo>
                  <a:cubicBezTo>
                    <a:pt x="517" y="511"/>
                    <a:pt x="508" y="509"/>
                    <a:pt x="505" y="517"/>
                  </a:cubicBezTo>
                  <a:cubicBezTo>
                    <a:pt x="501" y="514"/>
                    <a:pt x="498" y="517"/>
                    <a:pt x="495" y="515"/>
                  </a:cubicBezTo>
                  <a:cubicBezTo>
                    <a:pt x="497" y="521"/>
                    <a:pt x="500" y="522"/>
                    <a:pt x="498" y="526"/>
                  </a:cubicBezTo>
                  <a:cubicBezTo>
                    <a:pt x="494" y="521"/>
                    <a:pt x="487" y="518"/>
                    <a:pt x="490" y="512"/>
                  </a:cubicBezTo>
                  <a:cubicBezTo>
                    <a:pt x="489" y="513"/>
                    <a:pt x="488" y="509"/>
                    <a:pt x="487" y="510"/>
                  </a:cubicBezTo>
                  <a:cubicBezTo>
                    <a:pt x="490" y="515"/>
                    <a:pt x="485" y="517"/>
                    <a:pt x="481" y="519"/>
                  </a:cubicBezTo>
                  <a:cubicBezTo>
                    <a:pt x="485" y="524"/>
                    <a:pt x="480" y="527"/>
                    <a:pt x="477" y="524"/>
                  </a:cubicBezTo>
                  <a:cubicBezTo>
                    <a:pt x="478" y="527"/>
                    <a:pt x="478" y="529"/>
                    <a:pt x="475" y="530"/>
                  </a:cubicBezTo>
                  <a:cubicBezTo>
                    <a:pt x="469" y="526"/>
                    <a:pt x="474" y="523"/>
                    <a:pt x="473" y="521"/>
                  </a:cubicBezTo>
                  <a:cubicBezTo>
                    <a:pt x="471" y="523"/>
                    <a:pt x="466" y="523"/>
                    <a:pt x="467" y="526"/>
                  </a:cubicBezTo>
                  <a:cubicBezTo>
                    <a:pt x="472" y="525"/>
                    <a:pt x="464" y="530"/>
                    <a:pt x="471" y="533"/>
                  </a:cubicBezTo>
                  <a:cubicBezTo>
                    <a:pt x="472" y="532"/>
                    <a:pt x="470" y="530"/>
                    <a:pt x="472" y="528"/>
                  </a:cubicBezTo>
                  <a:cubicBezTo>
                    <a:pt x="475" y="532"/>
                    <a:pt x="474" y="534"/>
                    <a:pt x="473" y="536"/>
                  </a:cubicBezTo>
                  <a:cubicBezTo>
                    <a:pt x="469" y="537"/>
                    <a:pt x="465" y="529"/>
                    <a:pt x="464" y="528"/>
                  </a:cubicBezTo>
                  <a:cubicBezTo>
                    <a:pt x="463" y="531"/>
                    <a:pt x="457" y="528"/>
                    <a:pt x="458" y="535"/>
                  </a:cubicBezTo>
                  <a:cubicBezTo>
                    <a:pt x="460" y="530"/>
                    <a:pt x="468" y="531"/>
                    <a:pt x="468" y="538"/>
                  </a:cubicBezTo>
                  <a:cubicBezTo>
                    <a:pt x="466" y="540"/>
                    <a:pt x="465" y="534"/>
                    <a:pt x="464" y="534"/>
                  </a:cubicBezTo>
                  <a:cubicBezTo>
                    <a:pt x="463" y="537"/>
                    <a:pt x="459" y="542"/>
                    <a:pt x="457" y="534"/>
                  </a:cubicBezTo>
                  <a:cubicBezTo>
                    <a:pt x="454" y="538"/>
                    <a:pt x="456" y="540"/>
                    <a:pt x="460" y="543"/>
                  </a:cubicBezTo>
                  <a:cubicBezTo>
                    <a:pt x="457" y="545"/>
                    <a:pt x="455" y="541"/>
                    <a:pt x="455" y="538"/>
                  </a:cubicBezTo>
                  <a:cubicBezTo>
                    <a:pt x="454" y="540"/>
                    <a:pt x="452" y="537"/>
                    <a:pt x="451" y="538"/>
                  </a:cubicBezTo>
                  <a:cubicBezTo>
                    <a:pt x="451" y="542"/>
                    <a:pt x="456" y="543"/>
                    <a:pt x="456" y="547"/>
                  </a:cubicBezTo>
                  <a:cubicBezTo>
                    <a:pt x="454" y="547"/>
                    <a:pt x="453" y="545"/>
                    <a:pt x="451" y="543"/>
                  </a:cubicBezTo>
                  <a:cubicBezTo>
                    <a:pt x="449" y="546"/>
                    <a:pt x="450" y="550"/>
                    <a:pt x="446" y="551"/>
                  </a:cubicBezTo>
                  <a:cubicBezTo>
                    <a:pt x="440" y="545"/>
                    <a:pt x="441" y="554"/>
                    <a:pt x="435" y="549"/>
                  </a:cubicBezTo>
                  <a:cubicBezTo>
                    <a:pt x="437" y="552"/>
                    <a:pt x="438" y="552"/>
                    <a:pt x="437" y="554"/>
                  </a:cubicBezTo>
                  <a:cubicBezTo>
                    <a:pt x="435" y="555"/>
                    <a:pt x="434" y="550"/>
                    <a:pt x="432" y="551"/>
                  </a:cubicBezTo>
                  <a:cubicBezTo>
                    <a:pt x="434" y="554"/>
                    <a:pt x="435" y="556"/>
                    <a:pt x="434" y="557"/>
                  </a:cubicBezTo>
                  <a:cubicBezTo>
                    <a:pt x="433" y="557"/>
                    <a:pt x="433" y="556"/>
                    <a:pt x="432" y="557"/>
                  </a:cubicBezTo>
                  <a:cubicBezTo>
                    <a:pt x="431" y="555"/>
                    <a:pt x="434" y="555"/>
                    <a:pt x="432" y="552"/>
                  </a:cubicBezTo>
                  <a:cubicBezTo>
                    <a:pt x="425" y="561"/>
                    <a:pt x="423" y="563"/>
                    <a:pt x="413" y="558"/>
                  </a:cubicBezTo>
                  <a:cubicBezTo>
                    <a:pt x="414" y="564"/>
                    <a:pt x="409" y="564"/>
                    <a:pt x="406" y="564"/>
                  </a:cubicBezTo>
                  <a:cubicBezTo>
                    <a:pt x="409" y="567"/>
                    <a:pt x="407" y="568"/>
                    <a:pt x="408" y="570"/>
                  </a:cubicBezTo>
                  <a:cubicBezTo>
                    <a:pt x="411" y="567"/>
                    <a:pt x="411" y="572"/>
                    <a:pt x="412" y="575"/>
                  </a:cubicBezTo>
                  <a:cubicBezTo>
                    <a:pt x="416" y="575"/>
                    <a:pt x="416" y="573"/>
                    <a:pt x="420" y="573"/>
                  </a:cubicBezTo>
                  <a:cubicBezTo>
                    <a:pt x="418" y="570"/>
                    <a:pt x="421" y="569"/>
                    <a:pt x="421" y="566"/>
                  </a:cubicBezTo>
                  <a:cubicBezTo>
                    <a:pt x="423" y="569"/>
                    <a:pt x="425" y="569"/>
                    <a:pt x="427" y="570"/>
                  </a:cubicBezTo>
                  <a:cubicBezTo>
                    <a:pt x="426" y="567"/>
                    <a:pt x="431" y="563"/>
                    <a:pt x="432" y="564"/>
                  </a:cubicBezTo>
                  <a:cubicBezTo>
                    <a:pt x="433" y="568"/>
                    <a:pt x="426" y="567"/>
                    <a:pt x="430" y="572"/>
                  </a:cubicBezTo>
                  <a:cubicBezTo>
                    <a:pt x="432" y="567"/>
                    <a:pt x="434" y="571"/>
                    <a:pt x="433" y="575"/>
                  </a:cubicBezTo>
                  <a:cubicBezTo>
                    <a:pt x="443" y="570"/>
                    <a:pt x="442" y="570"/>
                    <a:pt x="450" y="564"/>
                  </a:cubicBezTo>
                  <a:cubicBezTo>
                    <a:pt x="451" y="567"/>
                    <a:pt x="450" y="570"/>
                    <a:pt x="453" y="571"/>
                  </a:cubicBezTo>
                  <a:cubicBezTo>
                    <a:pt x="450" y="565"/>
                    <a:pt x="460" y="569"/>
                    <a:pt x="463" y="568"/>
                  </a:cubicBezTo>
                  <a:cubicBezTo>
                    <a:pt x="462" y="569"/>
                    <a:pt x="460" y="569"/>
                    <a:pt x="461" y="571"/>
                  </a:cubicBezTo>
                  <a:cubicBezTo>
                    <a:pt x="464" y="574"/>
                    <a:pt x="463" y="569"/>
                    <a:pt x="466" y="572"/>
                  </a:cubicBezTo>
                  <a:cubicBezTo>
                    <a:pt x="465" y="573"/>
                    <a:pt x="467" y="574"/>
                    <a:pt x="468" y="574"/>
                  </a:cubicBezTo>
                  <a:cubicBezTo>
                    <a:pt x="467" y="570"/>
                    <a:pt x="466" y="569"/>
                    <a:pt x="466" y="567"/>
                  </a:cubicBezTo>
                  <a:cubicBezTo>
                    <a:pt x="472" y="564"/>
                    <a:pt x="484" y="561"/>
                    <a:pt x="492" y="570"/>
                  </a:cubicBezTo>
                  <a:cubicBezTo>
                    <a:pt x="487" y="568"/>
                    <a:pt x="488" y="576"/>
                    <a:pt x="481" y="574"/>
                  </a:cubicBezTo>
                  <a:cubicBezTo>
                    <a:pt x="483" y="576"/>
                    <a:pt x="481" y="577"/>
                    <a:pt x="484" y="580"/>
                  </a:cubicBezTo>
                  <a:cubicBezTo>
                    <a:pt x="489" y="579"/>
                    <a:pt x="492" y="577"/>
                    <a:pt x="499" y="577"/>
                  </a:cubicBezTo>
                  <a:cubicBezTo>
                    <a:pt x="499" y="579"/>
                    <a:pt x="500" y="580"/>
                    <a:pt x="502" y="579"/>
                  </a:cubicBezTo>
                  <a:cubicBezTo>
                    <a:pt x="501" y="578"/>
                    <a:pt x="500" y="577"/>
                    <a:pt x="502" y="576"/>
                  </a:cubicBezTo>
                  <a:cubicBezTo>
                    <a:pt x="502" y="578"/>
                    <a:pt x="502" y="580"/>
                    <a:pt x="504" y="579"/>
                  </a:cubicBezTo>
                  <a:cubicBezTo>
                    <a:pt x="503" y="577"/>
                    <a:pt x="506" y="574"/>
                    <a:pt x="507" y="576"/>
                  </a:cubicBezTo>
                  <a:cubicBezTo>
                    <a:pt x="503" y="579"/>
                    <a:pt x="511" y="583"/>
                    <a:pt x="509" y="587"/>
                  </a:cubicBezTo>
                  <a:cubicBezTo>
                    <a:pt x="506" y="589"/>
                    <a:pt x="503" y="582"/>
                    <a:pt x="503" y="585"/>
                  </a:cubicBezTo>
                  <a:cubicBezTo>
                    <a:pt x="504" y="585"/>
                    <a:pt x="504" y="589"/>
                    <a:pt x="507" y="588"/>
                  </a:cubicBezTo>
                  <a:cubicBezTo>
                    <a:pt x="506" y="590"/>
                    <a:pt x="505" y="595"/>
                    <a:pt x="502" y="593"/>
                  </a:cubicBezTo>
                  <a:cubicBezTo>
                    <a:pt x="502" y="589"/>
                    <a:pt x="499" y="586"/>
                    <a:pt x="497" y="587"/>
                  </a:cubicBezTo>
                  <a:cubicBezTo>
                    <a:pt x="501" y="590"/>
                    <a:pt x="501" y="593"/>
                    <a:pt x="502" y="596"/>
                  </a:cubicBezTo>
                  <a:cubicBezTo>
                    <a:pt x="499" y="598"/>
                    <a:pt x="495" y="602"/>
                    <a:pt x="492" y="597"/>
                  </a:cubicBezTo>
                  <a:cubicBezTo>
                    <a:pt x="493" y="596"/>
                    <a:pt x="492" y="594"/>
                    <a:pt x="491" y="592"/>
                  </a:cubicBezTo>
                  <a:cubicBezTo>
                    <a:pt x="487" y="592"/>
                    <a:pt x="493" y="596"/>
                    <a:pt x="491" y="597"/>
                  </a:cubicBezTo>
                  <a:cubicBezTo>
                    <a:pt x="490" y="598"/>
                    <a:pt x="488" y="598"/>
                    <a:pt x="489" y="600"/>
                  </a:cubicBezTo>
                  <a:cubicBezTo>
                    <a:pt x="492" y="601"/>
                    <a:pt x="491" y="596"/>
                    <a:pt x="493" y="600"/>
                  </a:cubicBezTo>
                  <a:cubicBezTo>
                    <a:pt x="490" y="600"/>
                    <a:pt x="492" y="603"/>
                    <a:pt x="489" y="604"/>
                  </a:cubicBezTo>
                  <a:cubicBezTo>
                    <a:pt x="487" y="600"/>
                    <a:pt x="485" y="601"/>
                    <a:pt x="484" y="598"/>
                  </a:cubicBezTo>
                  <a:cubicBezTo>
                    <a:pt x="486" y="598"/>
                    <a:pt x="482" y="593"/>
                    <a:pt x="482" y="593"/>
                  </a:cubicBezTo>
                  <a:cubicBezTo>
                    <a:pt x="483" y="595"/>
                    <a:pt x="477" y="597"/>
                    <a:pt x="482" y="598"/>
                  </a:cubicBezTo>
                  <a:cubicBezTo>
                    <a:pt x="481" y="597"/>
                    <a:pt x="482" y="596"/>
                    <a:pt x="483" y="597"/>
                  </a:cubicBezTo>
                  <a:cubicBezTo>
                    <a:pt x="482" y="598"/>
                    <a:pt x="484" y="600"/>
                    <a:pt x="484" y="601"/>
                  </a:cubicBezTo>
                  <a:cubicBezTo>
                    <a:pt x="482" y="600"/>
                    <a:pt x="480" y="602"/>
                    <a:pt x="478" y="600"/>
                  </a:cubicBezTo>
                  <a:cubicBezTo>
                    <a:pt x="477" y="598"/>
                    <a:pt x="480" y="598"/>
                    <a:pt x="479" y="596"/>
                  </a:cubicBezTo>
                  <a:cubicBezTo>
                    <a:pt x="475" y="593"/>
                    <a:pt x="477" y="609"/>
                    <a:pt x="471" y="600"/>
                  </a:cubicBezTo>
                  <a:cubicBezTo>
                    <a:pt x="472" y="598"/>
                    <a:pt x="475" y="599"/>
                    <a:pt x="474" y="596"/>
                  </a:cubicBezTo>
                  <a:cubicBezTo>
                    <a:pt x="469" y="594"/>
                    <a:pt x="469" y="599"/>
                    <a:pt x="464" y="598"/>
                  </a:cubicBezTo>
                  <a:cubicBezTo>
                    <a:pt x="466" y="600"/>
                    <a:pt x="466" y="602"/>
                    <a:pt x="465" y="603"/>
                  </a:cubicBezTo>
                  <a:cubicBezTo>
                    <a:pt x="463" y="600"/>
                    <a:pt x="460" y="601"/>
                    <a:pt x="460" y="604"/>
                  </a:cubicBezTo>
                  <a:cubicBezTo>
                    <a:pt x="457" y="602"/>
                    <a:pt x="458" y="600"/>
                    <a:pt x="456" y="599"/>
                  </a:cubicBezTo>
                  <a:cubicBezTo>
                    <a:pt x="457" y="602"/>
                    <a:pt x="453" y="604"/>
                    <a:pt x="453" y="605"/>
                  </a:cubicBezTo>
                  <a:cubicBezTo>
                    <a:pt x="454" y="604"/>
                    <a:pt x="455" y="604"/>
                    <a:pt x="456" y="606"/>
                  </a:cubicBezTo>
                  <a:cubicBezTo>
                    <a:pt x="456" y="609"/>
                    <a:pt x="454" y="606"/>
                    <a:pt x="452" y="609"/>
                  </a:cubicBezTo>
                  <a:cubicBezTo>
                    <a:pt x="453" y="613"/>
                    <a:pt x="456" y="609"/>
                    <a:pt x="458" y="611"/>
                  </a:cubicBezTo>
                  <a:cubicBezTo>
                    <a:pt x="453" y="612"/>
                    <a:pt x="459" y="615"/>
                    <a:pt x="459" y="615"/>
                  </a:cubicBezTo>
                  <a:cubicBezTo>
                    <a:pt x="460" y="620"/>
                    <a:pt x="454" y="615"/>
                    <a:pt x="452" y="613"/>
                  </a:cubicBezTo>
                  <a:cubicBezTo>
                    <a:pt x="455" y="617"/>
                    <a:pt x="454" y="622"/>
                    <a:pt x="458" y="621"/>
                  </a:cubicBezTo>
                  <a:cubicBezTo>
                    <a:pt x="456" y="616"/>
                    <a:pt x="462" y="622"/>
                    <a:pt x="462" y="616"/>
                  </a:cubicBezTo>
                  <a:cubicBezTo>
                    <a:pt x="463" y="619"/>
                    <a:pt x="464" y="620"/>
                    <a:pt x="466" y="620"/>
                  </a:cubicBezTo>
                  <a:cubicBezTo>
                    <a:pt x="466" y="616"/>
                    <a:pt x="462" y="616"/>
                    <a:pt x="464" y="613"/>
                  </a:cubicBezTo>
                  <a:cubicBezTo>
                    <a:pt x="471" y="611"/>
                    <a:pt x="472" y="624"/>
                    <a:pt x="467" y="625"/>
                  </a:cubicBezTo>
                  <a:cubicBezTo>
                    <a:pt x="470" y="626"/>
                    <a:pt x="469" y="626"/>
                    <a:pt x="472" y="623"/>
                  </a:cubicBezTo>
                  <a:cubicBezTo>
                    <a:pt x="472" y="629"/>
                    <a:pt x="475" y="625"/>
                    <a:pt x="477" y="627"/>
                  </a:cubicBezTo>
                  <a:cubicBezTo>
                    <a:pt x="476" y="630"/>
                    <a:pt x="469" y="630"/>
                    <a:pt x="471" y="635"/>
                  </a:cubicBezTo>
                  <a:cubicBezTo>
                    <a:pt x="475" y="632"/>
                    <a:pt x="479" y="629"/>
                    <a:pt x="482" y="629"/>
                  </a:cubicBezTo>
                  <a:cubicBezTo>
                    <a:pt x="483" y="637"/>
                    <a:pt x="475" y="637"/>
                    <a:pt x="472" y="643"/>
                  </a:cubicBezTo>
                  <a:cubicBezTo>
                    <a:pt x="470" y="641"/>
                    <a:pt x="469" y="639"/>
                    <a:pt x="468" y="640"/>
                  </a:cubicBezTo>
                  <a:cubicBezTo>
                    <a:pt x="467" y="643"/>
                    <a:pt x="463" y="644"/>
                    <a:pt x="462" y="648"/>
                  </a:cubicBezTo>
                  <a:cubicBezTo>
                    <a:pt x="459" y="643"/>
                    <a:pt x="456" y="648"/>
                    <a:pt x="455" y="649"/>
                  </a:cubicBezTo>
                  <a:cubicBezTo>
                    <a:pt x="456" y="650"/>
                    <a:pt x="460" y="657"/>
                    <a:pt x="461" y="653"/>
                  </a:cubicBezTo>
                  <a:cubicBezTo>
                    <a:pt x="459" y="655"/>
                    <a:pt x="459" y="650"/>
                    <a:pt x="459" y="649"/>
                  </a:cubicBezTo>
                  <a:cubicBezTo>
                    <a:pt x="460" y="649"/>
                    <a:pt x="461" y="648"/>
                    <a:pt x="461" y="647"/>
                  </a:cubicBezTo>
                  <a:cubicBezTo>
                    <a:pt x="465" y="652"/>
                    <a:pt x="465" y="646"/>
                    <a:pt x="469" y="649"/>
                  </a:cubicBezTo>
                  <a:cubicBezTo>
                    <a:pt x="468" y="647"/>
                    <a:pt x="467" y="648"/>
                    <a:pt x="466" y="645"/>
                  </a:cubicBezTo>
                  <a:cubicBezTo>
                    <a:pt x="476" y="644"/>
                    <a:pt x="477" y="642"/>
                    <a:pt x="483" y="641"/>
                  </a:cubicBezTo>
                  <a:cubicBezTo>
                    <a:pt x="485" y="635"/>
                    <a:pt x="492" y="629"/>
                    <a:pt x="498" y="632"/>
                  </a:cubicBezTo>
                  <a:cubicBezTo>
                    <a:pt x="497" y="630"/>
                    <a:pt x="495" y="629"/>
                    <a:pt x="496" y="628"/>
                  </a:cubicBezTo>
                  <a:cubicBezTo>
                    <a:pt x="500" y="631"/>
                    <a:pt x="500" y="627"/>
                    <a:pt x="503" y="625"/>
                  </a:cubicBezTo>
                  <a:cubicBezTo>
                    <a:pt x="505" y="627"/>
                    <a:pt x="507" y="630"/>
                    <a:pt x="508" y="629"/>
                  </a:cubicBezTo>
                  <a:cubicBezTo>
                    <a:pt x="504" y="624"/>
                    <a:pt x="510" y="623"/>
                    <a:pt x="511" y="625"/>
                  </a:cubicBezTo>
                  <a:cubicBezTo>
                    <a:pt x="511" y="624"/>
                    <a:pt x="510" y="623"/>
                    <a:pt x="511" y="622"/>
                  </a:cubicBezTo>
                  <a:cubicBezTo>
                    <a:pt x="513" y="625"/>
                    <a:pt x="510" y="629"/>
                    <a:pt x="512" y="629"/>
                  </a:cubicBezTo>
                  <a:cubicBezTo>
                    <a:pt x="511" y="627"/>
                    <a:pt x="516" y="627"/>
                    <a:pt x="513" y="624"/>
                  </a:cubicBezTo>
                  <a:cubicBezTo>
                    <a:pt x="512" y="624"/>
                    <a:pt x="511" y="622"/>
                    <a:pt x="509" y="620"/>
                  </a:cubicBezTo>
                  <a:cubicBezTo>
                    <a:pt x="515" y="617"/>
                    <a:pt x="515" y="617"/>
                    <a:pt x="515" y="617"/>
                  </a:cubicBezTo>
                  <a:cubicBezTo>
                    <a:pt x="512" y="613"/>
                    <a:pt x="512" y="610"/>
                    <a:pt x="508" y="610"/>
                  </a:cubicBezTo>
                  <a:cubicBezTo>
                    <a:pt x="510" y="613"/>
                    <a:pt x="511" y="612"/>
                    <a:pt x="512" y="615"/>
                  </a:cubicBezTo>
                  <a:cubicBezTo>
                    <a:pt x="510" y="616"/>
                    <a:pt x="506" y="620"/>
                    <a:pt x="504" y="614"/>
                  </a:cubicBezTo>
                  <a:cubicBezTo>
                    <a:pt x="506" y="618"/>
                    <a:pt x="494" y="616"/>
                    <a:pt x="501" y="621"/>
                  </a:cubicBezTo>
                  <a:cubicBezTo>
                    <a:pt x="499" y="622"/>
                    <a:pt x="498" y="622"/>
                    <a:pt x="497" y="620"/>
                  </a:cubicBezTo>
                  <a:cubicBezTo>
                    <a:pt x="494" y="617"/>
                    <a:pt x="494" y="615"/>
                    <a:pt x="493" y="612"/>
                  </a:cubicBezTo>
                  <a:cubicBezTo>
                    <a:pt x="491" y="613"/>
                    <a:pt x="489" y="612"/>
                    <a:pt x="487" y="611"/>
                  </a:cubicBezTo>
                  <a:cubicBezTo>
                    <a:pt x="488" y="611"/>
                    <a:pt x="485" y="608"/>
                    <a:pt x="486" y="607"/>
                  </a:cubicBezTo>
                  <a:cubicBezTo>
                    <a:pt x="489" y="608"/>
                    <a:pt x="487" y="602"/>
                    <a:pt x="490" y="605"/>
                  </a:cubicBezTo>
                  <a:cubicBezTo>
                    <a:pt x="491" y="607"/>
                    <a:pt x="488" y="607"/>
                    <a:pt x="489" y="610"/>
                  </a:cubicBezTo>
                  <a:cubicBezTo>
                    <a:pt x="492" y="608"/>
                    <a:pt x="494" y="612"/>
                    <a:pt x="496" y="609"/>
                  </a:cubicBezTo>
                  <a:cubicBezTo>
                    <a:pt x="494" y="602"/>
                    <a:pt x="504" y="594"/>
                    <a:pt x="506" y="603"/>
                  </a:cubicBezTo>
                  <a:cubicBezTo>
                    <a:pt x="508" y="598"/>
                    <a:pt x="510" y="598"/>
                    <a:pt x="505" y="596"/>
                  </a:cubicBezTo>
                  <a:cubicBezTo>
                    <a:pt x="509" y="596"/>
                    <a:pt x="513" y="592"/>
                    <a:pt x="510" y="589"/>
                  </a:cubicBezTo>
                  <a:cubicBezTo>
                    <a:pt x="511" y="591"/>
                    <a:pt x="513" y="589"/>
                    <a:pt x="514" y="591"/>
                  </a:cubicBezTo>
                  <a:cubicBezTo>
                    <a:pt x="515" y="594"/>
                    <a:pt x="510" y="593"/>
                    <a:pt x="513" y="597"/>
                  </a:cubicBezTo>
                  <a:cubicBezTo>
                    <a:pt x="515" y="600"/>
                    <a:pt x="517" y="593"/>
                    <a:pt x="519" y="596"/>
                  </a:cubicBezTo>
                  <a:cubicBezTo>
                    <a:pt x="517" y="597"/>
                    <a:pt x="521" y="601"/>
                    <a:pt x="518" y="601"/>
                  </a:cubicBezTo>
                  <a:cubicBezTo>
                    <a:pt x="518" y="597"/>
                    <a:pt x="515" y="598"/>
                    <a:pt x="514" y="601"/>
                  </a:cubicBezTo>
                  <a:cubicBezTo>
                    <a:pt x="514" y="598"/>
                    <a:pt x="512" y="597"/>
                    <a:pt x="510" y="599"/>
                  </a:cubicBezTo>
                  <a:cubicBezTo>
                    <a:pt x="514" y="601"/>
                    <a:pt x="514" y="603"/>
                    <a:pt x="512" y="606"/>
                  </a:cubicBezTo>
                  <a:cubicBezTo>
                    <a:pt x="516" y="604"/>
                    <a:pt x="522" y="603"/>
                    <a:pt x="526" y="601"/>
                  </a:cubicBezTo>
                  <a:cubicBezTo>
                    <a:pt x="524" y="601"/>
                    <a:pt x="527" y="597"/>
                    <a:pt x="525" y="595"/>
                  </a:cubicBezTo>
                  <a:cubicBezTo>
                    <a:pt x="530" y="590"/>
                    <a:pt x="534" y="595"/>
                    <a:pt x="539" y="590"/>
                  </a:cubicBezTo>
                  <a:cubicBezTo>
                    <a:pt x="538" y="593"/>
                    <a:pt x="543" y="594"/>
                    <a:pt x="542" y="596"/>
                  </a:cubicBezTo>
                  <a:cubicBezTo>
                    <a:pt x="540" y="592"/>
                    <a:pt x="534" y="596"/>
                    <a:pt x="534" y="597"/>
                  </a:cubicBezTo>
                  <a:cubicBezTo>
                    <a:pt x="535" y="597"/>
                    <a:pt x="536" y="598"/>
                    <a:pt x="536" y="599"/>
                  </a:cubicBezTo>
                  <a:cubicBezTo>
                    <a:pt x="541" y="592"/>
                    <a:pt x="550" y="605"/>
                    <a:pt x="542" y="606"/>
                  </a:cubicBezTo>
                  <a:cubicBezTo>
                    <a:pt x="541" y="604"/>
                    <a:pt x="540" y="603"/>
                    <a:pt x="538" y="602"/>
                  </a:cubicBezTo>
                  <a:cubicBezTo>
                    <a:pt x="537" y="604"/>
                    <a:pt x="532" y="604"/>
                    <a:pt x="535" y="607"/>
                  </a:cubicBezTo>
                  <a:cubicBezTo>
                    <a:pt x="540" y="602"/>
                    <a:pt x="540" y="612"/>
                    <a:pt x="546" y="613"/>
                  </a:cubicBezTo>
                  <a:cubicBezTo>
                    <a:pt x="547" y="612"/>
                    <a:pt x="543" y="608"/>
                    <a:pt x="545" y="606"/>
                  </a:cubicBezTo>
                  <a:cubicBezTo>
                    <a:pt x="549" y="608"/>
                    <a:pt x="548" y="613"/>
                    <a:pt x="551" y="613"/>
                  </a:cubicBezTo>
                  <a:cubicBezTo>
                    <a:pt x="553" y="610"/>
                    <a:pt x="549" y="608"/>
                    <a:pt x="549" y="605"/>
                  </a:cubicBezTo>
                  <a:cubicBezTo>
                    <a:pt x="552" y="604"/>
                    <a:pt x="556" y="606"/>
                    <a:pt x="554" y="610"/>
                  </a:cubicBezTo>
                  <a:cubicBezTo>
                    <a:pt x="555" y="609"/>
                    <a:pt x="557" y="609"/>
                    <a:pt x="558" y="610"/>
                  </a:cubicBezTo>
                  <a:cubicBezTo>
                    <a:pt x="558" y="610"/>
                    <a:pt x="559" y="612"/>
                    <a:pt x="558" y="613"/>
                  </a:cubicBezTo>
                  <a:cubicBezTo>
                    <a:pt x="551" y="617"/>
                    <a:pt x="546" y="619"/>
                    <a:pt x="541" y="620"/>
                  </a:cubicBezTo>
                  <a:cubicBezTo>
                    <a:pt x="542" y="620"/>
                    <a:pt x="543" y="621"/>
                    <a:pt x="542" y="622"/>
                  </a:cubicBezTo>
                  <a:cubicBezTo>
                    <a:pt x="540" y="623"/>
                    <a:pt x="537" y="622"/>
                    <a:pt x="535" y="621"/>
                  </a:cubicBezTo>
                  <a:cubicBezTo>
                    <a:pt x="538" y="625"/>
                    <a:pt x="537" y="624"/>
                    <a:pt x="535" y="625"/>
                  </a:cubicBezTo>
                  <a:cubicBezTo>
                    <a:pt x="536" y="627"/>
                    <a:pt x="537" y="627"/>
                    <a:pt x="538" y="629"/>
                  </a:cubicBezTo>
                  <a:cubicBezTo>
                    <a:pt x="533" y="631"/>
                    <a:pt x="531" y="636"/>
                    <a:pt x="527" y="634"/>
                  </a:cubicBezTo>
                  <a:cubicBezTo>
                    <a:pt x="528" y="629"/>
                    <a:pt x="522" y="627"/>
                    <a:pt x="520" y="626"/>
                  </a:cubicBezTo>
                  <a:cubicBezTo>
                    <a:pt x="523" y="619"/>
                    <a:pt x="534" y="621"/>
                    <a:pt x="536" y="617"/>
                  </a:cubicBezTo>
                  <a:cubicBezTo>
                    <a:pt x="533" y="615"/>
                    <a:pt x="530" y="618"/>
                    <a:pt x="527" y="615"/>
                  </a:cubicBezTo>
                  <a:cubicBezTo>
                    <a:pt x="533" y="612"/>
                    <a:pt x="538" y="617"/>
                    <a:pt x="541" y="616"/>
                  </a:cubicBezTo>
                  <a:cubicBezTo>
                    <a:pt x="538" y="610"/>
                    <a:pt x="534" y="611"/>
                    <a:pt x="530" y="609"/>
                  </a:cubicBezTo>
                  <a:cubicBezTo>
                    <a:pt x="525" y="603"/>
                    <a:pt x="535" y="604"/>
                    <a:pt x="533" y="597"/>
                  </a:cubicBezTo>
                  <a:cubicBezTo>
                    <a:pt x="530" y="600"/>
                    <a:pt x="526" y="604"/>
                    <a:pt x="526" y="610"/>
                  </a:cubicBezTo>
                  <a:cubicBezTo>
                    <a:pt x="520" y="606"/>
                    <a:pt x="518" y="609"/>
                    <a:pt x="513" y="609"/>
                  </a:cubicBezTo>
                  <a:cubicBezTo>
                    <a:pt x="517" y="613"/>
                    <a:pt x="515" y="609"/>
                    <a:pt x="517" y="615"/>
                  </a:cubicBezTo>
                  <a:cubicBezTo>
                    <a:pt x="520" y="616"/>
                    <a:pt x="518" y="611"/>
                    <a:pt x="520" y="614"/>
                  </a:cubicBezTo>
                  <a:cubicBezTo>
                    <a:pt x="521" y="617"/>
                    <a:pt x="518" y="618"/>
                    <a:pt x="519" y="621"/>
                  </a:cubicBezTo>
                  <a:cubicBezTo>
                    <a:pt x="516" y="620"/>
                    <a:pt x="515" y="619"/>
                    <a:pt x="513" y="622"/>
                  </a:cubicBezTo>
                  <a:cubicBezTo>
                    <a:pt x="515" y="625"/>
                    <a:pt x="520" y="624"/>
                    <a:pt x="519" y="629"/>
                  </a:cubicBezTo>
                  <a:cubicBezTo>
                    <a:pt x="515" y="628"/>
                    <a:pt x="518" y="630"/>
                    <a:pt x="516" y="633"/>
                  </a:cubicBezTo>
                  <a:cubicBezTo>
                    <a:pt x="513" y="633"/>
                    <a:pt x="514" y="629"/>
                    <a:pt x="510" y="630"/>
                  </a:cubicBezTo>
                  <a:cubicBezTo>
                    <a:pt x="513" y="634"/>
                    <a:pt x="510" y="639"/>
                    <a:pt x="507" y="637"/>
                  </a:cubicBezTo>
                  <a:cubicBezTo>
                    <a:pt x="506" y="634"/>
                    <a:pt x="509" y="635"/>
                    <a:pt x="506" y="633"/>
                  </a:cubicBezTo>
                  <a:cubicBezTo>
                    <a:pt x="507" y="639"/>
                    <a:pt x="501" y="637"/>
                    <a:pt x="504" y="642"/>
                  </a:cubicBezTo>
                  <a:cubicBezTo>
                    <a:pt x="499" y="640"/>
                    <a:pt x="500" y="645"/>
                    <a:pt x="495" y="644"/>
                  </a:cubicBezTo>
                  <a:cubicBezTo>
                    <a:pt x="495" y="648"/>
                    <a:pt x="497" y="648"/>
                    <a:pt x="497" y="649"/>
                  </a:cubicBezTo>
                  <a:cubicBezTo>
                    <a:pt x="493" y="647"/>
                    <a:pt x="495" y="656"/>
                    <a:pt x="491" y="653"/>
                  </a:cubicBezTo>
                  <a:cubicBezTo>
                    <a:pt x="492" y="652"/>
                    <a:pt x="493" y="652"/>
                    <a:pt x="492" y="650"/>
                  </a:cubicBezTo>
                  <a:cubicBezTo>
                    <a:pt x="489" y="654"/>
                    <a:pt x="490" y="646"/>
                    <a:pt x="487" y="648"/>
                  </a:cubicBezTo>
                  <a:cubicBezTo>
                    <a:pt x="489" y="656"/>
                    <a:pt x="478" y="662"/>
                    <a:pt x="475" y="650"/>
                  </a:cubicBezTo>
                  <a:cubicBezTo>
                    <a:pt x="477" y="650"/>
                    <a:pt x="479" y="646"/>
                    <a:pt x="476" y="647"/>
                  </a:cubicBezTo>
                  <a:cubicBezTo>
                    <a:pt x="477" y="648"/>
                    <a:pt x="475" y="649"/>
                    <a:pt x="474" y="649"/>
                  </a:cubicBezTo>
                  <a:cubicBezTo>
                    <a:pt x="476" y="656"/>
                    <a:pt x="476" y="660"/>
                    <a:pt x="472" y="659"/>
                  </a:cubicBezTo>
                  <a:cubicBezTo>
                    <a:pt x="471" y="657"/>
                    <a:pt x="471" y="652"/>
                    <a:pt x="468" y="651"/>
                  </a:cubicBezTo>
                  <a:cubicBezTo>
                    <a:pt x="471" y="657"/>
                    <a:pt x="465" y="652"/>
                    <a:pt x="463" y="653"/>
                  </a:cubicBezTo>
                  <a:cubicBezTo>
                    <a:pt x="467" y="657"/>
                    <a:pt x="466" y="659"/>
                    <a:pt x="465" y="661"/>
                  </a:cubicBezTo>
                  <a:cubicBezTo>
                    <a:pt x="466" y="663"/>
                    <a:pt x="471" y="664"/>
                    <a:pt x="470" y="665"/>
                  </a:cubicBezTo>
                  <a:cubicBezTo>
                    <a:pt x="469" y="666"/>
                    <a:pt x="467" y="665"/>
                    <a:pt x="467" y="668"/>
                  </a:cubicBezTo>
                  <a:cubicBezTo>
                    <a:pt x="464" y="663"/>
                    <a:pt x="464" y="663"/>
                    <a:pt x="464" y="663"/>
                  </a:cubicBezTo>
                  <a:cubicBezTo>
                    <a:pt x="462" y="673"/>
                    <a:pt x="456" y="671"/>
                    <a:pt x="449" y="673"/>
                  </a:cubicBezTo>
                  <a:cubicBezTo>
                    <a:pt x="451" y="677"/>
                    <a:pt x="446" y="674"/>
                    <a:pt x="447" y="677"/>
                  </a:cubicBezTo>
                  <a:cubicBezTo>
                    <a:pt x="447" y="677"/>
                    <a:pt x="452" y="678"/>
                    <a:pt x="450" y="679"/>
                  </a:cubicBezTo>
                  <a:cubicBezTo>
                    <a:pt x="447" y="682"/>
                    <a:pt x="443" y="676"/>
                    <a:pt x="442" y="681"/>
                  </a:cubicBezTo>
                  <a:cubicBezTo>
                    <a:pt x="441" y="679"/>
                    <a:pt x="440" y="677"/>
                    <a:pt x="438" y="678"/>
                  </a:cubicBezTo>
                  <a:cubicBezTo>
                    <a:pt x="440" y="682"/>
                    <a:pt x="435" y="680"/>
                    <a:pt x="440" y="684"/>
                  </a:cubicBezTo>
                  <a:cubicBezTo>
                    <a:pt x="437" y="683"/>
                    <a:pt x="437" y="686"/>
                    <a:pt x="436" y="688"/>
                  </a:cubicBezTo>
                  <a:cubicBezTo>
                    <a:pt x="450" y="686"/>
                    <a:pt x="458" y="675"/>
                    <a:pt x="473" y="675"/>
                  </a:cubicBezTo>
                  <a:cubicBezTo>
                    <a:pt x="472" y="672"/>
                    <a:pt x="470" y="672"/>
                    <a:pt x="471" y="671"/>
                  </a:cubicBezTo>
                  <a:cubicBezTo>
                    <a:pt x="474" y="669"/>
                    <a:pt x="478" y="672"/>
                    <a:pt x="480" y="669"/>
                  </a:cubicBezTo>
                  <a:cubicBezTo>
                    <a:pt x="478" y="663"/>
                    <a:pt x="478" y="671"/>
                    <a:pt x="477" y="668"/>
                  </a:cubicBezTo>
                  <a:cubicBezTo>
                    <a:pt x="477" y="662"/>
                    <a:pt x="481" y="663"/>
                    <a:pt x="485" y="661"/>
                  </a:cubicBezTo>
                  <a:cubicBezTo>
                    <a:pt x="486" y="663"/>
                    <a:pt x="487" y="664"/>
                    <a:pt x="489" y="665"/>
                  </a:cubicBezTo>
                  <a:cubicBezTo>
                    <a:pt x="486" y="666"/>
                    <a:pt x="482" y="662"/>
                    <a:pt x="482" y="667"/>
                  </a:cubicBezTo>
                  <a:cubicBezTo>
                    <a:pt x="484" y="666"/>
                    <a:pt x="489" y="668"/>
                    <a:pt x="489" y="665"/>
                  </a:cubicBezTo>
                  <a:cubicBezTo>
                    <a:pt x="490" y="665"/>
                    <a:pt x="492" y="665"/>
                    <a:pt x="492" y="663"/>
                  </a:cubicBezTo>
                  <a:cubicBezTo>
                    <a:pt x="490" y="664"/>
                    <a:pt x="489" y="659"/>
                    <a:pt x="490" y="659"/>
                  </a:cubicBezTo>
                  <a:cubicBezTo>
                    <a:pt x="494" y="660"/>
                    <a:pt x="494" y="655"/>
                    <a:pt x="497" y="658"/>
                  </a:cubicBezTo>
                  <a:cubicBezTo>
                    <a:pt x="495" y="660"/>
                    <a:pt x="491" y="661"/>
                    <a:pt x="494" y="665"/>
                  </a:cubicBezTo>
                  <a:cubicBezTo>
                    <a:pt x="499" y="662"/>
                    <a:pt x="500" y="660"/>
                    <a:pt x="504" y="662"/>
                  </a:cubicBezTo>
                  <a:cubicBezTo>
                    <a:pt x="502" y="659"/>
                    <a:pt x="502" y="658"/>
                    <a:pt x="504" y="657"/>
                  </a:cubicBezTo>
                  <a:cubicBezTo>
                    <a:pt x="510" y="662"/>
                    <a:pt x="512" y="651"/>
                    <a:pt x="513" y="648"/>
                  </a:cubicBezTo>
                  <a:cubicBezTo>
                    <a:pt x="516" y="651"/>
                    <a:pt x="518" y="652"/>
                    <a:pt x="521" y="653"/>
                  </a:cubicBezTo>
                  <a:cubicBezTo>
                    <a:pt x="520" y="650"/>
                    <a:pt x="518" y="650"/>
                    <a:pt x="519" y="649"/>
                  </a:cubicBezTo>
                  <a:cubicBezTo>
                    <a:pt x="522" y="648"/>
                    <a:pt x="524" y="650"/>
                    <a:pt x="526" y="651"/>
                  </a:cubicBezTo>
                  <a:cubicBezTo>
                    <a:pt x="523" y="645"/>
                    <a:pt x="527" y="647"/>
                    <a:pt x="529" y="643"/>
                  </a:cubicBezTo>
                  <a:cubicBezTo>
                    <a:pt x="530" y="645"/>
                    <a:pt x="529" y="646"/>
                    <a:pt x="530" y="647"/>
                  </a:cubicBezTo>
                  <a:cubicBezTo>
                    <a:pt x="533" y="646"/>
                    <a:pt x="536" y="642"/>
                    <a:pt x="539" y="643"/>
                  </a:cubicBezTo>
                  <a:cubicBezTo>
                    <a:pt x="540" y="645"/>
                    <a:pt x="539" y="646"/>
                    <a:pt x="539" y="648"/>
                  </a:cubicBezTo>
                  <a:cubicBezTo>
                    <a:pt x="540" y="648"/>
                    <a:pt x="542" y="646"/>
                    <a:pt x="543" y="650"/>
                  </a:cubicBezTo>
                  <a:cubicBezTo>
                    <a:pt x="544" y="648"/>
                    <a:pt x="547" y="647"/>
                    <a:pt x="546" y="645"/>
                  </a:cubicBezTo>
                  <a:cubicBezTo>
                    <a:pt x="543" y="643"/>
                    <a:pt x="541" y="645"/>
                    <a:pt x="538" y="641"/>
                  </a:cubicBezTo>
                  <a:cubicBezTo>
                    <a:pt x="542" y="641"/>
                    <a:pt x="541" y="642"/>
                    <a:pt x="540" y="638"/>
                  </a:cubicBezTo>
                  <a:cubicBezTo>
                    <a:pt x="543" y="641"/>
                    <a:pt x="546" y="640"/>
                    <a:pt x="545" y="644"/>
                  </a:cubicBezTo>
                  <a:cubicBezTo>
                    <a:pt x="547" y="643"/>
                    <a:pt x="549" y="641"/>
                    <a:pt x="550" y="644"/>
                  </a:cubicBezTo>
                  <a:cubicBezTo>
                    <a:pt x="549" y="645"/>
                    <a:pt x="549" y="648"/>
                    <a:pt x="547" y="649"/>
                  </a:cubicBezTo>
                  <a:cubicBezTo>
                    <a:pt x="551" y="652"/>
                    <a:pt x="549" y="654"/>
                    <a:pt x="548" y="657"/>
                  </a:cubicBezTo>
                  <a:cubicBezTo>
                    <a:pt x="552" y="657"/>
                    <a:pt x="552" y="654"/>
                    <a:pt x="552" y="651"/>
                  </a:cubicBezTo>
                  <a:cubicBezTo>
                    <a:pt x="550" y="651"/>
                    <a:pt x="549" y="650"/>
                    <a:pt x="549" y="648"/>
                  </a:cubicBezTo>
                  <a:cubicBezTo>
                    <a:pt x="551" y="648"/>
                    <a:pt x="551" y="645"/>
                    <a:pt x="554" y="648"/>
                  </a:cubicBezTo>
                  <a:cubicBezTo>
                    <a:pt x="553" y="646"/>
                    <a:pt x="551" y="644"/>
                    <a:pt x="552" y="643"/>
                  </a:cubicBezTo>
                  <a:cubicBezTo>
                    <a:pt x="553" y="643"/>
                    <a:pt x="554" y="643"/>
                    <a:pt x="555" y="644"/>
                  </a:cubicBezTo>
                  <a:cubicBezTo>
                    <a:pt x="557" y="652"/>
                    <a:pt x="555" y="656"/>
                    <a:pt x="550" y="659"/>
                  </a:cubicBezTo>
                  <a:cubicBezTo>
                    <a:pt x="551" y="661"/>
                    <a:pt x="555" y="664"/>
                    <a:pt x="553" y="665"/>
                  </a:cubicBezTo>
                  <a:cubicBezTo>
                    <a:pt x="552" y="663"/>
                    <a:pt x="551" y="665"/>
                    <a:pt x="550" y="664"/>
                  </a:cubicBezTo>
                  <a:cubicBezTo>
                    <a:pt x="547" y="660"/>
                    <a:pt x="549" y="657"/>
                    <a:pt x="546" y="657"/>
                  </a:cubicBezTo>
                  <a:cubicBezTo>
                    <a:pt x="551" y="670"/>
                    <a:pt x="539" y="671"/>
                    <a:pt x="534" y="670"/>
                  </a:cubicBezTo>
                  <a:cubicBezTo>
                    <a:pt x="532" y="671"/>
                    <a:pt x="538" y="672"/>
                    <a:pt x="536" y="674"/>
                  </a:cubicBezTo>
                  <a:cubicBezTo>
                    <a:pt x="532" y="675"/>
                    <a:pt x="527" y="674"/>
                    <a:pt x="526" y="677"/>
                  </a:cubicBezTo>
                  <a:cubicBezTo>
                    <a:pt x="525" y="676"/>
                    <a:pt x="524" y="674"/>
                    <a:pt x="523" y="674"/>
                  </a:cubicBezTo>
                  <a:cubicBezTo>
                    <a:pt x="525" y="684"/>
                    <a:pt x="509" y="679"/>
                    <a:pt x="508" y="685"/>
                  </a:cubicBezTo>
                  <a:cubicBezTo>
                    <a:pt x="509" y="684"/>
                    <a:pt x="510" y="684"/>
                    <a:pt x="510" y="685"/>
                  </a:cubicBezTo>
                  <a:cubicBezTo>
                    <a:pt x="507" y="687"/>
                    <a:pt x="505" y="680"/>
                    <a:pt x="503" y="682"/>
                  </a:cubicBezTo>
                  <a:cubicBezTo>
                    <a:pt x="504" y="685"/>
                    <a:pt x="508" y="685"/>
                    <a:pt x="507" y="687"/>
                  </a:cubicBezTo>
                  <a:cubicBezTo>
                    <a:pt x="503" y="684"/>
                    <a:pt x="506" y="688"/>
                    <a:pt x="504" y="690"/>
                  </a:cubicBezTo>
                  <a:cubicBezTo>
                    <a:pt x="502" y="688"/>
                    <a:pt x="499" y="690"/>
                    <a:pt x="498" y="688"/>
                  </a:cubicBezTo>
                  <a:cubicBezTo>
                    <a:pt x="497" y="699"/>
                    <a:pt x="485" y="693"/>
                    <a:pt x="482" y="697"/>
                  </a:cubicBezTo>
                  <a:cubicBezTo>
                    <a:pt x="479" y="693"/>
                    <a:pt x="476" y="694"/>
                    <a:pt x="473" y="694"/>
                  </a:cubicBezTo>
                  <a:cubicBezTo>
                    <a:pt x="475" y="698"/>
                    <a:pt x="478" y="694"/>
                    <a:pt x="480" y="697"/>
                  </a:cubicBezTo>
                  <a:cubicBezTo>
                    <a:pt x="472" y="700"/>
                    <a:pt x="466" y="710"/>
                    <a:pt x="461" y="717"/>
                  </a:cubicBezTo>
                  <a:cubicBezTo>
                    <a:pt x="458" y="714"/>
                    <a:pt x="461" y="714"/>
                    <a:pt x="460" y="712"/>
                  </a:cubicBezTo>
                  <a:cubicBezTo>
                    <a:pt x="456" y="712"/>
                    <a:pt x="460" y="717"/>
                    <a:pt x="459" y="718"/>
                  </a:cubicBezTo>
                  <a:cubicBezTo>
                    <a:pt x="452" y="716"/>
                    <a:pt x="444" y="711"/>
                    <a:pt x="444" y="721"/>
                  </a:cubicBezTo>
                  <a:cubicBezTo>
                    <a:pt x="445" y="720"/>
                    <a:pt x="447" y="719"/>
                    <a:pt x="448" y="720"/>
                  </a:cubicBezTo>
                  <a:cubicBezTo>
                    <a:pt x="446" y="721"/>
                    <a:pt x="443" y="730"/>
                    <a:pt x="438" y="727"/>
                  </a:cubicBezTo>
                  <a:cubicBezTo>
                    <a:pt x="438" y="725"/>
                    <a:pt x="436" y="722"/>
                    <a:pt x="437" y="721"/>
                  </a:cubicBezTo>
                  <a:cubicBezTo>
                    <a:pt x="439" y="722"/>
                    <a:pt x="440" y="722"/>
                    <a:pt x="441" y="721"/>
                  </a:cubicBezTo>
                  <a:cubicBezTo>
                    <a:pt x="439" y="718"/>
                    <a:pt x="442" y="717"/>
                    <a:pt x="440" y="714"/>
                  </a:cubicBezTo>
                  <a:cubicBezTo>
                    <a:pt x="437" y="714"/>
                    <a:pt x="441" y="718"/>
                    <a:pt x="438" y="719"/>
                  </a:cubicBezTo>
                  <a:cubicBezTo>
                    <a:pt x="436" y="716"/>
                    <a:pt x="438" y="716"/>
                    <a:pt x="435" y="714"/>
                  </a:cubicBezTo>
                  <a:cubicBezTo>
                    <a:pt x="436" y="717"/>
                    <a:pt x="431" y="721"/>
                    <a:pt x="434" y="722"/>
                  </a:cubicBezTo>
                  <a:cubicBezTo>
                    <a:pt x="430" y="719"/>
                    <a:pt x="428" y="729"/>
                    <a:pt x="422" y="725"/>
                  </a:cubicBezTo>
                  <a:cubicBezTo>
                    <a:pt x="421" y="722"/>
                    <a:pt x="428" y="726"/>
                    <a:pt x="425" y="721"/>
                  </a:cubicBezTo>
                  <a:cubicBezTo>
                    <a:pt x="423" y="721"/>
                    <a:pt x="420" y="723"/>
                    <a:pt x="419" y="724"/>
                  </a:cubicBezTo>
                  <a:cubicBezTo>
                    <a:pt x="421" y="730"/>
                    <a:pt x="420" y="723"/>
                    <a:pt x="421" y="726"/>
                  </a:cubicBezTo>
                  <a:cubicBezTo>
                    <a:pt x="425" y="730"/>
                    <a:pt x="417" y="734"/>
                    <a:pt x="420" y="736"/>
                  </a:cubicBezTo>
                  <a:cubicBezTo>
                    <a:pt x="422" y="729"/>
                    <a:pt x="431" y="730"/>
                    <a:pt x="429" y="726"/>
                  </a:cubicBezTo>
                  <a:cubicBezTo>
                    <a:pt x="433" y="728"/>
                    <a:pt x="436" y="726"/>
                    <a:pt x="440" y="730"/>
                  </a:cubicBezTo>
                  <a:cubicBezTo>
                    <a:pt x="437" y="731"/>
                    <a:pt x="438" y="732"/>
                    <a:pt x="434" y="735"/>
                  </a:cubicBezTo>
                  <a:cubicBezTo>
                    <a:pt x="431" y="732"/>
                    <a:pt x="421" y="727"/>
                    <a:pt x="427" y="736"/>
                  </a:cubicBezTo>
                  <a:cubicBezTo>
                    <a:pt x="429" y="734"/>
                    <a:pt x="430" y="735"/>
                    <a:pt x="432" y="738"/>
                  </a:cubicBezTo>
                  <a:cubicBezTo>
                    <a:pt x="428" y="736"/>
                    <a:pt x="431" y="743"/>
                    <a:pt x="426" y="741"/>
                  </a:cubicBezTo>
                  <a:cubicBezTo>
                    <a:pt x="430" y="746"/>
                    <a:pt x="433" y="739"/>
                    <a:pt x="434" y="737"/>
                  </a:cubicBezTo>
                  <a:cubicBezTo>
                    <a:pt x="434" y="738"/>
                    <a:pt x="434" y="739"/>
                    <a:pt x="435" y="740"/>
                  </a:cubicBezTo>
                  <a:cubicBezTo>
                    <a:pt x="443" y="733"/>
                    <a:pt x="451" y="733"/>
                    <a:pt x="461" y="733"/>
                  </a:cubicBezTo>
                  <a:cubicBezTo>
                    <a:pt x="458" y="727"/>
                    <a:pt x="454" y="733"/>
                    <a:pt x="451" y="727"/>
                  </a:cubicBezTo>
                  <a:cubicBezTo>
                    <a:pt x="452" y="727"/>
                    <a:pt x="451" y="726"/>
                    <a:pt x="452" y="725"/>
                  </a:cubicBezTo>
                  <a:cubicBezTo>
                    <a:pt x="454" y="729"/>
                    <a:pt x="456" y="728"/>
                    <a:pt x="459" y="726"/>
                  </a:cubicBezTo>
                  <a:cubicBezTo>
                    <a:pt x="461" y="730"/>
                    <a:pt x="463" y="730"/>
                    <a:pt x="465" y="731"/>
                  </a:cubicBezTo>
                  <a:cubicBezTo>
                    <a:pt x="464" y="722"/>
                    <a:pt x="473" y="723"/>
                    <a:pt x="479" y="723"/>
                  </a:cubicBezTo>
                  <a:cubicBezTo>
                    <a:pt x="480" y="724"/>
                    <a:pt x="478" y="724"/>
                    <a:pt x="479" y="726"/>
                  </a:cubicBezTo>
                  <a:cubicBezTo>
                    <a:pt x="484" y="725"/>
                    <a:pt x="487" y="723"/>
                    <a:pt x="485" y="719"/>
                  </a:cubicBezTo>
                  <a:cubicBezTo>
                    <a:pt x="486" y="721"/>
                    <a:pt x="488" y="713"/>
                    <a:pt x="491" y="717"/>
                  </a:cubicBezTo>
                  <a:cubicBezTo>
                    <a:pt x="491" y="718"/>
                    <a:pt x="490" y="722"/>
                    <a:pt x="493" y="721"/>
                  </a:cubicBezTo>
                  <a:cubicBezTo>
                    <a:pt x="492" y="717"/>
                    <a:pt x="496" y="715"/>
                    <a:pt x="499" y="713"/>
                  </a:cubicBezTo>
                  <a:cubicBezTo>
                    <a:pt x="501" y="716"/>
                    <a:pt x="503" y="718"/>
                    <a:pt x="504" y="717"/>
                  </a:cubicBezTo>
                  <a:cubicBezTo>
                    <a:pt x="505" y="714"/>
                    <a:pt x="500" y="713"/>
                    <a:pt x="501" y="710"/>
                  </a:cubicBezTo>
                  <a:cubicBezTo>
                    <a:pt x="506" y="714"/>
                    <a:pt x="508" y="707"/>
                    <a:pt x="514" y="712"/>
                  </a:cubicBezTo>
                  <a:cubicBezTo>
                    <a:pt x="512" y="709"/>
                    <a:pt x="512" y="707"/>
                    <a:pt x="514" y="707"/>
                  </a:cubicBezTo>
                  <a:cubicBezTo>
                    <a:pt x="515" y="708"/>
                    <a:pt x="517" y="715"/>
                    <a:pt x="517" y="711"/>
                  </a:cubicBezTo>
                  <a:cubicBezTo>
                    <a:pt x="514" y="708"/>
                    <a:pt x="521" y="705"/>
                    <a:pt x="522" y="708"/>
                  </a:cubicBezTo>
                  <a:cubicBezTo>
                    <a:pt x="515" y="711"/>
                    <a:pt x="523" y="716"/>
                    <a:pt x="519" y="721"/>
                  </a:cubicBezTo>
                  <a:cubicBezTo>
                    <a:pt x="518" y="720"/>
                    <a:pt x="518" y="720"/>
                    <a:pt x="517" y="719"/>
                  </a:cubicBezTo>
                  <a:cubicBezTo>
                    <a:pt x="516" y="717"/>
                    <a:pt x="518" y="716"/>
                    <a:pt x="516" y="713"/>
                  </a:cubicBezTo>
                  <a:cubicBezTo>
                    <a:pt x="512" y="715"/>
                    <a:pt x="511" y="712"/>
                    <a:pt x="510" y="717"/>
                  </a:cubicBezTo>
                  <a:cubicBezTo>
                    <a:pt x="507" y="715"/>
                    <a:pt x="506" y="717"/>
                    <a:pt x="505" y="712"/>
                  </a:cubicBezTo>
                  <a:cubicBezTo>
                    <a:pt x="502" y="714"/>
                    <a:pt x="507" y="719"/>
                    <a:pt x="505" y="720"/>
                  </a:cubicBezTo>
                  <a:cubicBezTo>
                    <a:pt x="503" y="721"/>
                    <a:pt x="502" y="720"/>
                    <a:pt x="500" y="722"/>
                  </a:cubicBezTo>
                  <a:cubicBezTo>
                    <a:pt x="498" y="718"/>
                    <a:pt x="498" y="718"/>
                    <a:pt x="498" y="718"/>
                  </a:cubicBezTo>
                  <a:cubicBezTo>
                    <a:pt x="495" y="723"/>
                    <a:pt x="496" y="719"/>
                    <a:pt x="495" y="725"/>
                  </a:cubicBezTo>
                  <a:cubicBezTo>
                    <a:pt x="491" y="725"/>
                    <a:pt x="489" y="722"/>
                    <a:pt x="487" y="719"/>
                  </a:cubicBezTo>
                  <a:cubicBezTo>
                    <a:pt x="486" y="721"/>
                    <a:pt x="490" y="725"/>
                    <a:pt x="489" y="727"/>
                  </a:cubicBezTo>
                  <a:cubicBezTo>
                    <a:pt x="485" y="729"/>
                    <a:pt x="484" y="732"/>
                    <a:pt x="480" y="731"/>
                  </a:cubicBezTo>
                  <a:cubicBezTo>
                    <a:pt x="479" y="729"/>
                    <a:pt x="481" y="729"/>
                    <a:pt x="481" y="728"/>
                  </a:cubicBezTo>
                  <a:cubicBezTo>
                    <a:pt x="478" y="729"/>
                    <a:pt x="478" y="729"/>
                    <a:pt x="478" y="729"/>
                  </a:cubicBezTo>
                  <a:cubicBezTo>
                    <a:pt x="479" y="733"/>
                    <a:pt x="481" y="732"/>
                    <a:pt x="481" y="735"/>
                  </a:cubicBezTo>
                  <a:cubicBezTo>
                    <a:pt x="487" y="727"/>
                    <a:pt x="498" y="730"/>
                    <a:pt x="502" y="722"/>
                  </a:cubicBezTo>
                  <a:cubicBezTo>
                    <a:pt x="503" y="723"/>
                    <a:pt x="505" y="724"/>
                    <a:pt x="506" y="727"/>
                  </a:cubicBezTo>
                  <a:cubicBezTo>
                    <a:pt x="509" y="724"/>
                    <a:pt x="512" y="722"/>
                    <a:pt x="506" y="722"/>
                  </a:cubicBezTo>
                  <a:cubicBezTo>
                    <a:pt x="507" y="721"/>
                    <a:pt x="507" y="720"/>
                    <a:pt x="508" y="718"/>
                  </a:cubicBezTo>
                  <a:cubicBezTo>
                    <a:pt x="511" y="723"/>
                    <a:pt x="515" y="722"/>
                    <a:pt x="513" y="718"/>
                  </a:cubicBezTo>
                  <a:cubicBezTo>
                    <a:pt x="515" y="722"/>
                    <a:pt x="514" y="715"/>
                    <a:pt x="516" y="718"/>
                  </a:cubicBezTo>
                  <a:cubicBezTo>
                    <a:pt x="519" y="721"/>
                    <a:pt x="513" y="723"/>
                    <a:pt x="512" y="726"/>
                  </a:cubicBezTo>
                  <a:cubicBezTo>
                    <a:pt x="517" y="728"/>
                    <a:pt x="520" y="721"/>
                    <a:pt x="523" y="718"/>
                  </a:cubicBezTo>
                  <a:cubicBezTo>
                    <a:pt x="523" y="725"/>
                    <a:pt x="528" y="715"/>
                    <a:pt x="530" y="718"/>
                  </a:cubicBezTo>
                  <a:cubicBezTo>
                    <a:pt x="532" y="720"/>
                    <a:pt x="527" y="723"/>
                    <a:pt x="531" y="724"/>
                  </a:cubicBezTo>
                  <a:cubicBezTo>
                    <a:pt x="532" y="719"/>
                    <a:pt x="536" y="719"/>
                    <a:pt x="536" y="712"/>
                  </a:cubicBezTo>
                  <a:cubicBezTo>
                    <a:pt x="545" y="717"/>
                    <a:pt x="544" y="698"/>
                    <a:pt x="556" y="704"/>
                  </a:cubicBezTo>
                  <a:cubicBezTo>
                    <a:pt x="555" y="700"/>
                    <a:pt x="560" y="700"/>
                    <a:pt x="562" y="700"/>
                  </a:cubicBezTo>
                  <a:cubicBezTo>
                    <a:pt x="564" y="703"/>
                    <a:pt x="558" y="702"/>
                    <a:pt x="562" y="706"/>
                  </a:cubicBezTo>
                  <a:cubicBezTo>
                    <a:pt x="564" y="704"/>
                    <a:pt x="565" y="702"/>
                    <a:pt x="565" y="699"/>
                  </a:cubicBezTo>
                  <a:cubicBezTo>
                    <a:pt x="566" y="698"/>
                    <a:pt x="568" y="701"/>
                    <a:pt x="570" y="700"/>
                  </a:cubicBezTo>
                  <a:cubicBezTo>
                    <a:pt x="568" y="698"/>
                    <a:pt x="571" y="694"/>
                    <a:pt x="572" y="696"/>
                  </a:cubicBezTo>
                  <a:cubicBezTo>
                    <a:pt x="572" y="697"/>
                    <a:pt x="571" y="698"/>
                    <a:pt x="570" y="698"/>
                  </a:cubicBezTo>
                  <a:cubicBezTo>
                    <a:pt x="572" y="701"/>
                    <a:pt x="573" y="701"/>
                    <a:pt x="575" y="701"/>
                  </a:cubicBezTo>
                  <a:cubicBezTo>
                    <a:pt x="574" y="700"/>
                    <a:pt x="572" y="697"/>
                    <a:pt x="573" y="696"/>
                  </a:cubicBezTo>
                  <a:cubicBezTo>
                    <a:pt x="577" y="701"/>
                    <a:pt x="583" y="701"/>
                    <a:pt x="589" y="702"/>
                  </a:cubicBezTo>
                  <a:cubicBezTo>
                    <a:pt x="586" y="696"/>
                    <a:pt x="595" y="701"/>
                    <a:pt x="590" y="695"/>
                  </a:cubicBezTo>
                  <a:cubicBezTo>
                    <a:pt x="587" y="696"/>
                    <a:pt x="585" y="702"/>
                    <a:pt x="586" y="696"/>
                  </a:cubicBezTo>
                  <a:cubicBezTo>
                    <a:pt x="582" y="695"/>
                    <a:pt x="582" y="701"/>
                    <a:pt x="579" y="699"/>
                  </a:cubicBezTo>
                  <a:cubicBezTo>
                    <a:pt x="578" y="696"/>
                    <a:pt x="578" y="696"/>
                    <a:pt x="578" y="696"/>
                  </a:cubicBezTo>
                  <a:cubicBezTo>
                    <a:pt x="582" y="694"/>
                    <a:pt x="588" y="699"/>
                    <a:pt x="590" y="692"/>
                  </a:cubicBezTo>
                  <a:cubicBezTo>
                    <a:pt x="589" y="693"/>
                    <a:pt x="588" y="694"/>
                    <a:pt x="587" y="693"/>
                  </a:cubicBezTo>
                  <a:cubicBezTo>
                    <a:pt x="588" y="692"/>
                    <a:pt x="587" y="691"/>
                    <a:pt x="588" y="691"/>
                  </a:cubicBezTo>
                  <a:cubicBezTo>
                    <a:pt x="589" y="690"/>
                    <a:pt x="591" y="695"/>
                    <a:pt x="593" y="692"/>
                  </a:cubicBezTo>
                  <a:cubicBezTo>
                    <a:pt x="587" y="687"/>
                    <a:pt x="600" y="688"/>
                    <a:pt x="595" y="680"/>
                  </a:cubicBezTo>
                  <a:cubicBezTo>
                    <a:pt x="599" y="683"/>
                    <a:pt x="596" y="678"/>
                    <a:pt x="600" y="677"/>
                  </a:cubicBezTo>
                  <a:cubicBezTo>
                    <a:pt x="600" y="678"/>
                    <a:pt x="601" y="678"/>
                    <a:pt x="602" y="679"/>
                  </a:cubicBezTo>
                  <a:cubicBezTo>
                    <a:pt x="603" y="681"/>
                    <a:pt x="600" y="685"/>
                    <a:pt x="603" y="686"/>
                  </a:cubicBezTo>
                  <a:cubicBezTo>
                    <a:pt x="602" y="683"/>
                    <a:pt x="608" y="683"/>
                    <a:pt x="606" y="680"/>
                  </a:cubicBezTo>
                  <a:cubicBezTo>
                    <a:pt x="605" y="681"/>
                    <a:pt x="601" y="679"/>
                    <a:pt x="603" y="678"/>
                  </a:cubicBezTo>
                  <a:cubicBezTo>
                    <a:pt x="605" y="675"/>
                    <a:pt x="610" y="683"/>
                    <a:pt x="610" y="677"/>
                  </a:cubicBezTo>
                  <a:cubicBezTo>
                    <a:pt x="609" y="677"/>
                    <a:pt x="607" y="676"/>
                    <a:pt x="608" y="675"/>
                  </a:cubicBezTo>
                  <a:cubicBezTo>
                    <a:pt x="614" y="676"/>
                    <a:pt x="615" y="673"/>
                    <a:pt x="619" y="671"/>
                  </a:cubicBezTo>
                  <a:cubicBezTo>
                    <a:pt x="618" y="674"/>
                    <a:pt x="615" y="676"/>
                    <a:pt x="616" y="680"/>
                  </a:cubicBezTo>
                  <a:cubicBezTo>
                    <a:pt x="619" y="677"/>
                    <a:pt x="621" y="677"/>
                    <a:pt x="624" y="679"/>
                  </a:cubicBezTo>
                  <a:cubicBezTo>
                    <a:pt x="622" y="675"/>
                    <a:pt x="618" y="675"/>
                    <a:pt x="620" y="672"/>
                  </a:cubicBezTo>
                  <a:cubicBezTo>
                    <a:pt x="623" y="675"/>
                    <a:pt x="625" y="671"/>
                    <a:pt x="627" y="674"/>
                  </a:cubicBezTo>
                  <a:cubicBezTo>
                    <a:pt x="624" y="671"/>
                    <a:pt x="626" y="667"/>
                    <a:pt x="624" y="667"/>
                  </a:cubicBezTo>
                  <a:cubicBezTo>
                    <a:pt x="624" y="672"/>
                    <a:pt x="622" y="664"/>
                    <a:pt x="621" y="665"/>
                  </a:cubicBezTo>
                  <a:cubicBezTo>
                    <a:pt x="623" y="667"/>
                    <a:pt x="618" y="670"/>
                    <a:pt x="618" y="668"/>
                  </a:cubicBezTo>
                  <a:cubicBezTo>
                    <a:pt x="620" y="667"/>
                    <a:pt x="622" y="662"/>
                    <a:pt x="619" y="662"/>
                  </a:cubicBezTo>
                  <a:cubicBezTo>
                    <a:pt x="621" y="665"/>
                    <a:pt x="617" y="664"/>
                    <a:pt x="617" y="662"/>
                  </a:cubicBezTo>
                  <a:cubicBezTo>
                    <a:pt x="617" y="659"/>
                    <a:pt x="619" y="662"/>
                    <a:pt x="621" y="660"/>
                  </a:cubicBezTo>
                  <a:cubicBezTo>
                    <a:pt x="620" y="657"/>
                    <a:pt x="617" y="657"/>
                    <a:pt x="618" y="655"/>
                  </a:cubicBezTo>
                  <a:cubicBezTo>
                    <a:pt x="623" y="653"/>
                    <a:pt x="628" y="655"/>
                    <a:pt x="633" y="649"/>
                  </a:cubicBezTo>
                  <a:cubicBezTo>
                    <a:pt x="632" y="654"/>
                    <a:pt x="639" y="651"/>
                    <a:pt x="638" y="655"/>
                  </a:cubicBezTo>
                  <a:cubicBezTo>
                    <a:pt x="635" y="654"/>
                    <a:pt x="630" y="655"/>
                    <a:pt x="632" y="661"/>
                  </a:cubicBezTo>
                  <a:cubicBezTo>
                    <a:pt x="634" y="657"/>
                    <a:pt x="640" y="653"/>
                    <a:pt x="645" y="655"/>
                  </a:cubicBezTo>
                  <a:cubicBezTo>
                    <a:pt x="641" y="659"/>
                    <a:pt x="640" y="659"/>
                    <a:pt x="635" y="658"/>
                  </a:cubicBezTo>
                  <a:cubicBezTo>
                    <a:pt x="639" y="664"/>
                    <a:pt x="638" y="666"/>
                    <a:pt x="641" y="673"/>
                  </a:cubicBezTo>
                  <a:cubicBezTo>
                    <a:pt x="644" y="673"/>
                    <a:pt x="644" y="667"/>
                    <a:pt x="643" y="667"/>
                  </a:cubicBezTo>
                  <a:cubicBezTo>
                    <a:pt x="641" y="667"/>
                    <a:pt x="643" y="673"/>
                    <a:pt x="641" y="670"/>
                  </a:cubicBezTo>
                  <a:cubicBezTo>
                    <a:pt x="639" y="667"/>
                    <a:pt x="639" y="664"/>
                    <a:pt x="641" y="662"/>
                  </a:cubicBezTo>
                  <a:cubicBezTo>
                    <a:pt x="645" y="665"/>
                    <a:pt x="645" y="661"/>
                    <a:pt x="648" y="661"/>
                  </a:cubicBezTo>
                  <a:cubicBezTo>
                    <a:pt x="650" y="666"/>
                    <a:pt x="652" y="662"/>
                    <a:pt x="653" y="664"/>
                  </a:cubicBezTo>
                  <a:cubicBezTo>
                    <a:pt x="653" y="667"/>
                    <a:pt x="651" y="665"/>
                    <a:pt x="650" y="666"/>
                  </a:cubicBezTo>
                  <a:cubicBezTo>
                    <a:pt x="654" y="673"/>
                    <a:pt x="653" y="664"/>
                    <a:pt x="655" y="663"/>
                  </a:cubicBezTo>
                  <a:cubicBezTo>
                    <a:pt x="656" y="665"/>
                    <a:pt x="657" y="666"/>
                    <a:pt x="657" y="668"/>
                  </a:cubicBezTo>
                  <a:cubicBezTo>
                    <a:pt x="658" y="667"/>
                    <a:pt x="659" y="666"/>
                    <a:pt x="658" y="664"/>
                  </a:cubicBezTo>
                  <a:cubicBezTo>
                    <a:pt x="654" y="664"/>
                    <a:pt x="653" y="654"/>
                    <a:pt x="658" y="653"/>
                  </a:cubicBezTo>
                  <a:cubicBezTo>
                    <a:pt x="660" y="655"/>
                    <a:pt x="661" y="654"/>
                    <a:pt x="662" y="658"/>
                  </a:cubicBezTo>
                  <a:cubicBezTo>
                    <a:pt x="663" y="658"/>
                    <a:pt x="663" y="656"/>
                    <a:pt x="664" y="655"/>
                  </a:cubicBezTo>
                  <a:cubicBezTo>
                    <a:pt x="666" y="660"/>
                    <a:pt x="669" y="657"/>
                    <a:pt x="671" y="660"/>
                  </a:cubicBezTo>
                  <a:cubicBezTo>
                    <a:pt x="673" y="657"/>
                    <a:pt x="674" y="658"/>
                    <a:pt x="673" y="654"/>
                  </a:cubicBezTo>
                  <a:cubicBezTo>
                    <a:pt x="671" y="651"/>
                    <a:pt x="670" y="656"/>
                    <a:pt x="669" y="654"/>
                  </a:cubicBezTo>
                  <a:cubicBezTo>
                    <a:pt x="668" y="652"/>
                    <a:pt x="670" y="648"/>
                    <a:pt x="673" y="650"/>
                  </a:cubicBezTo>
                  <a:cubicBezTo>
                    <a:pt x="675" y="654"/>
                    <a:pt x="674" y="657"/>
                    <a:pt x="678" y="656"/>
                  </a:cubicBezTo>
                  <a:cubicBezTo>
                    <a:pt x="673" y="651"/>
                    <a:pt x="679" y="654"/>
                    <a:pt x="678" y="651"/>
                  </a:cubicBezTo>
                  <a:cubicBezTo>
                    <a:pt x="676" y="650"/>
                    <a:pt x="674" y="649"/>
                    <a:pt x="672" y="645"/>
                  </a:cubicBezTo>
                  <a:cubicBezTo>
                    <a:pt x="676" y="641"/>
                    <a:pt x="679" y="643"/>
                    <a:pt x="681" y="642"/>
                  </a:cubicBezTo>
                  <a:cubicBezTo>
                    <a:pt x="680" y="644"/>
                    <a:pt x="677" y="645"/>
                    <a:pt x="677" y="649"/>
                  </a:cubicBezTo>
                  <a:cubicBezTo>
                    <a:pt x="683" y="651"/>
                    <a:pt x="685" y="642"/>
                    <a:pt x="690" y="645"/>
                  </a:cubicBezTo>
                  <a:cubicBezTo>
                    <a:pt x="685" y="644"/>
                    <a:pt x="688" y="650"/>
                    <a:pt x="687" y="653"/>
                  </a:cubicBezTo>
                  <a:cubicBezTo>
                    <a:pt x="690" y="653"/>
                    <a:pt x="688" y="657"/>
                    <a:pt x="691" y="657"/>
                  </a:cubicBezTo>
                  <a:cubicBezTo>
                    <a:pt x="689" y="654"/>
                    <a:pt x="690" y="653"/>
                    <a:pt x="690" y="651"/>
                  </a:cubicBezTo>
                  <a:cubicBezTo>
                    <a:pt x="693" y="654"/>
                    <a:pt x="698" y="653"/>
                    <a:pt x="698" y="657"/>
                  </a:cubicBezTo>
                  <a:cubicBezTo>
                    <a:pt x="700" y="653"/>
                    <a:pt x="703" y="646"/>
                    <a:pt x="710" y="651"/>
                  </a:cubicBezTo>
                  <a:cubicBezTo>
                    <a:pt x="709" y="653"/>
                    <a:pt x="706" y="649"/>
                    <a:pt x="707" y="653"/>
                  </a:cubicBezTo>
                  <a:cubicBezTo>
                    <a:pt x="708" y="652"/>
                    <a:pt x="709" y="653"/>
                    <a:pt x="708" y="654"/>
                  </a:cubicBezTo>
                  <a:cubicBezTo>
                    <a:pt x="706" y="655"/>
                    <a:pt x="705" y="648"/>
                    <a:pt x="704" y="652"/>
                  </a:cubicBezTo>
                  <a:cubicBezTo>
                    <a:pt x="706" y="658"/>
                    <a:pt x="700" y="660"/>
                    <a:pt x="698" y="664"/>
                  </a:cubicBezTo>
                  <a:cubicBezTo>
                    <a:pt x="697" y="661"/>
                    <a:pt x="695" y="663"/>
                    <a:pt x="694" y="662"/>
                  </a:cubicBezTo>
                  <a:cubicBezTo>
                    <a:pt x="697" y="665"/>
                    <a:pt x="692" y="667"/>
                    <a:pt x="696" y="667"/>
                  </a:cubicBezTo>
                  <a:cubicBezTo>
                    <a:pt x="695" y="663"/>
                    <a:pt x="699" y="668"/>
                    <a:pt x="700" y="666"/>
                  </a:cubicBezTo>
                  <a:cubicBezTo>
                    <a:pt x="698" y="661"/>
                    <a:pt x="706" y="665"/>
                    <a:pt x="707" y="659"/>
                  </a:cubicBezTo>
                  <a:cubicBezTo>
                    <a:pt x="708" y="661"/>
                    <a:pt x="710" y="663"/>
                    <a:pt x="709" y="664"/>
                  </a:cubicBezTo>
                  <a:cubicBezTo>
                    <a:pt x="708" y="664"/>
                    <a:pt x="704" y="663"/>
                    <a:pt x="706" y="666"/>
                  </a:cubicBezTo>
                  <a:cubicBezTo>
                    <a:pt x="708" y="665"/>
                    <a:pt x="710" y="666"/>
                    <a:pt x="712" y="664"/>
                  </a:cubicBezTo>
                  <a:cubicBezTo>
                    <a:pt x="710" y="662"/>
                    <a:pt x="711" y="661"/>
                    <a:pt x="712" y="660"/>
                  </a:cubicBezTo>
                  <a:cubicBezTo>
                    <a:pt x="710" y="657"/>
                    <a:pt x="710" y="656"/>
                    <a:pt x="711" y="654"/>
                  </a:cubicBezTo>
                  <a:cubicBezTo>
                    <a:pt x="713" y="657"/>
                    <a:pt x="712" y="659"/>
                    <a:pt x="715" y="659"/>
                  </a:cubicBezTo>
                  <a:cubicBezTo>
                    <a:pt x="713" y="653"/>
                    <a:pt x="713" y="649"/>
                    <a:pt x="713" y="644"/>
                  </a:cubicBezTo>
                  <a:cubicBezTo>
                    <a:pt x="714" y="648"/>
                    <a:pt x="716" y="646"/>
                    <a:pt x="717" y="648"/>
                  </a:cubicBezTo>
                  <a:cubicBezTo>
                    <a:pt x="717" y="648"/>
                    <a:pt x="716" y="649"/>
                    <a:pt x="716" y="650"/>
                  </a:cubicBezTo>
                  <a:cubicBezTo>
                    <a:pt x="719" y="647"/>
                    <a:pt x="717" y="654"/>
                    <a:pt x="721" y="653"/>
                  </a:cubicBezTo>
                  <a:cubicBezTo>
                    <a:pt x="717" y="645"/>
                    <a:pt x="722" y="650"/>
                    <a:pt x="722" y="643"/>
                  </a:cubicBezTo>
                  <a:cubicBezTo>
                    <a:pt x="723" y="647"/>
                    <a:pt x="722" y="646"/>
                    <a:pt x="725" y="648"/>
                  </a:cubicBezTo>
                  <a:cubicBezTo>
                    <a:pt x="721" y="650"/>
                    <a:pt x="725" y="648"/>
                    <a:pt x="726" y="651"/>
                  </a:cubicBezTo>
                  <a:cubicBezTo>
                    <a:pt x="726" y="652"/>
                    <a:pt x="726" y="653"/>
                    <a:pt x="725" y="653"/>
                  </a:cubicBezTo>
                  <a:cubicBezTo>
                    <a:pt x="725" y="650"/>
                    <a:pt x="721" y="652"/>
                    <a:pt x="722" y="654"/>
                  </a:cubicBezTo>
                  <a:cubicBezTo>
                    <a:pt x="724" y="654"/>
                    <a:pt x="726" y="660"/>
                    <a:pt x="726" y="661"/>
                  </a:cubicBezTo>
                  <a:cubicBezTo>
                    <a:pt x="728" y="657"/>
                    <a:pt x="730" y="656"/>
                    <a:pt x="729" y="651"/>
                  </a:cubicBezTo>
                  <a:cubicBezTo>
                    <a:pt x="733" y="650"/>
                    <a:pt x="736" y="649"/>
                    <a:pt x="738" y="655"/>
                  </a:cubicBezTo>
                  <a:cubicBezTo>
                    <a:pt x="736" y="656"/>
                    <a:pt x="735" y="653"/>
                    <a:pt x="733" y="653"/>
                  </a:cubicBezTo>
                  <a:cubicBezTo>
                    <a:pt x="732" y="658"/>
                    <a:pt x="729" y="661"/>
                    <a:pt x="729" y="664"/>
                  </a:cubicBezTo>
                  <a:cubicBezTo>
                    <a:pt x="729" y="661"/>
                    <a:pt x="733" y="667"/>
                    <a:pt x="732" y="668"/>
                  </a:cubicBezTo>
                  <a:cubicBezTo>
                    <a:pt x="729" y="668"/>
                    <a:pt x="724" y="666"/>
                    <a:pt x="726" y="670"/>
                  </a:cubicBezTo>
                  <a:cubicBezTo>
                    <a:pt x="721" y="664"/>
                    <a:pt x="718" y="670"/>
                    <a:pt x="714" y="665"/>
                  </a:cubicBezTo>
                  <a:cubicBezTo>
                    <a:pt x="712" y="666"/>
                    <a:pt x="713" y="669"/>
                    <a:pt x="713" y="672"/>
                  </a:cubicBezTo>
                  <a:cubicBezTo>
                    <a:pt x="712" y="669"/>
                    <a:pt x="710" y="672"/>
                    <a:pt x="708" y="671"/>
                  </a:cubicBezTo>
                  <a:cubicBezTo>
                    <a:pt x="708" y="668"/>
                    <a:pt x="705" y="667"/>
                    <a:pt x="703" y="666"/>
                  </a:cubicBezTo>
                  <a:cubicBezTo>
                    <a:pt x="705" y="669"/>
                    <a:pt x="697" y="667"/>
                    <a:pt x="701" y="669"/>
                  </a:cubicBezTo>
                  <a:cubicBezTo>
                    <a:pt x="702" y="669"/>
                    <a:pt x="703" y="669"/>
                    <a:pt x="704" y="670"/>
                  </a:cubicBezTo>
                  <a:cubicBezTo>
                    <a:pt x="702" y="671"/>
                    <a:pt x="702" y="673"/>
                    <a:pt x="701" y="675"/>
                  </a:cubicBezTo>
                  <a:cubicBezTo>
                    <a:pt x="703" y="679"/>
                    <a:pt x="705" y="675"/>
                    <a:pt x="707" y="680"/>
                  </a:cubicBezTo>
                  <a:cubicBezTo>
                    <a:pt x="706" y="680"/>
                    <a:pt x="704" y="681"/>
                    <a:pt x="702" y="680"/>
                  </a:cubicBezTo>
                  <a:cubicBezTo>
                    <a:pt x="704" y="678"/>
                    <a:pt x="699" y="679"/>
                    <a:pt x="698" y="677"/>
                  </a:cubicBezTo>
                  <a:cubicBezTo>
                    <a:pt x="696" y="680"/>
                    <a:pt x="695" y="679"/>
                    <a:pt x="691" y="681"/>
                  </a:cubicBezTo>
                  <a:cubicBezTo>
                    <a:pt x="694" y="687"/>
                    <a:pt x="695" y="680"/>
                    <a:pt x="699" y="679"/>
                  </a:cubicBezTo>
                  <a:cubicBezTo>
                    <a:pt x="704" y="688"/>
                    <a:pt x="710" y="683"/>
                    <a:pt x="715" y="689"/>
                  </a:cubicBezTo>
                  <a:cubicBezTo>
                    <a:pt x="717" y="687"/>
                    <a:pt x="714" y="683"/>
                    <a:pt x="718" y="685"/>
                  </a:cubicBezTo>
                  <a:cubicBezTo>
                    <a:pt x="715" y="680"/>
                    <a:pt x="715" y="680"/>
                    <a:pt x="715" y="680"/>
                  </a:cubicBezTo>
                  <a:cubicBezTo>
                    <a:pt x="713" y="681"/>
                    <a:pt x="715" y="684"/>
                    <a:pt x="712" y="685"/>
                  </a:cubicBezTo>
                  <a:cubicBezTo>
                    <a:pt x="710" y="684"/>
                    <a:pt x="709" y="685"/>
                    <a:pt x="707" y="683"/>
                  </a:cubicBezTo>
                  <a:cubicBezTo>
                    <a:pt x="709" y="682"/>
                    <a:pt x="709" y="680"/>
                    <a:pt x="712" y="677"/>
                  </a:cubicBezTo>
                  <a:cubicBezTo>
                    <a:pt x="713" y="681"/>
                    <a:pt x="715" y="678"/>
                    <a:pt x="717" y="679"/>
                  </a:cubicBezTo>
                  <a:cubicBezTo>
                    <a:pt x="712" y="673"/>
                    <a:pt x="709" y="679"/>
                    <a:pt x="703" y="674"/>
                  </a:cubicBezTo>
                  <a:cubicBezTo>
                    <a:pt x="707" y="673"/>
                    <a:pt x="713" y="671"/>
                    <a:pt x="722" y="677"/>
                  </a:cubicBezTo>
                  <a:cubicBezTo>
                    <a:pt x="723" y="676"/>
                    <a:pt x="720" y="676"/>
                    <a:pt x="721" y="675"/>
                  </a:cubicBezTo>
                  <a:cubicBezTo>
                    <a:pt x="722" y="676"/>
                    <a:pt x="723" y="675"/>
                    <a:pt x="722" y="674"/>
                  </a:cubicBezTo>
                  <a:cubicBezTo>
                    <a:pt x="721" y="675"/>
                    <a:pt x="717" y="673"/>
                    <a:pt x="718" y="672"/>
                  </a:cubicBezTo>
                  <a:cubicBezTo>
                    <a:pt x="721" y="672"/>
                    <a:pt x="724" y="671"/>
                    <a:pt x="727" y="672"/>
                  </a:cubicBezTo>
                  <a:cubicBezTo>
                    <a:pt x="728" y="675"/>
                    <a:pt x="725" y="675"/>
                    <a:pt x="726" y="678"/>
                  </a:cubicBezTo>
                  <a:cubicBezTo>
                    <a:pt x="727" y="678"/>
                    <a:pt x="729" y="678"/>
                    <a:pt x="730" y="678"/>
                  </a:cubicBezTo>
                  <a:cubicBezTo>
                    <a:pt x="729" y="676"/>
                    <a:pt x="728" y="670"/>
                    <a:pt x="732" y="672"/>
                  </a:cubicBezTo>
                  <a:cubicBezTo>
                    <a:pt x="728" y="677"/>
                    <a:pt x="740" y="670"/>
                    <a:pt x="741" y="678"/>
                  </a:cubicBezTo>
                  <a:cubicBezTo>
                    <a:pt x="742" y="676"/>
                    <a:pt x="740" y="673"/>
                    <a:pt x="744" y="672"/>
                  </a:cubicBezTo>
                  <a:cubicBezTo>
                    <a:pt x="745" y="678"/>
                    <a:pt x="746" y="673"/>
                    <a:pt x="749" y="675"/>
                  </a:cubicBezTo>
                  <a:cubicBezTo>
                    <a:pt x="742" y="682"/>
                    <a:pt x="732" y="691"/>
                    <a:pt x="725" y="684"/>
                  </a:cubicBezTo>
                  <a:cubicBezTo>
                    <a:pt x="721" y="688"/>
                    <a:pt x="718" y="689"/>
                    <a:pt x="716" y="692"/>
                  </a:cubicBezTo>
                  <a:cubicBezTo>
                    <a:pt x="716" y="692"/>
                    <a:pt x="717" y="693"/>
                    <a:pt x="717" y="693"/>
                  </a:cubicBezTo>
                  <a:cubicBezTo>
                    <a:pt x="716" y="694"/>
                    <a:pt x="716" y="695"/>
                    <a:pt x="715" y="695"/>
                  </a:cubicBezTo>
                  <a:cubicBezTo>
                    <a:pt x="713" y="693"/>
                    <a:pt x="711" y="691"/>
                    <a:pt x="708" y="688"/>
                  </a:cubicBezTo>
                  <a:cubicBezTo>
                    <a:pt x="707" y="691"/>
                    <a:pt x="711" y="692"/>
                    <a:pt x="710" y="694"/>
                  </a:cubicBezTo>
                  <a:cubicBezTo>
                    <a:pt x="707" y="691"/>
                    <a:pt x="708" y="697"/>
                    <a:pt x="707" y="699"/>
                  </a:cubicBezTo>
                  <a:cubicBezTo>
                    <a:pt x="702" y="700"/>
                    <a:pt x="697" y="700"/>
                    <a:pt x="694" y="704"/>
                  </a:cubicBezTo>
                  <a:cubicBezTo>
                    <a:pt x="693" y="704"/>
                    <a:pt x="693" y="705"/>
                    <a:pt x="693" y="705"/>
                  </a:cubicBezTo>
                  <a:cubicBezTo>
                    <a:pt x="693" y="706"/>
                    <a:pt x="693" y="706"/>
                    <a:pt x="693" y="706"/>
                  </a:cubicBezTo>
                  <a:cubicBezTo>
                    <a:pt x="691" y="705"/>
                    <a:pt x="693" y="701"/>
                    <a:pt x="690" y="702"/>
                  </a:cubicBezTo>
                  <a:cubicBezTo>
                    <a:pt x="693" y="705"/>
                    <a:pt x="687" y="705"/>
                    <a:pt x="690" y="708"/>
                  </a:cubicBezTo>
                  <a:cubicBezTo>
                    <a:pt x="693" y="704"/>
                    <a:pt x="691" y="707"/>
                    <a:pt x="692" y="710"/>
                  </a:cubicBezTo>
                  <a:cubicBezTo>
                    <a:pt x="692" y="710"/>
                    <a:pt x="691" y="711"/>
                    <a:pt x="690" y="711"/>
                  </a:cubicBezTo>
                  <a:cubicBezTo>
                    <a:pt x="690" y="711"/>
                    <a:pt x="690" y="710"/>
                    <a:pt x="690" y="710"/>
                  </a:cubicBezTo>
                  <a:cubicBezTo>
                    <a:pt x="689" y="711"/>
                    <a:pt x="689" y="712"/>
                    <a:pt x="688" y="712"/>
                  </a:cubicBezTo>
                  <a:cubicBezTo>
                    <a:pt x="687" y="710"/>
                    <a:pt x="686" y="709"/>
                    <a:pt x="685" y="708"/>
                  </a:cubicBezTo>
                  <a:cubicBezTo>
                    <a:pt x="685" y="708"/>
                    <a:pt x="685" y="708"/>
                    <a:pt x="684" y="709"/>
                  </a:cubicBezTo>
                  <a:cubicBezTo>
                    <a:pt x="683" y="707"/>
                    <a:pt x="682" y="706"/>
                    <a:pt x="681" y="706"/>
                  </a:cubicBezTo>
                  <a:cubicBezTo>
                    <a:pt x="682" y="707"/>
                    <a:pt x="682" y="708"/>
                    <a:pt x="683" y="709"/>
                  </a:cubicBezTo>
                  <a:cubicBezTo>
                    <a:pt x="683" y="710"/>
                    <a:pt x="682" y="710"/>
                    <a:pt x="682" y="710"/>
                  </a:cubicBezTo>
                  <a:cubicBezTo>
                    <a:pt x="681" y="710"/>
                    <a:pt x="680" y="709"/>
                    <a:pt x="679" y="707"/>
                  </a:cubicBezTo>
                  <a:cubicBezTo>
                    <a:pt x="677" y="711"/>
                    <a:pt x="678" y="707"/>
                    <a:pt x="674" y="704"/>
                  </a:cubicBezTo>
                  <a:cubicBezTo>
                    <a:pt x="678" y="700"/>
                    <a:pt x="677" y="694"/>
                    <a:pt x="678" y="688"/>
                  </a:cubicBezTo>
                  <a:cubicBezTo>
                    <a:pt x="675" y="690"/>
                    <a:pt x="673" y="696"/>
                    <a:pt x="668" y="693"/>
                  </a:cubicBezTo>
                  <a:cubicBezTo>
                    <a:pt x="670" y="690"/>
                    <a:pt x="671" y="685"/>
                    <a:pt x="676" y="689"/>
                  </a:cubicBezTo>
                  <a:cubicBezTo>
                    <a:pt x="672" y="683"/>
                    <a:pt x="678" y="682"/>
                    <a:pt x="679" y="678"/>
                  </a:cubicBezTo>
                  <a:cubicBezTo>
                    <a:pt x="673" y="674"/>
                    <a:pt x="675" y="689"/>
                    <a:pt x="668" y="683"/>
                  </a:cubicBezTo>
                  <a:cubicBezTo>
                    <a:pt x="669" y="683"/>
                    <a:pt x="670" y="682"/>
                    <a:pt x="669" y="680"/>
                  </a:cubicBezTo>
                  <a:cubicBezTo>
                    <a:pt x="664" y="681"/>
                    <a:pt x="659" y="688"/>
                    <a:pt x="653" y="681"/>
                  </a:cubicBezTo>
                  <a:cubicBezTo>
                    <a:pt x="653" y="686"/>
                    <a:pt x="652" y="687"/>
                    <a:pt x="647" y="683"/>
                  </a:cubicBezTo>
                  <a:cubicBezTo>
                    <a:pt x="651" y="688"/>
                    <a:pt x="655" y="691"/>
                    <a:pt x="658" y="691"/>
                  </a:cubicBezTo>
                  <a:cubicBezTo>
                    <a:pt x="657" y="692"/>
                    <a:pt x="660" y="695"/>
                    <a:pt x="658" y="696"/>
                  </a:cubicBezTo>
                  <a:cubicBezTo>
                    <a:pt x="656" y="696"/>
                    <a:pt x="654" y="695"/>
                    <a:pt x="652" y="695"/>
                  </a:cubicBezTo>
                  <a:cubicBezTo>
                    <a:pt x="654" y="697"/>
                    <a:pt x="654" y="698"/>
                    <a:pt x="654" y="700"/>
                  </a:cubicBezTo>
                  <a:cubicBezTo>
                    <a:pt x="657" y="699"/>
                    <a:pt x="655" y="697"/>
                    <a:pt x="657" y="696"/>
                  </a:cubicBezTo>
                  <a:cubicBezTo>
                    <a:pt x="658" y="698"/>
                    <a:pt x="657" y="699"/>
                    <a:pt x="658" y="701"/>
                  </a:cubicBezTo>
                  <a:cubicBezTo>
                    <a:pt x="661" y="700"/>
                    <a:pt x="659" y="697"/>
                    <a:pt x="662" y="695"/>
                  </a:cubicBezTo>
                  <a:cubicBezTo>
                    <a:pt x="663" y="697"/>
                    <a:pt x="663" y="699"/>
                    <a:pt x="663" y="701"/>
                  </a:cubicBezTo>
                  <a:cubicBezTo>
                    <a:pt x="657" y="701"/>
                    <a:pt x="660" y="713"/>
                    <a:pt x="654" y="711"/>
                  </a:cubicBezTo>
                  <a:cubicBezTo>
                    <a:pt x="658" y="715"/>
                    <a:pt x="659" y="709"/>
                    <a:pt x="662" y="710"/>
                  </a:cubicBezTo>
                  <a:cubicBezTo>
                    <a:pt x="663" y="709"/>
                    <a:pt x="659" y="705"/>
                    <a:pt x="660" y="704"/>
                  </a:cubicBezTo>
                  <a:cubicBezTo>
                    <a:pt x="663" y="702"/>
                    <a:pt x="663" y="702"/>
                    <a:pt x="663" y="702"/>
                  </a:cubicBezTo>
                  <a:cubicBezTo>
                    <a:pt x="666" y="707"/>
                    <a:pt x="666" y="709"/>
                    <a:pt x="665" y="711"/>
                  </a:cubicBezTo>
                  <a:cubicBezTo>
                    <a:pt x="668" y="713"/>
                    <a:pt x="666" y="706"/>
                    <a:pt x="668" y="705"/>
                  </a:cubicBezTo>
                  <a:cubicBezTo>
                    <a:pt x="670" y="706"/>
                    <a:pt x="672" y="704"/>
                    <a:pt x="674" y="708"/>
                  </a:cubicBezTo>
                  <a:cubicBezTo>
                    <a:pt x="674" y="710"/>
                    <a:pt x="674" y="713"/>
                    <a:pt x="674" y="715"/>
                  </a:cubicBezTo>
                  <a:cubicBezTo>
                    <a:pt x="674" y="715"/>
                    <a:pt x="674" y="715"/>
                    <a:pt x="673" y="715"/>
                  </a:cubicBezTo>
                  <a:cubicBezTo>
                    <a:pt x="672" y="713"/>
                    <a:pt x="672" y="712"/>
                    <a:pt x="671" y="710"/>
                  </a:cubicBezTo>
                  <a:cubicBezTo>
                    <a:pt x="667" y="712"/>
                    <a:pt x="671" y="714"/>
                    <a:pt x="671" y="716"/>
                  </a:cubicBezTo>
                  <a:cubicBezTo>
                    <a:pt x="669" y="717"/>
                    <a:pt x="668" y="717"/>
                    <a:pt x="666" y="718"/>
                  </a:cubicBezTo>
                  <a:cubicBezTo>
                    <a:pt x="665" y="718"/>
                    <a:pt x="664" y="718"/>
                    <a:pt x="663" y="718"/>
                  </a:cubicBezTo>
                  <a:cubicBezTo>
                    <a:pt x="663" y="718"/>
                    <a:pt x="664" y="719"/>
                    <a:pt x="664" y="720"/>
                  </a:cubicBezTo>
                  <a:cubicBezTo>
                    <a:pt x="663" y="720"/>
                    <a:pt x="662" y="721"/>
                    <a:pt x="661" y="721"/>
                  </a:cubicBezTo>
                  <a:cubicBezTo>
                    <a:pt x="651" y="721"/>
                    <a:pt x="642" y="730"/>
                    <a:pt x="631" y="728"/>
                  </a:cubicBezTo>
                  <a:cubicBezTo>
                    <a:pt x="630" y="727"/>
                    <a:pt x="631" y="726"/>
                    <a:pt x="633" y="725"/>
                  </a:cubicBezTo>
                  <a:cubicBezTo>
                    <a:pt x="631" y="723"/>
                    <a:pt x="630" y="722"/>
                    <a:pt x="629" y="722"/>
                  </a:cubicBezTo>
                  <a:cubicBezTo>
                    <a:pt x="628" y="726"/>
                    <a:pt x="630" y="731"/>
                    <a:pt x="631" y="735"/>
                  </a:cubicBezTo>
                  <a:cubicBezTo>
                    <a:pt x="628" y="738"/>
                    <a:pt x="629" y="732"/>
                    <a:pt x="626" y="733"/>
                  </a:cubicBezTo>
                  <a:cubicBezTo>
                    <a:pt x="626" y="736"/>
                    <a:pt x="629" y="738"/>
                    <a:pt x="631" y="742"/>
                  </a:cubicBezTo>
                  <a:cubicBezTo>
                    <a:pt x="632" y="737"/>
                    <a:pt x="637" y="739"/>
                    <a:pt x="636" y="734"/>
                  </a:cubicBezTo>
                  <a:cubicBezTo>
                    <a:pt x="635" y="733"/>
                    <a:pt x="634" y="735"/>
                    <a:pt x="632" y="732"/>
                  </a:cubicBezTo>
                  <a:cubicBezTo>
                    <a:pt x="635" y="732"/>
                    <a:pt x="638" y="733"/>
                    <a:pt x="641" y="736"/>
                  </a:cubicBezTo>
                  <a:cubicBezTo>
                    <a:pt x="643" y="733"/>
                    <a:pt x="646" y="731"/>
                    <a:pt x="648" y="731"/>
                  </a:cubicBezTo>
                  <a:cubicBezTo>
                    <a:pt x="648" y="731"/>
                    <a:pt x="648" y="731"/>
                    <a:pt x="648" y="732"/>
                  </a:cubicBezTo>
                  <a:cubicBezTo>
                    <a:pt x="643" y="736"/>
                    <a:pt x="638" y="739"/>
                    <a:pt x="633" y="740"/>
                  </a:cubicBezTo>
                  <a:cubicBezTo>
                    <a:pt x="632" y="745"/>
                    <a:pt x="625" y="745"/>
                    <a:pt x="627" y="748"/>
                  </a:cubicBezTo>
                  <a:cubicBezTo>
                    <a:pt x="625" y="747"/>
                    <a:pt x="620" y="748"/>
                    <a:pt x="619" y="749"/>
                  </a:cubicBezTo>
                  <a:cubicBezTo>
                    <a:pt x="620" y="745"/>
                    <a:pt x="622" y="742"/>
                    <a:pt x="627" y="740"/>
                  </a:cubicBezTo>
                  <a:cubicBezTo>
                    <a:pt x="625" y="735"/>
                    <a:pt x="623" y="738"/>
                    <a:pt x="621" y="735"/>
                  </a:cubicBezTo>
                  <a:cubicBezTo>
                    <a:pt x="619" y="737"/>
                    <a:pt x="621" y="740"/>
                    <a:pt x="619" y="741"/>
                  </a:cubicBezTo>
                  <a:cubicBezTo>
                    <a:pt x="611" y="739"/>
                    <a:pt x="604" y="749"/>
                    <a:pt x="599" y="752"/>
                  </a:cubicBezTo>
                  <a:cubicBezTo>
                    <a:pt x="599" y="750"/>
                    <a:pt x="601" y="749"/>
                    <a:pt x="598" y="746"/>
                  </a:cubicBezTo>
                  <a:cubicBezTo>
                    <a:pt x="596" y="748"/>
                    <a:pt x="597" y="750"/>
                    <a:pt x="597" y="752"/>
                  </a:cubicBezTo>
                  <a:cubicBezTo>
                    <a:pt x="592" y="747"/>
                    <a:pt x="587" y="757"/>
                    <a:pt x="583" y="753"/>
                  </a:cubicBezTo>
                  <a:cubicBezTo>
                    <a:pt x="586" y="752"/>
                    <a:pt x="582" y="744"/>
                    <a:pt x="580" y="747"/>
                  </a:cubicBezTo>
                  <a:cubicBezTo>
                    <a:pt x="587" y="755"/>
                    <a:pt x="572" y="761"/>
                    <a:pt x="568" y="763"/>
                  </a:cubicBezTo>
                  <a:cubicBezTo>
                    <a:pt x="570" y="766"/>
                    <a:pt x="564" y="766"/>
                    <a:pt x="563" y="768"/>
                  </a:cubicBezTo>
                  <a:cubicBezTo>
                    <a:pt x="562" y="768"/>
                    <a:pt x="562" y="769"/>
                    <a:pt x="561" y="769"/>
                  </a:cubicBezTo>
                  <a:cubicBezTo>
                    <a:pt x="560" y="768"/>
                    <a:pt x="559" y="767"/>
                    <a:pt x="558" y="768"/>
                  </a:cubicBezTo>
                  <a:cubicBezTo>
                    <a:pt x="561" y="771"/>
                    <a:pt x="555" y="774"/>
                    <a:pt x="554" y="778"/>
                  </a:cubicBezTo>
                  <a:cubicBezTo>
                    <a:pt x="554" y="778"/>
                    <a:pt x="554" y="778"/>
                    <a:pt x="554" y="778"/>
                  </a:cubicBezTo>
                  <a:cubicBezTo>
                    <a:pt x="553" y="776"/>
                    <a:pt x="553" y="775"/>
                    <a:pt x="552" y="775"/>
                  </a:cubicBezTo>
                  <a:cubicBezTo>
                    <a:pt x="554" y="774"/>
                    <a:pt x="555" y="772"/>
                    <a:pt x="553" y="770"/>
                  </a:cubicBezTo>
                  <a:cubicBezTo>
                    <a:pt x="552" y="774"/>
                    <a:pt x="546" y="775"/>
                    <a:pt x="541" y="776"/>
                  </a:cubicBezTo>
                  <a:cubicBezTo>
                    <a:pt x="543" y="774"/>
                    <a:pt x="544" y="770"/>
                    <a:pt x="541" y="769"/>
                  </a:cubicBezTo>
                  <a:cubicBezTo>
                    <a:pt x="542" y="773"/>
                    <a:pt x="538" y="771"/>
                    <a:pt x="537" y="772"/>
                  </a:cubicBezTo>
                  <a:cubicBezTo>
                    <a:pt x="539" y="776"/>
                    <a:pt x="539" y="776"/>
                    <a:pt x="539" y="776"/>
                  </a:cubicBezTo>
                  <a:cubicBezTo>
                    <a:pt x="536" y="777"/>
                    <a:pt x="534" y="778"/>
                    <a:pt x="534" y="780"/>
                  </a:cubicBezTo>
                  <a:cubicBezTo>
                    <a:pt x="532" y="776"/>
                    <a:pt x="533" y="778"/>
                    <a:pt x="530" y="774"/>
                  </a:cubicBezTo>
                  <a:cubicBezTo>
                    <a:pt x="529" y="775"/>
                    <a:pt x="529" y="778"/>
                    <a:pt x="527" y="778"/>
                  </a:cubicBezTo>
                  <a:cubicBezTo>
                    <a:pt x="525" y="774"/>
                    <a:pt x="523" y="774"/>
                    <a:pt x="520" y="776"/>
                  </a:cubicBezTo>
                  <a:cubicBezTo>
                    <a:pt x="523" y="778"/>
                    <a:pt x="523" y="777"/>
                    <a:pt x="527" y="781"/>
                  </a:cubicBezTo>
                  <a:cubicBezTo>
                    <a:pt x="526" y="782"/>
                    <a:pt x="525" y="784"/>
                    <a:pt x="523" y="784"/>
                  </a:cubicBezTo>
                  <a:cubicBezTo>
                    <a:pt x="523" y="777"/>
                    <a:pt x="521" y="784"/>
                    <a:pt x="520" y="778"/>
                  </a:cubicBezTo>
                  <a:cubicBezTo>
                    <a:pt x="515" y="779"/>
                    <a:pt x="511" y="779"/>
                    <a:pt x="506" y="779"/>
                  </a:cubicBezTo>
                  <a:cubicBezTo>
                    <a:pt x="508" y="783"/>
                    <a:pt x="510" y="777"/>
                    <a:pt x="512" y="783"/>
                  </a:cubicBezTo>
                  <a:cubicBezTo>
                    <a:pt x="508" y="785"/>
                    <a:pt x="508" y="785"/>
                    <a:pt x="508" y="785"/>
                  </a:cubicBezTo>
                  <a:cubicBezTo>
                    <a:pt x="507" y="783"/>
                    <a:pt x="505" y="781"/>
                    <a:pt x="504" y="782"/>
                  </a:cubicBezTo>
                  <a:cubicBezTo>
                    <a:pt x="511" y="792"/>
                    <a:pt x="492" y="790"/>
                    <a:pt x="492" y="801"/>
                  </a:cubicBezTo>
                  <a:cubicBezTo>
                    <a:pt x="492" y="799"/>
                    <a:pt x="492" y="797"/>
                    <a:pt x="491" y="796"/>
                  </a:cubicBezTo>
                  <a:cubicBezTo>
                    <a:pt x="490" y="797"/>
                    <a:pt x="489" y="795"/>
                    <a:pt x="488" y="795"/>
                  </a:cubicBezTo>
                  <a:cubicBezTo>
                    <a:pt x="487" y="797"/>
                    <a:pt x="491" y="797"/>
                    <a:pt x="489" y="800"/>
                  </a:cubicBezTo>
                  <a:cubicBezTo>
                    <a:pt x="486" y="802"/>
                    <a:pt x="487" y="800"/>
                    <a:pt x="487" y="798"/>
                  </a:cubicBezTo>
                  <a:cubicBezTo>
                    <a:pt x="485" y="798"/>
                    <a:pt x="487" y="802"/>
                    <a:pt x="487" y="804"/>
                  </a:cubicBezTo>
                  <a:cubicBezTo>
                    <a:pt x="486" y="804"/>
                    <a:pt x="486" y="804"/>
                    <a:pt x="485" y="804"/>
                  </a:cubicBezTo>
                  <a:cubicBezTo>
                    <a:pt x="482" y="798"/>
                    <a:pt x="482" y="808"/>
                    <a:pt x="479" y="803"/>
                  </a:cubicBezTo>
                  <a:cubicBezTo>
                    <a:pt x="479" y="809"/>
                    <a:pt x="475" y="805"/>
                    <a:pt x="472" y="807"/>
                  </a:cubicBezTo>
                  <a:cubicBezTo>
                    <a:pt x="474" y="813"/>
                    <a:pt x="476" y="805"/>
                    <a:pt x="478" y="808"/>
                  </a:cubicBezTo>
                  <a:cubicBezTo>
                    <a:pt x="477" y="809"/>
                    <a:pt x="478" y="811"/>
                    <a:pt x="477" y="811"/>
                  </a:cubicBezTo>
                  <a:cubicBezTo>
                    <a:pt x="478" y="812"/>
                    <a:pt x="479" y="813"/>
                    <a:pt x="479" y="813"/>
                  </a:cubicBezTo>
                  <a:cubicBezTo>
                    <a:pt x="479" y="813"/>
                    <a:pt x="478" y="812"/>
                    <a:pt x="477" y="812"/>
                  </a:cubicBezTo>
                  <a:cubicBezTo>
                    <a:pt x="477" y="812"/>
                    <a:pt x="477" y="812"/>
                    <a:pt x="477" y="811"/>
                  </a:cubicBezTo>
                  <a:cubicBezTo>
                    <a:pt x="474" y="808"/>
                    <a:pt x="469" y="810"/>
                    <a:pt x="465" y="812"/>
                  </a:cubicBezTo>
                  <a:cubicBezTo>
                    <a:pt x="463" y="812"/>
                    <a:pt x="462" y="812"/>
                    <a:pt x="460" y="812"/>
                  </a:cubicBezTo>
                  <a:cubicBezTo>
                    <a:pt x="460" y="812"/>
                    <a:pt x="460" y="812"/>
                    <a:pt x="460" y="812"/>
                  </a:cubicBezTo>
                  <a:cubicBezTo>
                    <a:pt x="460" y="812"/>
                    <a:pt x="460" y="812"/>
                    <a:pt x="460" y="810"/>
                  </a:cubicBezTo>
                  <a:cubicBezTo>
                    <a:pt x="455" y="810"/>
                    <a:pt x="453" y="816"/>
                    <a:pt x="449" y="814"/>
                  </a:cubicBezTo>
                  <a:cubicBezTo>
                    <a:pt x="450" y="815"/>
                    <a:pt x="450" y="816"/>
                    <a:pt x="451" y="817"/>
                  </a:cubicBezTo>
                  <a:cubicBezTo>
                    <a:pt x="448" y="817"/>
                    <a:pt x="446" y="818"/>
                    <a:pt x="444" y="819"/>
                  </a:cubicBezTo>
                  <a:cubicBezTo>
                    <a:pt x="446" y="818"/>
                    <a:pt x="445" y="814"/>
                    <a:pt x="448" y="816"/>
                  </a:cubicBezTo>
                  <a:cubicBezTo>
                    <a:pt x="447" y="812"/>
                    <a:pt x="440" y="816"/>
                    <a:pt x="443" y="819"/>
                  </a:cubicBezTo>
                  <a:cubicBezTo>
                    <a:pt x="438" y="820"/>
                    <a:pt x="432" y="823"/>
                    <a:pt x="424" y="825"/>
                  </a:cubicBezTo>
                  <a:cubicBezTo>
                    <a:pt x="430" y="820"/>
                    <a:pt x="416" y="827"/>
                    <a:pt x="419" y="822"/>
                  </a:cubicBezTo>
                  <a:cubicBezTo>
                    <a:pt x="417" y="824"/>
                    <a:pt x="415" y="827"/>
                    <a:pt x="412" y="829"/>
                  </a:cubicBezTo>
                  <a:cubicBezTo>
                    <a:pt x="412" y="829"/>
                    <a:pt x="411" y="828"/>
                    <a:pt x="411" y="828"/>
                  </a:cubicBezTo>
                  <a:cubicBezTo>
                    <a:pt x="411" y="828"/>
                    <a:pt x="412" y="829"/>
                    <a:pt x="412" y="829"/>
                  </a:cubicBezTo>
                  <a:cubicBezTo>
                    <a:pt x="409" y="831"/>
                    <a:pt x="407" y="832"/>
                    <a:pt x="405" y="833"/>
                  </a:cubicBezTo>
                  <a:cubicBezTo>
                    <a:pt x="406" y="834"/>
                    <a:pt x="408" y="837"/>
                    <a:pt x="406" y="837"/>
                  </a:cubicBezTo>
                  <a:cubicBezTo>
                    <a:pt x="403" y="837"/>
                    <a:pt x="404" y="833"/>
                    <a:pt x="401" y="837"/>
                  </a:cubicBezTo>
                  <a:cubicBezTo>
                    <a:pt x="399" y="833"/>
                    <a:pt x="397" y="831"/>
                    <a:pt x="394" y="833"/>
                  </a:cubicBezTo>
                  <a:cubicBezTo>
                    <a:pt x="392" y="834"/>
                    <a:pt x="396" y="837"/>
                    <a:pt x="394" y="838"/>
                  </a:cubicBezTo>
                  <a:cubicBezTo>
                    <a:pt x="393" y="838"/>
                    <a:pt x="393" y="838"/>
                    <a:pt x="392" y="838"/>
                  </a:cubicBezTo>
                  <a:cubicBezTo>
                    <a:pt x="392" y="838"/>
                    <a:pt x="392" y="837"/>
                    <a:pt x="392" y="836"/>
                  </a:cubicBezTo>
                  <a:cubicBezTo>
                    <a:pt x="390" y="837"/>
                    <a:pt x="389" y="837"/>
                    <a:pt x="389" y="839"/>
                  </a:cubicBezTo>
                  <a:cubicBezTo>
                    <a:pt x="388" y="839"/>
                    <a:pt x="387" y="839"/>
                    <a:pt x="386" y="839"/>
                  </a:cubicBezTo>
                  <a:cubicBezTo>
                    <a:pt x="387" y="838"/>
                    <a:pt x="388" y="836"/>
                    <a:pt x="387" y="834"/>
                  </a:cubicBezTo>
                  <a:cubicBezTo>
                    <a:pt x="384" y="837"/>
                    <a:pt x="384" y="833"/>
                    <a:pt x="384" y="832"/>
                  </a:cubicBezTo>
                  <a:cubicBezTo>
                    <a:pt x="380" y="832"/>
                    <a:pt x="376" y="833"/>
                    <a:pt x="373" y="832"/>
                  </a:cubicBezTo>
                  <a:cubicBezTo>
                    <a:pt x="376" y="837"/>
                    <a:pt x="381" y="839"/>
                    <a:pt x="380" y="844"/>
                  </a:cubicBezTo>
                  <a:cubicBezTo>
                    <a:pt x="384" y="843"/>
                    <a:pt x="386" y="848"/>
                    <a:pt x="389" y="850"/>
                  </a:cubicBezTo>
                  <a:cubicBezTo>
                    <a:pt x="389" y="850"/>
                    <a:pt x="388" y="850"/>
                    <a:pt x="387" y="850"/>
                  </a:cubicBezTo>
                  <a:cubicBezTo>
                    <a:pt x="387" y="850"/>
                    <a:pt x="386" y="849"/>
                    <a:pt x="386" y="849"/>
                  </a:cubicBezTo>
                  <a:cubicBezTo>
                    <a:pt x="386" y="852"/>
                    <a:pt x="382" y="850"/>
                    <a:pt x="382" y="853"/>
                  </a:cubicBezTo>
                  <a:cubicBezTo>
                    <a:pt x="382" y="853"/>
                    <a:pt x="381" y="854"/>
                    <a:pt x="380" y="854"/>
                  </a:cubicBezTo>
                  <a:cubicBezTo>
                    <a:pt x="378" y="850"/>
                    <a:pt x="378" y="850"/>
                    <a:pt x="378" y="850"/>
                  </a:cubicBezTo>
                  <a:cubicBezTo>
                    <a:pt x="376" y="851"/>
                    <a:pt x="374" y="849"/>
                    <a:pt x="376" y="853"/>
                  </a:cubicBezTo>
                  <a:cubicBezTo>
                    <a:pt x="377" y="852"/>
                    <a:pt x="378" y="854"/>
                    <a:pt x="379" y="855"/>
                  </a:cubicBezTo>
                  <a:cubicBezTo>
                    <a:pt x="374" y="857"/>
                    <a:pt x="369" y="859"/>
                    <a:pt x="364" y="860"/>
                  </a:cubicBezTo>
                  <a:cubicBezTo>
                    <a:pt x="364" y="859"/>
                    <a:pt x="364" y="858"/>
                    <a:pt x="364" y="857"/>
                  </a:cubicBezTo>
                  <a:cubicBezTo>
                    <a:pt x="363" y="858"/>
                    <a:pt x="358" y="857"/>
                    <a:pt x="359" y="861"/>
                  </a:cubicBezTo>
                  <a:cubicBezTo>
                    <a:pt x="360" y="861"/>
                    <a:pt x="360" y="861"/>
                    <a:pt x="360" y="861"/>
                  </a:cubicBezTo>
                  <a:cubicBezTo>
                    <a:pt x="352" y="863"/>
                    <a:pt x="343" y="865"/>
                    <a:pt x="335" y="865"/>
                  </a:cubicBezTo>
                  <a:cubicBezTo>
                    <a:pt x="336" y="864"/>
                    <a:pt x="336" y="864"/>
                    <a:pt x="336" y="863"/>
                  </a:cubicBezTo>
                  <a:cubicBezTo>
                    <a:pt x="335" y="863"/>
                    <a:pt x="334" y="862"/>
                    <a:pt x="334" y="860"/>
                  </a:cubicBezTo>
                  <a:cubicBezTo>
                    <a:pt x="331" y="861"/>
                    <a:pt x="331" y="863"/>
                    <a:pt x="331" y="865"/>
                  </a:cubicBezTo>
                  <a:cubicBezTo>
                    <a:pt x="330" y="865"/>
                    <a:pt x="330" y="865"/>
                    <a:pt x="330" y="865"/>
                  </a:cubicBezTo>
                  <a:cubicBezTo>
                    <a:pt x="330" y="860"/>
                    <a:pt x="328" y="857"/>
                    <a:pt x="323" y="856"/>
                  </a:cubicBezTo>
                  <a:cubicBezTo>
                    <a:pt x="325" y="862"/>
                    <a:pt x="324" y="866"/>
                    <a:pt x="321" y="868"/>
                  </a:cubicBezTo>
                  <a:cubicBezTo>
                    <a:pt x="318" y="868"/>
                    <a:pt x="316" y="870"/>
                    <a:pt x="315" y="872"/>
                  </a:cubicBezTo>
                  <a:cubicBezTo>
                    <a:pt x="315" y="872"/>
                    <a:pt x="315" y="872"/>
                    <a:pt x="315" y="872"/>
                  </a:cubicBezTo>
                  <a:cubicBezTo>
                    <a:pt x="305" y="875"/>
                    <a:pt x="290" y="875"/>
                    <a:pt x="285" y="885"/>
                  </a:cubicBezTo>
                  <a:cubicBezTo>
                    <a:pt x="287" y="892"/>
                    <a:pt x="290" y="891"/>
                    <a:pt x="294" y="898"/>
                  </a:cubicBezTo>
                  <a:cubicBezTo>
                    <a:pt x="285" y="902"/>
                    <a:pt x="287" y="909"/>
                    <a:pt x="285" y="915"/>
                  </a:cubicBezTo>
                  <a:cubicBezTo>
                    <a:pt x="280" y="920"/>
                    <a:pt x="277" y="921"/>
                    <a:pt x="270" y="926"/>
                  </a:cubicBezTo>
                  <a:cubicBezTo>
                    <a:pt x="269" y="925"/>
                    <a:pt x="268" y="924"/>
                    <a:pt x="267" y="925"/>
                  </a:cubicBezTo>
                  <a:cubicBezTo>
                    <a:pt x="264" y="928"/>
                    <a:pt x="271" y="926"/>
                    <a:pt x="271" y="930"/>
                  </a:cubicBezTo>
                  <a:cubicBezTo>
                    <a:pt x="268" y="932"/>
                    <a:pt x="267" y="936"/>
                    <a:pt x="267" y="939"/>
                  </a:cubicBezTo>
                  <a:cubicBezTo>
                    <a:pt x="263" y="941"/>
                    <a:pt x="258" y="941"/>
                    <a:pt x="259" y="945"/>
                  </a:cubicBezTo>
                  <a:cubicBezTo>
                    <a:pt x="262" y="944"/>
                    <a:pt x="264" y="943"/>
                    <a:pt x="266" y="943"/>
                  </a:cubicBezTo>
                  <a:cubicBezTo>
                    <a:pt x="265" y="945"/>
                    <a:pt x="264" y="948"/>
                    <a:pt x="260" y="948"/>
                  </a:cubicBezTo>
                  <a:cubicBezTo>
                    <a:pt x="265" y="952"/>
                    <a:pt x="266" y="955"/>
                    <a:pt x="266" y="958"/>
                  </a:cubicBezTo>
                  <a:cubicBezTo>
                    <a:pt x="265" y="957"/>
                    <a:pt x="265" y="956"/>
                    <a:pt x="264" y="958"/>
                  </a:cubicBezTo>
                  <a:cubicBezTo>
                    <a:pt x="265" y="961"/>
                    <a:pt x="265" y="961"/>
                    <a:pt x="265" y="961"/>
                  </a:cubicBezTo>
                  <a:cubicBezTo>
                    <a:pt x="264" y="961"/>
                    <a:pt x="263" y="962"/>
                    <a:pt x="264" y="963"/>
                  </a:cubicBezTo>
                  <a:cubicBezTo>
                    <a:pt x="266" y="962"/>
                    <a:pt x="264" y="965"/>
                    <a:pt x="262" y="965"/>
                  </a:cubicBezTo>
                  <a:cubicBezTo>
                    <a:pt x="263" y="962"/>
                    <a:pt x="252" y="960"/>
                    <a:pt x="254" y="966"/>
                  </a:cubicBezTo>
                  <a:cubicBezTo>
                    <a:pt x="259" y="966"/>
                    <a:pt x="267" y="964"/>
                    <a:pt x="267" y="971"/>
                  </a:cubicBezTo>
                  <a:cubicBezTo>
                    <a:pt x="271" y="969"/>
                    <a:pt x="273" y="969"/>
                    <a:pt x="276" y="971"/>
                  </a:cubicBezTo>
                  <a:cubicBezTo>
                    <a:pt x="276" y="973"/>
                    <a:pt x="275" y="976"/>
                    <a:pt x="274" y="978"/>
                  </a:cubicBezTo>
                  <a:cubicBezTo>
                    <a:pt x="277" y="980"/>
                    <a:pt x="279" y="980"/>
                    <a:pt x="282" y="981"/>
                  </a:cubicBezTo>
                  <a:cubicBezTo>
                    <a:pt x="279" y="987"/>
                    <a:pt x="269" y="997"/>
                    <a:pt x="259" y="993"/>
                  </a:cubicBezTo>
                  <a:cubicBezTo>
                    <a:pt x="255" y="997"/>
                    <a:pt x="256" y="1009"/>
                    <a:pt x="248" y="1003"/>
                  </a:cubicBezTo>
                  <a:cubicBezTo>
                    <a:pt x="249" y="1002"/>
                    <a:pt x="251" y="998"/>
                    <a:pt x="251" y="994"/>
                  </a:cubicBezTo>
                  <a:cubicBezTo>
                    <a:pt x="246" y="997"/>
                    <a:pt x="245" y="1007"/>
                    <a:pt x="238" y="1003"/>
                  </a:cubicBezTo>
                  <a:cubicBezTo>
                    <a:pt x="243" y="991"/>
                    <a:pt x="255" y="978"/>
                    <a:pt x="269" y="974"/>
                  </a:cubicBezTo>
                  <a:cubicBezTo>
                    <a:pt x="257" y="972"/>
                    <a:pt x="245" y="985"/>
                    <a:pt x="237" y="996"/>
                  </a:cubicBezTo>
                  <a:cubicBezTo>
                    <a:pt x="237" y="996"/>
                    <a:pt x="236" y="996"/>
                    <a:pt x="236" y="996"/>
                  </a:cubicBezTo>
                  <a:cubicBezTo>
                    <a:pt x="236" y="996"/>
                    <a:pt x="236" y="995"/>
                    <a:pt x="235" y="995"/>
                  </a:cubicBezTo>
                  <a:cubicBezTo>
                    <a:pt x="235" y="995"/>
                    <a:pt x="235" y="996"/>
                    <a:pt x="235" y="996"/>
                  </a:cubicBezTo>
                  <a:cubicBezTo>
                    <a:pt x="231" y="997"/>
                    <a:pt x="227" y="1000"/>
                    <a:pt x="223" y="1003"/>
                  </a:cubicBezTo>
                  <a:cubicBezTo>
                    <a:pt x="223" y="1003"/>
                    <a:pt x="223" y="1003"/>
                    <a:pt x="223" y="1003"/>
                  </a:cubicBezTo>
                  <a:cubicBezTo>
                    <a:pt x="221" y="1003"/>
                    <a:pt x="221" y="1004"/>
                    <a:pt x="221" y="1006"/>
                  </a:cubicBezTo>
                  <a:cubicBezTo>
                    <a:pt x="220" y="1007"/>
                    <a:pt x="219" y="1008"/>
                    <a:pt x="218" y="1010"/>
                  </a:cubicBezTo>
                  <a:cubicBezTo>
                    <a:pt x="215" y="1011"/>
                    <a:pt x="213" y="1008"/>
                    <a:pt x="210" y="1009"/>
                  </a:cubicBezTo>
                  <a:cubicBezTo>
                    <a:pt x="202" y="1013"/>
                    <a:pt x="190" y="1035"/>
                    <a:pt x="183" y="1022"/>
                  </a:cubicBezTo>
                  <a:cubicBezTo>
                    <a:pt x="178" y="1023"/>
                    <a:pt x="184" y="1026"/>
                    <a:pt x="182" y="1027"/>
                  </a:cubicBezTo>
                  <a:cubicBezTo>
                    <a:pt x="179" y="1027"/>
                    <a:pt x="177" y="1027"/>
                    <a:pt x="175" y="1024"/>
                  </a:cubicBezTo>
                  <a:cubicBezTo>
                    <a:pt x="179" y="1007"/>
                    <a:pt x="190" y="993"/>
                    <a:pt x="196" y="978"/>
                  </a:cubicBezTo>
                  <a:cubicBezTo>
                    <a:pt x="191" y="977"/>
                    <a:pt x="186" y="978"/>
                    <a:pt x="182" y="972"/>
                  </a:cubicBezTo>
                  <a:cubicBezTo>
                    <a:pt x="172" y="978"/>
                    <a:pt x="167" y="987"/>
                    <a:pt x="164" y="997"/>
                  </a:cubicBezTo>
                  <a:cubicBezTo>
                    <a:pt x="162" y="997"/>
                    <a:pt x="160" y="997"/>
                    <a:pt x="160" y="1000"/>
                  </a:cubicBezTo>
                  <a:cubicBezTo>
                    <a:pt x="161" y="1000"/>
                    <a:pt x="162" y="1000"/>
                    <a:pt x="163" y="1000"/>
                  </a:cubicBezTo>
                  <a:cubicBezTo>
                    <a:pt x="163" y="1000"/>
                    <a:pt x="162" y="1001"/>
                    <a:pt x="162" y="1002"/>
                  </a:cubicBezTo>
                  <a:cubicBezTo>
                    <a:pt x="160" y="1002"/>
                    <a:pt x="159" y="1002"/>
                    <a:pt x="158" y="998"/>
                  </a:cubicBezTo>
                  <a:cubicBezTo>
                    <a:pt x="155" y="1002"/>
                    <a:pt x="154" y="1004"/>
                    <a:pt x="148" y="1004"/>
                  </a:cubicBezTo>
                  <a:cubicBezTo>
                    <a:pt x="150" y="1009"/>
                    <a:pt x="153" y="1006"/>
                    <a:pt x="156" y="1007"/>
                  </a:cubicBezTo>
                  <a:cubicBezTo>
                    <a:pt x="156" y="1003"/>
                    <a:pt x="158" y="1004"/>
                    <a:pt x="161" y="1004"/>
                  </a:cubicBezTo>
                  <a:cubicBezTo>
                    <a:pt x="157" y="1015"/>
                    <a:pt x="153" y="1026"/>
                    <a:pt x="141" y="1032"/>
                  </a:cubicBezTo>
                  <a:cubicBezTo>
                    <a:pt x="152" y="1040"/>
                    <a:pt x="144" y="1051"/>
                    <a:pt x="156" y="1057"/>
                  </a:cubicBezTo>
                  <a:cubicBezTo>
                    <a:pt x="154" y="1058"/>
                    <a:pt x="153" y="1059"/>
                    <a:pt x="152" y="1060"/>
                  </a:cubicBezTo>
                  <a:cubicBezTo>
                    <a:pt x="159" y="1068"/>
                    <a:pt x="165" y="1073"/>
                    <a:pt x="164" y="1082"/>
                  </a:cubicBezTo>
                  <a:cubicBezTo>
                    <a:pt x="165" y="1084"/>
                    <a:pt x="167" y="1081"/>
                    <a:pt x="168" y="1083"/>
                  </a:cubicBezTo>
                  <a:cubicBezTo>
                    <a:pt x="165" y="1085"/>
                    <a:pt x="168" y="1089"/>
                    <a:pt x="168" y="1092"/>
                  </a:cubicBezTo>
                  <a:cubicBezTo>
                    <a:pt x="170" y="1093"/>
                    <a:pt x="173" y="1089"/>
                    <a:pt x="174" y="1091"/>
                  </a:cubicBezTo>
                  <a:cubicBezTo>
                    <a:pt x="194" y="1113"/>
                    <a:pt x="208" y="1121"/>
                    <a:pt x="234" y="1141"/>
                  </a:cubicBezTo>
                  <a:cubicBezTo>
                    <a:pt x="246" y="1141"/>
                    <a:pt x="256" y="1149"/>
                    <a:pt x="267" y="1150"/>
                  </a:cubicBezTo>
                  <a:cubicBezTo>
                    <a:pt x="268" y="1156"/>
                    <a:pt x="278" y="1156"/>
                    <a:pt x="279" y="1163"/>
                  </a:cubicBezTo>
                  <a:cubicBezTo>
                    <a:pt x="281" y="1161"/>
                    <a:pt x="283" y="1160"/>
                    <a:pt x="284" y="1162"/>
                  </a:cubicBezTo>
                  <a:cubicBezTo>
                    <a:pt x="282" y="1163"/>
                    <a:pt x="280" y="1165"/>
                    <a:pt x="281" y="1167"/>
                  </a:cubicBezTo>
                  <a:cubicBezTo>
                    <a:pt x="286" y="1163"/>
                    <a:pt x="286" y="1171"/>
                    <a:pt x="287" y="1171"/>
                  </a:cubicBezTo>
                  <a:cubicBezTo>
                    <a:pt x="294" y="1177"/>
                    <a:pt x="305" y="1179"/>
                    <a:pt x="313" y="1185"/>
                  </a:cubicBezTo>
                  <a:cubicBezTo>
                    <a:pt x="311" y="1185"/>
                    <a:pt x="310" y="1186"/>
                    <a:pt x="309" y="1186"/>
                  </a:cubicBezTo>
                  <a:cubicBezTo>
                    <a:pt x="306" y="1187"/>
                    <a:pt x="300" y="1189"/>
                    <a:pt x="302" y="1194"/>
                  </a:cubicBezTo>
                  <a:cubicBezTo>
                    <a:pt x="303" y="1193"/>
                    <a:pt x="303" y="1193"/>
                    <a:pt x="304" y="1194"/>
                  </a:cubicBezTo>
                  <a:cubicBezTo>
                    <a:pt x="302" y="1195"/>
                    <a:pt x="300" y="1195"/>
                    <a:pt x="298" y="1195"/>
                  </a:cubicBezTo>
                  <a:cubicBezTo>
                    <a:pt x="297" y="1193"/>
                    <a:pt x="292" y="1193"/>
                    <a:pt x="293" y="1196"/>
                  </a:cubicBezTo>
                  <a:cubicBezTo>
                    <a:pt x="292" y="1196"/>
                    <a:pt x="292" y="1196"/>
                    <a:pt x="291" y="1197"/>
                  </a:cubicBezTo>
                  <a:cubicBezTo>
                    <a:pt x="291" y="1196"/>
                    <a:pt x="291" y="1196"/>
                    <a:pt x="291" y="1196"/>
                  </a:cubicBezTo>
                  <a:cubicBezTo>
                    <a:pt x="290" y="1197"/>
                    <a:pt x="286" y="1198"/>
                    <a:pt x="285" y="1199"/>
                  </a:cubicBezTo>
                  <a:cubicBezTo>
                    <a:pt x="284" y="1200"/>
                    <a:pt x="283" y="1201"/>
                    <a:pt x="283" y="1203"/>
                  </a:cubicBezTo>
                  <a:cubicBezTo>
                    <a:pt x="277" y="1202"/>
                    <a:pt x="271" y="1205"/>
                    <a:pt x="266" y="1199"/>
                  </a:cubicBezTo>
                  <a:cubicBezTo>
                    <a:pt x="269" y="1197"/>
                    <a:pt x="272" y="1195"/>
                    <a:pt x="269" y="1191"/>
                  </a:cubicBezTo>
                  <a:cubicBezTo>
                    <a:pt x="260" y="1191"/>
                    <a:pt x="250" y="1192"/>
                    <a:pt x="239" y="1198"/>
                  </a:cubicBezTo>
                  <a:cubicBezTo>
                    <a:pt x="231" y="1189"/>
                    <a:pt x="220" y="1200"/>
                    <a:pt x="210" y="1202"/>
                  </a:cubicBezTo>
                  <a:cubicBezTo>
                    <a:pt x="208" y="1200"/>
                    <a:pt x="212" y="1199"/>
                    <a:pt x="209" y="1196"/>
                  </a:cubicBezTo>
                  <a:cubicBezTo>
                    <a:pt x="199" y="1205"/>
                    <a:pt x="184" y="1211"/>
                    <a:pt x="170" y="1214"/>
                  </a:cubicBezTo>
                  <a:cubicBezTo>
                    <a:pt x="157" y="1204"/>
                    <a:pt x="136" y="1221"/>
                    <a:pt x="127" y="1209"/>
                  </a:cubicBezTo>
                  <a:cubicBezTo>
                    <a:pt x="121" y="1211"/>
                    <a:pt x="115" y="1213"/>
                    <a:pt x="110" y="1210"/>
                  </a:cubicBezTo>
                  <a:cubicBezTo>
                    <a:pt x="108" y="1204"/>
                    <a:pt x="109" y="1199"/>
                    <a:pt x="103" y="1192"/>
                  </a:cubicBezTo>
                  <a:cubicBezTo>
                    <a:pt x="96" y="1188"/>
                    <a:pt x="88" y="1193"/>
                    <a:pt x="81" y="1192"/>
                  </a:cubicBezTo>
                  <a:cubicBezTo>
                    <a:pt x="83" y="1196"/>
                    <a:pt x="79" y="1203"/>
                    <a:pt x="73" y="1203"/>
                  </a:cubicBezTo>
                  <a:cubicBezTo>
                    <a:pt x="72" y="1200"/>
                    <a:pt x="75" y="1198"/>
                    <a:pt x="74" y="1196"/>
                  </a:cubicBezTo>
                  <a:cubicBezTo>
                    <a:pt x="66" y="1192"/>
                    <a:pt x="63" y="1186"/>
                    <a:pt x="56" y="1182"/>
                  </a:cubicBezTo>
                  <a:cubicBezTo>
                    <a:pt x="52" y="1184"/>
                    <a:pt x="48" y="1189"/>
                    <a:pt x="44" y="1185"/>
                  </a:cubicBezTo>
                  <a:cubicBezTo>
                    <a:pt x="45" y="1183"/>
                    <a:pt x="51" y="1185"/>
                    <a:pt x="49" y="1181"/>
                  </a:cubicBezTo>
                  <a:cubicBezTo>
                    <a:pt x="46" y="1183"/>
                    <a:pt x="43" y="1179"/>
                    <a:pt x="40" y="1181"/>
                  </a:cubicBezTo>
                  <a:cubicBezTo>
                    <a:pt x="45" y="1188"/>
                    <a:pt x="36" y="1184"/>
                    <a:pt x="34" y="1185"/>
                  </a:cubicBezTo>
                  <a:cubicBezTo>
                    <a:pt x="33" y="1190"/>
                    <a:pt x="38" y="1190"/>
                    <a:pt x="38" y="1195"/>
                  </a:cubicBezTo>
                  <a:cubicBezTo>
                    <a:pt x="25" y="1205"/>
                    <a:pt x="2" y="1191"/>
                    <a:pt x="0" y="1207"/>
                  </a:cubicBezTo>
                  <a:cubicBezTo>
                    <a:pt x="2" y="1207"/>
                    <a:pt x="5" y="1205"/>
                    <a:pt x="8" y="1203"/>
                  </a:cubicBezTo>
                  <a:cubicBezTo>
                    <a:pt x="21" y="1207"/>
                    <a:pt x="35" y="1208"/>
                    <a:pt x="48" y="1208"/>
                  </a:cubicBezTo>
                  <a:cubicBezTo>
                    <a:pt x="49" y="1210"/>
                    <a:pt x="48" y="1211"/>
                    <a:pt x="50" y="1213"/>
                  </a:cubicBezTo>
                  <a:cubicBezTo>
                    <a:pt x="54" y="1210"/>
                    <a:pt x="54" y="1207"/>
                    <a:pt x="57" y="1204"/>
                  </a:cubicBezTo>
                  <a:cubicBezTo>
                    <a:pt x="60" y="1205"/>
                    <a:pt x="63" y="1206"/>
                    <a:pt x="67" y="1202"/>
                  </a:cubicBezTo>
                  <a:cubicBezTo>
                    <a:pt x="66" y="1210"/>
                    <a:pt x="73" y="1205"/>
                    <a:pt x="76" y="1209"/>
                  </a:cubicBezTo>
                  <a:cubicBezTo>
                    <a:pt x="74" y="1213"/>
                    <a:pt x="74" y="1213"/>
                    <a:pt x="78" y="1217"/>
                  </a:cubicBezTo>
                  <a:cubicBezTo>
                    <a:pt x="76" y="1218"/>
                    <a:pt x="79" y="1220"/>
                    <a:pt x="76" y="1222"/>
                  </a:cubicBezTo>
                  <a:cubicBezTo>
                    <a:pt x="65" y="1225"/>
                    <a:pt x="52" y="1229"/>
                    <a:pt x="39" y="1236"/>
                  </a:cubicBezTo>
                  <a:cubicBezTo>
                    <a:pt x="49" y="1241"/>
                    <a:pt x="60" y="1235"/>
                    <a:pt x="70" y="1235"/>
                  </a:cubicBezTo>
                  <a:cubicBezTo>
                    <a:pt x="75" y="1245"/>
                    <a:pt x="81" y="1246"/>
                    <a:pt x="91" y="1249"/>
                  </a:cubicBezTo>
                  <a:cubicBezTo>
                    <a:pt x="96" y="1248"/>
                    <a:pt x="90" y="1245"/>
                    <a:pt x="94" y="1244"/>
                  </a:cubicBezTo>
                  <a:cubicBezTo>
                    <a:pt x="104" y="1252"/>
                    <a:pt x="120" y="1254"/>
                    <a:pt x="126" y="1269"/>
                  </a:cubicBezTo>
                  <a:cubicBezTo>
                    <a:pt x="113" y="1277"/>
                    <a:pt x="122" y="1289"/>
                    <a:pt x="109" y="1297"/>
                  </a:cubicBezTo>
                  <a:cubicBezTo>
                    <a:pt x="112" y="1301"/>
                    <a:pt x="108" y="1305"/>
                    <a:pt x="110" y="1309"/>
                  </a:cubicBezTo>
                  <a:cubicBezTo>
                    <a:pt x="112" y="1311"/>
                    <a:pt x="114" y="1311"/>
                    <a:pt x="116" y="1312"/>
                  </a:cubicBezTo>
                  <a:cubicBezTo>
                    <a:pt x="118" y="1315"/>
                    <a:pt x="116" y="1318"/>
                    <a:pt x="115" y="1320"/>
                  </a:cubicBezTo>
                  <a:cubicBezTo>
                    <a:pt x="122" y="1337"/>
                    <a:pt x="132" y="1325"/>
                    <a:pt x="140" y="1335"/>
                  </a:cubicBezTo>
                  <a:cubicBezTo>
                    <a:pt x="133" y="1344"/>
                    <a:pt x="119" y="1351"/>
                    <a:pt x="116" y="1360"/>
                  </a:cubicBezTo>
                  <a:cubicBezTo>
                    <a:pt x="121" y="1358"/>
                    <a:pt x="128" y="1364"/>
                    <a:pt x="126" y="1369"/>
                  </a:cubicBezTo>
                  <a:cubicBezTo>
                    <a:pt x="134" y="1369"/>
                    <a:pt x="140" y="1377"/>
                    <a:pt x="148" y="1376"/>
                  </a:cubicBezTo>
                  <a:cubicBezTo>
                    <a:pt x="154" y="1364"/>
                    <a:pt x="145" y="1353"/>
                    <a:pt x="153" y="1340"/>
                  </a:cubicBezTo>
                  <a:cubicBezTo>
                    <a:pt x="171" y="1352"/>
                    <a:pt x="200" y="1332"/>
                    <a:pt x="211" y="1329"/>
                  </a:cubicBezTo>
                  <a:cubicBezTo>
                    <a:pt x="210" y="1330"/>
                    <a:pt x="208" y="1329"/>
                    <a:pt x="207" y="1327"/>
                  </a:cubicBezTo>
                  <a:cubicBezTo>
                    <a:pt x="211" y="1323"/>
                    <a:pt x="215" y="1324"/>
                    <a:pt x="219" y="1323"/>
                  </a:cubicBezTo>
                  <a:cubicBezTo>
                    <a:pt x="215" y="1319"/>
                    <a:pt x="222" y="1318"/>
                    <a:pt x="222" y="1315"/>
                  </a:cubicBezTo>
                  <a:cubicBezTo>
                    <a:pt x="220" y="1315"/>
                    <a:pt x="217" y="1316"/>
                    <a:pt x="216" y="1313"/>
                  </a:cubicBezTo>
                  <a:cubicBezTo>
                    <a:pt x="232" y="1304"/>
                    <a:pt x="236" y="1292"/>
                    <a:pt x="251" y="1280"/>
                  </a:cubicBezTo>
                  <a:cubicBezTo>
                    <a:pt x="251" y="1279"/>
                    <a:pt x="249" y="1277"/>
                    <a:pt x="250" y="1276"/>
                  </a:cubicBezTo>
                  <a:cubicBezTo>
                    <a:pt x="273" y="1264"/>
                    <a:pt x="283" y="1250"/>
                    <a:pt x="302" y="1235"/>
                  </a:cubicBezTo>
                  <a:cubicBezTo>
                    <a:pt x="301" y="1234"/>
                    <a:pt x="300" y="1232"/>
                    <a:pt x="301" y="1231"/>
                  </a:cubicBezTo>
                  <a:cubicBezTo>
                    <a:pt x="306" y="1231"/>
                    <a:pt x="312" y="1227"/>
                    <a:pt x="315" y="1226"/>
                  </a:cubicBezTo>
                  <a:cubicBezTo>
                    <a:pt x="314" y="1226"/>
                    <a:pt x="313" y="1226"/>
                    <a:pt x="312" y="1224"/>
                  </a:cubicBezTo>
                  <a:cubicBezTo>
                    <a:pt x="329" y="1216"/>
                    <a:pt x="347" y="1199"/>
                    <a:pt x="360" y="1213"/>
                  </a:cubicBezTo>
                  <a:cubicBezTo>
                    <a:pt x="358" y="1212"/>
                    <a:pt x="357" y="1213"/>
                    <a:pt x="358" y="1216"/>
                  </a:cubicBezTo>
                  <a:cubicBezTo>
                    <a:pt x="362" y="1216"/>
                    <a:pt x="369" y="1216"/>
                    <a:pt x="369" y="1223"/>
                  </a:cubicBezTo>
                  <a:cubicBezTo>
                    <a:pt x="372" y="1219"/>
                    <a:pt x="378" y="1221"/>
                    <a:pt x="380" y="1225"/>
                  </a:cubicBezTo>
                  <a:cubicBezTo>
                    <a:pt x="379" y="1226"/>
                    <a:pt x="379" y="1226"/>
                    <a:pt x="380" y="1226"/>
                  </a:cubicBezTo>
                  <a:cubicBezTo>
                    <a:pt x="381" y="1227"/>
                    <a:pt x="381" y="1227"/>
                    <a:pt x="381" y="1228"/>
                  </a:cubicBezTo>
                  <a:cubicBezTo>
                    <a:pt x="382" y="1229"/>
                    <a:pt x="383" y="1229"/>
                    <a:pt x="384" y="1232"/>
                  </a:cubicBezTo>
                  <a:cubicBezTo>
                    <a:pt x="388" y="1231"/>
                    <a:pt x="387" y="1231"/>
                    <a:pt x="388" y="1228"/>
                  </a:cubicBezTo>
                  <a:cubicBezTo>
                    <a:pt x="389" y="1230"/>
                    <a:pt x="390" y="1230"/>
                    <a:pt x="391" y="1231"/>
                  </a:cubicBezTo>
                  <a:cubicBezTo>
                    <a:pt x="389" y="1232"/>
                    <a:pt x="387" y="1233"/>
                    <a:pt x="389" y="1235"/>
                  </a:cubicBezTo>
                  <a:cubicBezTo>
                    <a:pt x="396" y="1230"/>
                    <a:pt x="394" y="1239"/>
                    <a:pt x="398" y="1240"/>
                  </a:cubicBezTo>
                  <a:cubicBezTo>
                    <a:pt x="402" y="1237"/>
                    <a:pt x="396" y="1232"/>
                    <a:pt x="403" y="1230"/>
                  </a:cubicBezTo>
                  <a:cubicBezTo>
                    <a:pt x="402" y="1234"/>
                    <a:pt x="406" y="1234"/>
                    <a:pt x="408" y="1238"/>
                  </a:cubicBezTo>
                  <a:cubicBezTo>
                    <a:pt x="407" y="1238"/>
                    <a:pt x="402" y="1237"/>
                    <a:pt x="404" y="1240"/>
                  </a:cubicBezTo>
                  <a:cubicBezTo>
                    <a:pt x="406" y="1239"/>
                    <a:pt x="408" y="1243"/>
                    <a:pt x="410" y="1244"/>
                  </a:cubicBezTo>
                  <a:cubicBezTo>
                    <a:pt x="412" y="1243"/>
                    <a:pt x="413" y="1242"/>
                    <a:pt x="414" y="1240"/>
                  </a:cubicBezTo>
                  <a:cubicBezTo>
                    <a:pt x="412" y="1247"/>
                    <a:pt x="419" y="1237"/>
                    <a:pt x="420" y="1244"/>
                  </a:cubicBezTo>
                  <a:cubicBezTo>
                    <a:pt x="411" y="1245"/>
                    <a:pt x="407" y="1250"/>
                    <a:pt x="401" y="1256"/>
                  </a:cubicBezTo>
                  <a:cubicBezTo>
                    <a:pt x="394" y="1250"/>
                    <a:pt x="384" y="1260"/>
                    <a:pt x="376" y="1254"/>
                  </a:cubicBezTo>
                  <a:cubicBezTo>
                    <a:pt x="377" y="1253"/>
                    <a:pt x="378" y="1252"/>
                    <a:pt x="378" y="1250"/>
                  </a:cubicBezTo>
                  <a:cubicBezTo>
                    <a:pt x="375" y="1251"/>
                    <a:pt x="373" y="1248"/>
                    <a:pt x="370" y="1247"/>
                  </a:cubicBezTo>
                  <a:cubicBezTo>
                    <a:pt x="364" y="1252"/>
                    <a:pt x="358" y="1248"/>
                    <a:pt x="350" y="1245"/>
                  </a:cubicBezTo>
                  <a:cubicBezTo>
                    <a:pt x="355" y="1244"/>
                    <a:pt x="361" y="1241"/>
                    <a:pt x="363" y="1237"/>
                  </a:cubicBezTo>
                  <a:cubicBezTo>
                    <a:pt x="358" y="1241"/>
                    <a:pt x="350" y="1241"/>
                    <a:pt x="346" y="1244"/>
                  </a:cubicBezTo>
                  <a:cubicBezTo>
                    <a:pt x="342" y="1243"/>
                    <a:pt x="339" y="1242"/>
                    <a:pt x="335" y="1244"/>
                  </a:cubicBezTo>
                  <a:cubicBezTo>
                    <a:pt x="338" y="1250"/>
                    <a:pt x="333" y="1253"/>
                    <a:pt x="327" y="1255"/>
                  </a:cubicBezTo>
                  <a:cubicBezTo>
                    <a:pt x="331" y="1260"/>
                    <a:pt x="327" y="1261"/>
                    <a:pt x="322" y="1262"/>
                  </a:cubicBezTo>
                  <a:cubicBezTo>
                    <a:pt x="331" y="1271"/>
                    <a:pt x="321" y="1279"/>
                    <a:pt x="330" y="1285"/>
                  </a:cubicBezTo>
                  <a:cubicBezTo>
                    <a:pt x="328" y="1284"/>
                    <a:pt x="325" y="1286"/>
                    <a:pt x="326" y="1289"/>
                  </a:cubicBezTo>
                  <a:cubicBezTo>
                    <a:pt x="328" y="1290"/>
                    <a:pt x="331" y="1285"/>
                    <a:pt x="333" y="1289"/>
                  </a:cubicBezTo>
                  <a:cubicBezTo>
                    <a:pt x="333" y="1291"/>
                    <a:pt x="331" y="1292"/>
                    <a:pt x="329" y="1293"/>
                  </a:cubicBezTo>
                  <a:cubicBezTo>
                    <a:pt x="337" y="1304"/>
                    <a:pt x="348" y="1296"/>
                    <a:pt x="357" y="1302"/>
                  </a:cubicBezTo>
                  <a:cubicBezTo>
                    <a:pt x="346" y="1318"/>
                    <a:pt x="328" y="1306"/>
                    <a:pt x="317" y="1317"/>
                  </a:cubicBezTo>
                  <a:cubicBezTo>
                    <a:pt x="314" y="1313"/>
                    <a:pt x="314" y="1313"/>
                    <a:pt x="314" y="1313"/>
                  </a:cubicBezTo>
                  <a:cubicBezTo>
                    <a:pt x="299" y="1317"/>
                    <a:pt x="311" y="1335"/>
                    <a:pt x="300" y="1339"/>
                  </a:cubicBezTo>
                  <a:cubicBezTo>
                    <a:pt x="299" y="1349"/>
                    <a:pt x="295" y="1358"/>
                    <a:pt x="288" y="1366"/>
                  </a:cubicBezTo>
                  <a:cubicBezTo>
                    <a:pt x="290" y="1367"/>
                    <a:pt x="284" y="1373"/>
                    <a:pt x="286" y="1377"/>
                  </a:cubicBezTo>
                  <a:cubicBezTo>
                    <a:pt x="269" y="1387"/>
                    <a:pt x="299" y="1397"/>
                    <a:pt x="301" y="1405"/>
                  </a:cubicBezTo>
                  <a:cubicBezTo>
                    <a:pt x="307" y="1408"/>
                    <a:pt x="313" y="1408"/>
                    <a:pt x="318" y="1413"/>
                  </a:cubicBezTo>
                  <a:cubicBezTo>
                    <a:pt x="315" y="1415"/>
                    <a:pt x="317" y="1417"/>
                    <a:pt x="319" y="1417"/>
                  </a:cubicBezTo>
                  <a:cubicBezTo>
                    <a:pt x="315" y="1419"/>
                    <a:pt x="315" y="1419"/>
                    <a:pt x="315" y="1419"/>
                  </a:cubicBezTo>
                  <a:cubicBezTo>
                    <a:pt x="320" y="1426"/>
                    <a:pt x="317" y="1428"/>
                    <a:pt x="324" y="1429"/>
                  </a:cubicBezTo>
                  <a:cubicBezTo>
                    <a:pt x="331" y="1420"/>
                    <a:pt x="343" y="1419"/>
                    <a:pt x="353" y="1426"/>
                  </a:cubicBezTo>
                  <a:cubicBezTo>
                    <a:pt x="352" y="1427"/>
                    <a:pt x="354" y="1429"/>
                    <a:pt x="352" y="1430"/>
                  </a:cubicBezTo>
                  <a:cubicBezTo>
                    <a:pt x="354" y="1436"/>
                    <a:pt x="358" y="1430"/>
                    <a:pt x="361" y="1434"/>
                  </a:cubicBezTo>
                  <a:cubicBezTo>
                    <a:pt x="353" y="1436"/>
                    <a:pt x="347" y="1429"/>
                    <a:pt x="339" y="1430"/>
                  </a:cubicBezTo>
                  <a:cubicBezTo>
                    <a:pt x="342" y="1433"/>
                    <a:pt x="340" y="1434"/>
                    <a:pt x="342" y="1436"/>
                  </a:cubicBezTo>
                  <a:cubicBezTo>
                    <a:pt x="344" y="1435"/>
                    <a:pt x="343" y="1434"/>
                    <a:pt x="345" y="1433"/>
                  </a:cubicBezTo>
                  <a:cubicBezTo>
                    <a:pt x="345" y="1436"/>
                    <a:pt x="349" y="1435"/>
                    <a:pt x="352" y="1438"/>
                  </a:cubicBezTo>
                  <a:cubicBezTo>
                    <a:pt x="356" y="1435"/>
                    <a:pt x="356" y="1438"/>
                    <a:pt x="361" y="1436"/>
                  </a:cubicBezTo>
                  <a:cubicBezTo>
                    <a:pt x="361" y="1434"/>
                    <a:pt x="365" y="1429"/>
                    <a:pt x="368" y="1431"/>
                  </a:cubicBezTo>
                  <a:cubicBezTo>
                    <a:pt x="361" y="1435"/>
                    <a:pt x="371" y="1433"/>
                    <a:pt x="368" y="1437"/>
                  </a:cubicBezTo>
                  <a:cubicBezTo>
                    <a:pt x="377" y="1434"/>
                    <a:pt x="381" y="1435"/>
                    <a:pt x="386" y="1432"/>
                  </a:cubicBezTo>
                  <a:cubicBezTo>
                    <a:pt x="384" y="1435"/>
                    <a:pt x="383" y="1439"/>
                    <a:pt x="386" y="1444"/>
                  </a:cubicBezTo>
                  <a:cubicBezTo>
                    <a:pt x="388" y="1442"/>
                    <a:pt x="389" y="1445"/>
                    <a:pt x="391" y="1446"/>
                  </a:cubicBezTo>
                  <a:cubicBezTo>
                    <a:pt x="405" y="1440"/>
                    <a:pt x="417" y="1448"/>
                    <a:pt x="433" y="1441"/>
                  </a:cubicBezTo>
                  <a:cubicBezTo>
                    <a:pt x="433" y="1450"/>
                    <a:pt x="422" y="1451"/>
                    <a:pt x="413" y="1459"/>
                  </a:cubicBezTo>
                  <a:cubicBezTo>
                    <a:pt x="414" y="1464"/>
                    <a:pt x="413" y="1467"/>
                    <a:pt x="417" y="1473"/>
                  </a:cubicBezTo>
                  <a:cubicBezTo>
                    <a:pt x="426" y="1465"/>
                    <a:pt x="445" y="1466"/>
                    <a:pt x="452" y="1452"/>
                  </a:cubicBezTo>
                  <a:cubicBezTo>
                    <a:pt x="463" y="1455"/>
                    <a:pt x="472" y="1435"/>
                    <a:pt x="485" y="1431"/>
                  </a:cubicBezTo>
                  <a:cubicBezTo>
                    <a:pt x="490" y="1430"/>
                    <a:pt x="500" y="1423"/>
                    <a:pt x="498" y="1415"/>
                  </a:cubicBezTo>
                  <a:cubicBezTo>
                    <a:pt x="513" y="1407"/>
                    <a:pt x="525" y="1395"/>
                    <a:pt x="543" y="1384"/>
                  </a:cubicBezTo>
                  <a:cubicBezTo>
                    <a:pt x="546" y="1387"/>
                    <a:pt x="543" y="1391"/>
                    <a:pt x="547" y="1388"/>
                  </a:cubicBezTo>
                  <a:cubicBezTo>
                    <a:pt x="548" y="1380"/>
                    <a:pt x="562" y="1377"/>
                    <a:pt x="565" y="1370"/>
                  </a:cubicBezTo>
                  <a:cubicBezTo>
                    <a:pt x="548" y="1379"/>
                    <a:pt x="531" y="1385"/>
                    <a:pt x="514" y="1395"/>
                  </a:cubicBezTo>
                  <a:cubicBezTo>
                    <a:pt x="513" y="1393"/>
                    <a:pt x="512" y="1394"/>
                    <a:pt x="510" y="1393"/>
                  </a:cubicBezTo>
                  <a:cubicBezTo>
                    <a:pt x="523" y="1389"/>
                    <a:pt x="527" y="1364"/>
                    <a:pt x="530" y="1374"/>
                  </a:cubicBezTo>
                  <a:cubicBezTo>
                    <a:pt x="530" y="1372"/>
                    <a:pt x="537" y="1374"/>
                    <a:pt x="540" y="1371"/>
                  </a:cubicBezTo>
                  <a:cubicBezTo>
                    <a:pt x="537" y="1360"/>
                    <a:pt x="551" y="1365"/>
                    <a:pt x="557" y="1360"/>
                  </a:cubicBezTo>
                  <a:cubicBezTo>
                    <a:pt x="554" y="1358"/>
                    <a:pt x="560" y="1357"/>
                    <a:pt x="557" y="1354"/>
                  </a:cubicBezTo>
                  <a:cubicBezTo>
                    <a:pt x="555" y="1351"/>
                    <a:pt x="551" y="1353"/>
                    <a:pt x="549" y="1350"/>
                  </a:cubicBezTo>
                  <a:cubicBezTo>
                    <a:pt x="550" y="1339"/>
                    <a:pt x="560" y="1340"/>
                    <a:pt x="569" y="1334"/>
                  </a:cubicBezTo>
                  <a:cubicBezTo>
                    <a:pt x="570" y="1335"/>
                    <a:pt x="571" y="1335"/>
                    <a:pt x="571" y="1337"/>
                  </a:cubicBezTo>
                  <a:cubicBezTo>
                    <a:pt x="573" y="1335"/>
                    <a:pt x="578" y="1328"/>
                    <a:pt x="581" y="1334"/>
                  </a:cubicBezTo>
                  <a:cubicBezTo>
                    <a:pt x="577" y="1339"/>
                    <a:pt x="579" y="1335"/>
                    <a:pt x="575" y="1336"/>
                  </a:cubicBezTo>
                  <a:cubicBezTo>
                    <a:pt x="576" y="1341"/>
                    <a:pt x="579" y="1342"/>
                    <a:pt x="583" y="1342"/>
                  </a:cubicBezTo>
                  <a:cubicBezTo>
                    <a:pt x="581" y="1346"/>
                    <a:pt x="585" y="1352"/>
                    <a:pt x="581" y="1355"/>
                  </a:cubicBezTo>
                  <a:cubicBezTo>
                    <a:pt x="583" y="1354"/>
                    <a:pt x="585" y="1354"/>
                    <a:pt x="587" y="1355"/>
                  </a:cubicBezTo>
                  <a:cubicBezTo>
                    <a:pt x="588" y="1358"/>
                    <a:pt x="584" y="1360"/>
                    <a:pt x="586" y="1363"/>
                  </a:cubicBezTo>
                  <a:cubicBezTo>
                    <a:pt x="589" y="1359"/>
                    <a:pt x="594" y="1358"/>
                    <a:pt x="600" y="1358"/>
                  </a:cubicBezTo>
                  <a:cubicBezTo>
                    <a:pt x="597" y="1352"/>
                    <a:pt x="604" y="1350"/>
                    <a:pt x="606" y="1350"/>
                  </a:cubicBezTo>
                  <a:cubicBezTo>
                    <a:pt x="607" y="1354"/>
                    <a:pt x="604" y="1356"/>
                    <a:pt x="601" y="1356"/>
                  </a:cubicBezTo>
                  <a:cubicBezTo>
                    <a:pt x="606" y="1360"/>
                    <a:pt x="598" y="1360"/>
                    <a:pt x="601" y="1363"/>
                  </a:cubicBezTo>
                  <a:cubicBezTo>
                    <a:pt x="606" y="1363"/>
                    <a:pt x="609" y="1343"/>
                    <a:pt x="620" y="1350"/>
                  </a:cubicBezTo>
                  <a:cubicBezTo>
                    <a:pt x="610" y="1353"/>
                    <a:pt x="612" y="1360"/>
                    <a:pt x="608" y="1365"/>
                  </a:cubicBezTo>
                  <a:cubicBezTo>
                    <a:pt x="610" y="1373"/>
                    <a:pt x="613" y="1375"/>
                    <a:pt x="617" y="1375"/>
                  </a:cubicBezTo>
                  <a:cubicBezTo>
                    <a:pt x="615" y="1372"/>
                    <a:pt x="615" y="1372"/>
                    <a:pt x="615" y="1372"/>
                  </a:cubicBezTo>
                  <a:cubicBezTo>
                    <a:pt x="617" y="1370"/>
                    <a:pt x="618" y="1371"/>
                    <a:pt x="620" y="1370"/>
                  </a:cubicBezTo>
                  <a:cubicBezTo>
                    <a:pt x="620" y="1372"/>
                    <a:pt x="620" y="1373"/>
                    <a:pt x="621" y="1373"/>
                  </a:cubicBezTo>
                  <a:cubicBezTo>
                    <a:pt x="623" y="1375"/>
                    <a:pt x="619" y="1372"/>
                    <a:pt x="617" y="1375"/>
                  </a:cubicBezTo>
                  <a:cubicBezTo>
                    <a:pt x="622" y="1374"/>
                    <a:pt x="627" y="1372"/>
                    <a:pt x="632" y="1373"/>
                  </a:cubicBezTo>
                  <a:cubicBezTo>
                    <a:pt x="639" y="1366"/>
                    <a:pt x="656" y="1366"/>
                    <a:pt x="661" y="1358"/>
                  </a:cubicBezTo>
                  <a:cubicBezTo>
                    <a:pt x="657" y="1359"/>
                    <a:pt x="651" y="1364"/>
                    <a:pt x="646" y="1359"/>
                  </a:cubicBezTo>
                  <a:cubicBezTo>
                    <a:pt x="645" y="1352"/>
                    <a:pt x="654" y="1358"/>
                    <a:pt x="652" y="1353"/>
                  </a:cubicBezTo>
                  <a:cubicBezTo>
                    <a:pt x="647" y="1354"/>
                    <a:pt x="646" y="1357"/>
                    <a:pt x="642" y="1354"/>
                  </a:cubicBezTo>
                  <a:cubicBezTo>
                    <a:pt x="643" y="1353"/>
                    <a:pt x="642" y="1351"/>
                    <a:pt x="643" y="1350"/>
                  </a:cubicBezTo>
                  <a:cubicBezTo>
                    <a:pt x="648" y="1350"/>
                    <a:pt x="654" y="1350"/>
                    <a:pt x="655" y="1354"/>
                  </a:cubicBezTo>
                  <a:cubicBezTo>
                    <a:pt x="653" y="1351"/>
                    <a:pt x="660" y="1355"/>
                    <a:pt x="658" y="1351"/>
                  </a:cubicBezTo>
                  <a:cubicBezTo>
                    <a:pt x="656" y="1351"/>
                    <a:pt x="654" y="1348"/>
                    <a:pt x="652" y="1347"/>
                  </a:cubicBezTo>
                  <a:cubicBezTo>
                    <a:pt x="648" y="1350"/>
                    <a:pt x="643" y="1350"/>
                    <a:pt x="640" y="1346"/>
                  </a:cubicBezTo>
                  <a:cubicBezTo>
                    <a:pt x="644" y="1336"/>
                    <a:pt x="654" y="1339"/>
                    <a:pt x="655" y="1329"/>
                  </a:cubicBezTo>
                  <a:cubicBezTo>
                    <a:pt x="658" y="1331"/>
                    <a:pt x="665" y="1330"/>
                    <a:pt x="666" y="1326"/>
                  </a:cubicBezTo>
                  <a:cubicBezTo>
                    <a:pt x="664" y="1327"/>
                    <a:pt x="663" y="1326"/>
                    <a:pt x="662" y="1324"/>
                  </a:cubicBezTo>
                  <a:cubicBezTo>
                    <a:pt x="679" y="1321"/>
                    <a:pt x="687" y="1316"/>
                    <a:pt x="702" y="1310"/>
                  </a:cubicBezTo>
                  <a:cubicBezTo>
                    <a:pt x="700" y="1315"/>
                    <a:pt x="697" y="1315"/>
                    <a:pt x="693" y="1319"/>
                  </a:cubicBezTo>
                  <a:cubicBezTo>
                    <a:pt x="696" y="1320"/>
                    <a:pt x="700" y="1319"/>
                    <a:pt x="703" y="1321"/>
                  </a:cubicBezTo>
                  <a:cubicBezTo>
                    <a:pt x="701" y="1324"/>
                    <a:pt x="700" y="1326"/>
                    <a:pt x="700" y="1329"/>
                  </a:cubicBezTo>
                  <a:cubicBezTo>
                    <a:pt x="690" y="1336"/>
                    <a:pt x="681" y="1345"/>
                    <a:pt x="672" y="1353"/>
                  </a:cubicBezTo>
                  <a:cubicBezTo>
                    <a:pt x="671" y="1354"/>
                    <a:pt x="669" y="1354"/>
                    <a:pt x="668" y="1353"/>
                  </a:cubicBezTo>
                  <a:cubicBezTo>
                    <a:pt x="668" y="1354"/>
                    <a:pt x="664" y="1359"/>
                    <a:pt x="667" y="1358"/>
                  </a:cubicBezTo>
                  <a:cubicBezTo>
                    <a:pt x="667" y="1357"/>
                    <a:pt x="668" y="1357"/>
                    <a:pt x="669" y="1357"/>
                  </a:cubicBezTo>
                  <a:cubicBezTo>
                    <a:pt x="667" y="1359"/>
                    <a:pt x="665" y="1360"/>
                    <a:pt x="663" y="1362"/>
                  </a:cubicBezTo>
                  <a:cubicBezTo>
                    <a:pt x="662" y="1364"/>
                    <a:pt x="662" y="1366"/>
                    <a:pt x="663" y="1368"/>
                  </a:cubicBezTo>
                  <a:cubicBezTo>
                    <a:pt x="662" y="1368"/>
                    <a:pt x="661" y="1368"/>
                    <a:pt x="660" y="1369"/>
                  </a:cubicBezTo>
                  <a:cubicBezTo>
                    <a:pt x="657" y="1374"/>
                    <a:pt x="653" y="1378"/>
                    <a:pt x="649" y="1382"/>
                  </a:cubicBezTo>
                  <a:cubicBezTo>
                    <a:pt x="648" y="1383"/>
                    <a:pt x="648" y="1385"/>
                    <a:pt x="649" y="1386"/>
                  </a:cubicBezTo>
                  <a:cubicBezTo>
                    <a:pt x="650" y="1387"/>
                    <a:pt x="652" y="1387"/>
                    <a:pt x="652" y="1386"/>
                  </a:cubicBezTo>
                  <a:cubicBezTo>
                    <a:pt x="657" y="1382"/>
                    <a:pt x="661" y="1377"/>
                    <a:pt x="664" y="1372"/>
                  </a:cubicBezTo>
                  <a:cubicBezTo>
                    <a:pt x="665" y="1371"/>
                    <a:pt x="665" y="1371"/>
                    <a:pt x="665" y="1370"/>
                  </a:cubicBezTo>
                  <a:cubicBezTo>
                    <a:pt x="666" y="1371"/>
                    <a:pt x="668" y="1371"/>
                    <a:pt x="670" y="1369"/>
                  </a:cubicBezTo>
                  <a:cubicBezTo>
                    <a:pt x="681" y="1363"/>
                    <a:pt x="691" y="1356"/>
                    <a:pt x="701" y="1348"/>
                  </a:cubicBezTo>
                  <a:cubicBezTo>
                    <a:pt x="703" y="1351"/>
                    <a:pt x="705" y="1354"/>
                    <a:pt x="708" y="1357"/>
                  </a:cubicBezTo>
                  <a:cubicBezTo>
                    <a:pt x="702" y="1363"/>
                    <a:pt x="696" y="1368"/>
                    <a:pt x="691" y="1373"/>
                  </a:cubicBezTo>
                  <a:cubicBezTo>
                    <a:pt x="677" y="1377"/>
                    <a:pt x="663" y="1380"/>
                    <a:pt x="652" y="1391"/>
                  </a:cubicBezTo>
                  <a:cubicBezTo>
                    <a:pt x="644" y="1394"/>
                    <a:pt x="633" y="1392"/>
                    <a:pt x="623" y="1400"/>
                  </a:cubicBezTo>
                  <a:cubicBezTo>
                    <a:pt x="622" y="1397"/>
                    <a:pt x="620" y="1399"/>
                    <a:pt x="619" y="1395"/>
                  </a:cubicBezTo>
                  <a:cubicBezTo>
                    <a:pt x="611" y="1403"/>
                    <a:pt x="601" y="1404"/>
                    <a:pt x="593" y="1404"/>
                  </a:cubicBezTo>
                  <a:cubicBezTo>
                    <a:pt x="597" y="1412"/>
                    <a:pt x="583" y="1406"/>
                    <a:pt x="582" y="1411"/>
                  </a:cubicBezTo>
                  <a:cubicBezTo>
                    <a:pt x="581" y="1410"/>
                    <a:pt x="580" y="1410"/>
                    <a:pt x="580" y="1408"/>
                  </a:cubicBezTo>
                  <a:cubicBezTo>
                    <a:pt x="577" y="1419"/>
                    <a:pt x="563" y="1408"/>
                    <a:pt x="556" y="1417"/>
                  </a:cubicBezTo>
                  <a:cubicBezTo>
                    <a:pt x="561" y="1416"/>
                    <a:pt x="556" y="1425"/>
                    <a:pt x="564" y="1421"/>
                  </a:cubicBezTo>
                  <a:cubicBezTo>
                    <a:pt x="563" y="1417"/>
                    <a:pt x="559" y="1418"/>
                    <a:pt x="561" y="1416"/>
                  </a:cubicBezTo>
                  <a:cubicBezTo>
                    <a:pt x="565" y="1423"/>
                    <a:pt x="572" y="1417"/>
                    <a:pt x="579" y="1421"/>
                  </a:cubicBezTo>
                  <a:cubicBezTo>
                    <a:pt x="580" y="1412"/>
                    <a:pt x="589" y="1414"/>
                    <a:pt x="597" y="1410"/>
                  </a:cubicBezTo>
                  <a:cubicBezTo>
                    <a:pt x="599" y="1412"/>
                    <a:pt x="605" y="1418"/>
                    <a:pt x="606" y="1413"/>
                  </a:cubicBezTo>
                  <a:cubicBezTo>
                    <a:pt x="602" y="1416"/>
                    <a:pt x="604" y="1409"/>
                    <a:pt x="603" y="1407"/>
                  </a:cubicBezTo>
                  <a:cubicBezTo>
                    <a:pt x="609" y="1403"/>
                    <a:pt x="616" y="1404"/>
                    <a:pt x="622" y="1402"/>
                  </a:cubicBezTo>
                  <a:cubicBezTo>
                    <a:pt x="623" y="1408"/>
                    <a:pt x="622" y="1407"/>
                    <a:pt x="617" y="1408"/>
                  </a:cubicBezTo>
                  <a:cubicBezTo>
                    <a:pt x="620" y="1412"/>
                    <a:pt x="620" y="1410"/>
                    <a:pt x="621" y="1415"/>
                  </a:cubicBezTo>
                  <a:cubicBezTo>
                    <a:pt x="626" y="1413"/>
                    <a:pt x="625" y="1410"/>
                    <a:pt x="626" y="1407"/>
                  </a:cubicBezTo>
                  <a:cubicBezTo>
                    <a:pt x="629" y="1415"/>
                    <a:pt x="639" y="1404"/>
                    <a:pt x="645" y="1405"/>
                  </a:cubicBezTo>
                  <a:cubicBezTo>
                    <a:pt x="643" y="1403"/>
                    <a:pt x="643" y="1401"/>
                    <a:pt x="646" y="1400"/>
                  </a:cubicBezTo>
                  <a:cubicBezTo>
                    <a:pt x="646" y="1402"/>
                    <a:pt x="645" y="1403"/>
                    <a:pt x="648" y="1404"/>
                  </a:cubicBezTo>
                  <a:cubicBezTo>
                    <a:pt x="652" y="1401"/>
                    <a:pt x="656" y="1399"/>
                    <a:pt x="660" y="1396"/>
                  </a:cubicBezTo>
                  <a:cubicBezTo>
                    <a:pt x="660" y="1397"/>
                    <a:pt x="660" y="1397"/>
                    <a:pt x="660" y="1398"/>
                  </a:cubicBezTo>
                  <a:cubicBezTo>
                    <a:pt x="661" y="1399"/>
                    <a:pt x="663" y="1400"/>
                    <a:pt x="664" y="1399"/>
                  </a:cubicBezTo>
                  <a:cubicBezTo>
                    <a:pt x="676" y="1392"/>
                    <a:pt x="687" y="1384"/>
                    <a:pt x="698" y="1375"/>
                  </a:cubicBezTo>
                  <a:cubicBezTo>
                    <a:pt x="699" y="1375"/>
                    <a:pt x="700" y="1374"/>
                    <a:pt x="701" y="1374"/>
                  </a:cubicBezTo>
                  <a:cubicBezTo>
                    <a:pt x="702" y="1372"/>
                    <a:pt x="703" y="1371"/>
                    <a:pt x="704" y="1370"/>
                  </a:cubicBezTo>
                  <a:cubicBezTo>
                    <a:pt x="706" y="1368"/>
                    <a:pt x="708" y="1366"/>
                    <a:pt x="710" y="1364"/>
                  </a:cubicBezTo>
                  <a:cubicBezTo>
                    <a:pt x="716" y="1361"/>
                    <a:pt x="722" y="1359"/>
                    <a:pt x="726" y="1366"/>
                  </a:cubicBezTo>
                  <a:cubicBezTo>
                    <a:pt x="742" y="1363"/>
                    <a:pt x="755" y="1355"/>
                    <a:pt x="770" y="1347"/>
                  </a:cubicBezTo>
                  <a:cubicBezTo>
                    <a:pt x="769" y="1348"/>
                    <a:pt x="768" y="1349"/>
                    <a:pt x="768" y="1350"/>
                  </a:cubicBezTo>
                  <a:cubicBezTo>
                    <a:pt x="745" y="1362"/>
                    <a:pt x="722" y="1375"/>
                    <a:pt x="699" y="1389"/>
                  </a:cubicBezTo>
                  <a:cubicBezTo>
                    <a:pt x="689" y="1395"/>
                    <a:pt x="679" y="1401"/>
                    <a:pt x="669" y="1407"/>
                  </a:cubicBezTo>
                  <a:cubicBezTo>
                    <a:pt x="665" y="1409"/>
                    <a:pt x="661" y="1411"/>
                    <a:pt x="657" y="1413"/>
                  </a:cubicBezTo>
                  <a:cubicBezTo>
                    <a:pt x="657" y="1412"/>
                    <a:pt x="657" y="1410"/>
                    <a:pt x="657" y="1409"/>
                  </a:cubicBezTo>
                  <a:cubicBezTo>
                    <a:pt x="660" y="1407"/>
                    <a:pt x="665" y="1411"/>
                    <a:pt x="663" y="1406"/>
                  </a:cubicBezTo>
                  <a:cubicBezTo>
                    <a:pt x="660" y="1407"/>
                    <a:pt x="658" y="1407"/>
                    <a:pt x="655" y="1407"/>
                  </a:cubicBezTo>
                  <a:cubicBezTo>
                    <a:pt x="657" y="1415"/>
                    <a:pt x="645" y="1415"/>
                    <a:pt x="644" y="1421"/>
                  </a:cubicBezTo>
                  <a:cubicBezTo>
                    <a:pt x="645" y="1418"/>
                    <a:pt x="643" y="1416"/>
                    <a:pt x="641" y="1415"/>
                  </a:cubicBezTo>
                  <a:cubicBezTo>
                    <a:pt x="637" y="1418"/>
                    <a:pt x="631" y="1421"/>
                    <a:pt x="626" y="1419"/>
                  </a:cubicBezTo>
                  <a:cubicBezTo>
                    <a:pt x="626" y="1417"/>
                    <a:pt x="627" y="1416"/>
                    <a:pt x="626" y="1415"/>
                  </a:cubicBezTo>
                  <a:cubicBezTo>
                    <a:pt x="620" y="1418"/>
                    <a:pt x="620" y="1423"/>
                    <a:pt x="617" y="1429"/>
                  </a:cubicBezTo>
                  <a:cubicBezTo>
                    <a:pt x="620" y="1426"/>
                    <a:pt x="626" y="1425"/>
                    <a:pt x="623" y="1430"/>
                  </a:cubicBezTo>
                  <a:cubicBezTo>
                    <a:pt x="627" y="1429"/>
                    <a:pt x="630" y="1428"/>
                    <a:pt x="630" y="1425"/>
                  </a:cubicBezTo>
                  <a:cubicBezTo>
                    <a:pt x="632" y="1425"/>
                    <a:pt x="635" y="1426"/>
                    <a:pt x="637" y="1427"/>
                  </a:cubicBezTo>
                  <a:cubicBezTo>
                    <a:pt x="636" y="1428"/>
                    <a:pt x="634" y="1429"/>
                    <a:pt x="633" y="1430"/>
                  </a:cubicBezTo>
                  <a:cubicBezTo>
                    <a:pt x="630" y="1431"/>
                    <a:pt x="629" y="1434"/>
                    <a:pt x="631" y="1436"/>
                  </a:cubicBezTo>
                  <a:cubicBezTo>
                    <a:pt x="632" y="1439"/>
                    <a:pt x="634" y="1440"/>
                    <a:pt x="637" y="1439"/>
                  </a:cubicBezTo>
                  <a:cubicBezTo>
                    <a:pt x="652" y="1435"/>
                    <a:pt x="667" y="1431"/>
                    <a:pt x="683" y="1426"/>
                  </a:cubicBezTo>
                  <a:cubicBezTo>
                    <a:pt x="680" y="1428"/>
                    <a:pt x="679" y="1429"/>
                    <a:pt x="677" y="1432"/>
                  </a:cubicBezTo>
                  <a:cubicBezTo>
                    <a:pt x="677" y="1431"/>
                    <a:pt x="677" y="1430"/>
                    <a:pt x="677" y="1429"/>
                  </a:cubicBezTo>
                  <a:cubicBezTo>
                    <a:pt x="666" y="1436"/>
                    <a:pt x="657" y="1442"/>
                    <a:pt x="649" y="1445"/>
                  </a:cubicBezTo>
                  <a:cubicBezTo>
                    <a:pt x="649" y="1447"/>
                    <a:pt x="650" y="1449"/>
                    <a:pt x="649" y="1451"/>
                  </a:cubicBezTo>
                  <a:cubicBezTo>
                    <a:pt x="645" y="1449"/>
                    <a:pt x="645" y="1451"/>
                    <a:pt x="645" y="1455"/>
                  </a:cubicBezTo>
                  <a:cubicBezTo>
                    <a:pt x="642" y="1454"/>
                    <a:pt x="640" y="1449"/>
                    <a:pt x="638" y="1452"/>
                  </a:cubicBezTo>
                  <a:cubicBezTo>
                    <a:pt x="644" y="1454"/>
                    <a:pt x="637" y="1458"/>
                    <a:pt x="635" y="1460"/>
                  </a:cubicBezTo>
                  <a:cubicBezTo>
                    <a:pt x="634" y="1458"/>
                    <a:pt x="632" y="1460"/>
                    <a:pt x="631" y="1457"/>
                  </a:cubicBezTo>
                  <a:cubicBezTo>
                    <a:pt x="629" y="1455"/>
                    <a:pt x="633" y="1454"/>
                    <a:pt x="631" y="1452"/>
                  </a:cubicBezTo>
                  <a:cubicBezTo>
                    <a:pt x="625" y="1456"/>
                    <a:pt x="627" y="1459"/>
                    <a:pt x="630" y="1465"/>
                  </a:cubicBezTo>
                  <a:cubicBezTo>
                    <a:pt x="633" y="1465"/>
                    <a:pt x="637" y="1463"/>
                    <a:pt x="641" y="1463"/>
                  </a:cubicBezTo>
                  <a:cubicBezTo>
                    <a:pt x="639" y="1456"/>
                    <a:pt x="649" y="1454"/>
                    <a:pt x="654" y="1454"/>
                  </a:cubicBezTo>
                  <a:cubicBezTo>
                    <a:pt x="654" y="1455"/>
                    <a:pt x="654" y="1456"/>
                    <a:pt x="654" y="1456"/>
                  </a:cubicBezTo>
                  <a:cubicBezTo>
                    <a:pt x="653" y="1456"/>
                    <a:pt x="653" y="1455"/>
                    <a:pt x="652" y="1455"/>
                  </a:cubicBezTo>
                  <a:cubicBezTo>
                    <a:pt x="650" y="1465"/>
                    <a:pt x="642" y="1465"/>
                    <a:pt x="634" y="1469"/>
                  </a:cubicBezTo>
                  <a:cubicBezTo>
                    <a:pt x="639" y="1472"/>
                    <a:pt x="634" y="1473"/>
                    <a:pt x="636" y="1478"/>
                  </a:cubicBezTo>
                  <a:cubicBezTo>
                    <a:pt x="643" y="1474"/>
                    <a:pt x="649" y="1470"/>
                    <a:pt x="655" y="1467"/>
                  </a:cubicBezTo>
                  <a:cubicBezTo>
                    <a:pt x="659" y="1472"/>
                    <a:pt x="665" y="1474"/>
                    <a:pt x="671" y="1472"/>
                  </a:cubicBezTo>
                  <a:cubicBezTo>
                    <a:pt x="668" y="1475"/>
                    <a:pt x="668" y="1475"/>
                    <a:pt x="668" y="1475"/>
                  </a:cubicBezTo>
                  <a:cubicBezTo>
                    <a:pt x="667" y="1475"/>
                    <a:pt x="667" y="1477"/>
                    <a:pt x="668" y="1478"/>
                  </a:cubicBezTo>
                  <a:cubicBezTo>
                    <a:pt x="669" y="1479"/>
                    <a:pt x="670" y="1479"/>
                    <a:pt x="671" y="1478"/>
                  </a:cubicBezTo>
                  <a:cubicBezTo>
                    <a:pt x="677" y="1472"/>
                    <a:pt x="677" y="1472"/>
                    <a:pt x="677" y="1472"/>
                  </a:cubicBezTo>
                  <a:cubicBezTo>
                    <a:pt x="679" y="1473"/>
                    <a:pt x="680" y="1472"/>
                    <a:pt x="678" y="1471"/>
                  </a:cubicBezTo>
                  <a:cubicBezTo>
                    <a:pt x="678" y="1471"/>
                    <a:pt x="678" y="1471"/>
                    <a:pt x="678" y="1471"/>
                  </a:cubicBezTo>
                  <a:cubicBezTo>
                    <a:pt x="680" y="1469"/>
                    <a:pt x="680" y="1469"/>
                    <a:pt x="680" y="1469"/>
                  </a:cubicBezTo>
                  <a:cubicBezTo>
                    <a:pt x="681" y="1469"/>
                    <a:pt x="682" y="1470"/>
                    <a:pt x="683" y="1470"/>
                  </a:cubicBezTo>
                  <a:cubicBezTo>
                    <a:pt x="683" y="1469"/>
                    <a:pt x="684" y="1468"/>
                    <a:pt x="684" y="1468"/>
                  </a:cubicBezTo>
                  <a:cubicBezTo>
                    <a:pt x="687" y="1467"/>
                    <a:pt x="690" y="1466"/>
                    <a:pt x="692" y="1465"/>
                  </a:cubicBezTo>
                  <a:cubicBezTo>
                    <a:pt x="692" y="1466"/>
                    <a:pt x="691" y="1467"/>
                    <a:pt x="691" y="1467"/>
                  </a:cubicBezTo>
                  <a:cubicBezTo>
                    <a:pt x="692" y="1466"/>
                    <a:pt x="692" y="1466"/>
                    <a:pt x="693" y="1465"/>
                  </a:cubicBezTo>
                  <a:cubicBezTo>
                    <a:pt x="703" y="1461"/>
                    <a:pt x="714" y="1457"/>
                    <a:pt x="724" y="1453"/>
                  </a:cubicBezTo>
                  <a:cubicBezTo>
                    <a:pt x="723" y="1454"/>
                    <a:pt x="722" y="1455"/>
                    <a:pt x="722" y="1457"/>
                  </a:cubicBezTo>
                  <a:cubicBezTo>
                    <a:pt x="725" y="1455"/>
                    <a:pt x="728" y="1452"/>
                    <a:pt x="730" y="1455"/>
                  </a:cubicBezTo>
                  <a:cubicBezTo>
                    <a:pt x="727" y="1456"/>
                    <a:pt x="715" y="1468"/>
                    <a:pt x="713" y="1458"/>
                  </a:cubicBezTo>
                  <a:cubicBezTo>
                    <a:pt x="711" y="1460"/>
                    <a:pt x="710" y="1462"/>
                    <a:pt x="706" y="1463"/>
                  </a:cubicBezTo>
                  <a:cubicBezTo>
                    <a:pt x="707" y="1469"/>
                    <a:pt x="711" y="1461"/>
                    <a:pt x="713" y="1464"/>
                  </a:cubicBezTo>
                  <a:cubicBezTo>
                    <a:pt x="709" y="1467"/>
                    <a:pt x="700" y="1475"/>
                    <a:pt x="693" y="1470"/>
                  </a:cubicBezTo>
                  <a:cubicBezTo>
                    <a:pt x="676" y="1481"/>
                    <a:pt x="663" y="1490"/>
                    <a:pt x="648" y="1490"/>
                  </a:cubicBezTo>
                  <a:cubicBezTo>
                    <a:pt x="651" y="1496"/>
                    <a:pt x="644" y="1489"/>
                    <a:pt x="643" y="1490"/>
                  </a:cubicBezTo>
                  <a:cubicBezTo>
                    <a:pt x="641" y="1493"/>
                    <a:pt x="647" y="1495"/>
                    <a:pt x="645" y="1496"/>
                  </a:cubicBezTo>
                  <a:cubicBezTo>
                    <a:pt x="644" y="1497"/>
                    <a:pt x="645" y="1498"/>
                    <a:pt x="644" y="1499"/>
                  </a:cubicBezTo>
                  <a:cubicBezTo>
                    <a:pt x="641" y="1502"/>
                    <a:pt x="639" y="1498"/>
                    <a:pt x="636" y="1499"/>
                  </a:cubicBezTo>
                  <a:cubicBezTo>
                    <a:pt x="637" y="1502"/>
                    <a:pt x="631" y="1504"/>
                    <a:pt x="628" y="1506"/>
                  </a:cubicBezTo>
                  <a:cubicBezTo>
                    <a:pt x="622" y="1498"/>
                    <a:pt x="618" y="1508"/>
                    <a:pt x="614" y="1510"/>
                  </a:cubicBezTo>
                  <a:cubicBezTo>
                    <a:pt x="598" y="1518"/>
                    <a:pt x="574" y="1526"/>
                    <a:pt x="562" y="1534"/>
                  </a:cubicBezTo>
                  <a:cubicBezTo>
                    <a:pt x="574" y="1531"/>
                    <a:pt x="575" y="1527"/>
                    <a:pt x="587" y="1527"/>
                  </a:cubicBezTo>
                  <a:cubicBezTo>
                    <a:pt x="596" y="1516"/>
                    <a:pt x="614" y="1514"/>
                    <a:pt x="626" y="1506"/>
                  </a:cubicBezTo>
                  <a:cubicBezTo>
                    <a:pt x="627" y="1508"/>
                    <a:pt x="628" y="1508"/>
                    <a:pt x="630" y="1509"/>
                  </a:cubicBezTo>
                  <a:cubicBezTo>
                    <a:pt x="625" y="1511"/>
                    <a:pt x="620" y="1513"/>
                    <a:pt x="615" y="1515"/>
                  </a:cubicBezTo>
                  <a:cubicBezTo>
                    <a:pt x="614" y="1515"/>
                    <a:pt x="613" y="1516"/>
                    <a:pt x="614" y="1518"/>
                  </a:cubicBezTo>
                  <a:cubicBezTo>
                    <a:pt x="615" y="1519"/>
                    <a:pt x="616" y="1520"/>
                    <a:pt x="617" y="1519"/>
                  </a:cubicBezTo>
                  <a:cubicBezTo>
                    <a:pt x="621" y="1518"/>
                    <a:pt x="625" y="1516"/>
                    <a:pt x="629" y="1514"/>
                  </a:cubicBezTo>
                  <a:cubicBezTo>
                    <a:pt x="629" y="1515"/>
                    <a:pt x="629" y="1516"/>
                    <a:pt x="629" y="1516"/>
                  </a:cubicBezTo>
                  <a:cubicBezTo>
                    <a:pt x="631" y="1516"/>
                    <a:pt x="633" y="1514"/>
                    <a:pt x="636" y="1512"/>
                  </a:cubicBezTo>
                  <a:cubicBezTo>
                    <a:pt x="640" y="1510"/>
                    <a:pt x="644" y="1509"/>
                    <a:pt x="649" y="1507"/>
                  </a:cubicBezTo>
                  <a:cubicBezTo>
                    <a:pt x="649" y="1507"/>
                    <a:pt x="650" y="1507"/>
                    <a:pt x="650" y="1507"/>
                  </a:cubicBezTo>
                  <a:cubicBezTo>
                    <a:pt x="650" y="1507"/>
                    <a:pt x="650" y="1506"/>
                    <a:pt x="650" y="1506"/>
                  </a:cubicBezTo>
                  <a:cubicBezTo>
                    <a:pt x="661" y="1502"/>
                    <a:pt x="671" y="1497"/>
                    <a:pt x="682" y="1492"/>
                  </a:cubicBezTo>
                  <a:cubicBezTo>
                    <a:pt x="683" y="1492"/>
                    <a:pt x="684" y="1493"/>
                    <a:pt x="685" y="1496"/>
                  </a:cubicBezTo>
                  <a:cubicBezTo>
                    <a:pt x="689" y="1495"/>
                    <a:pt x="683" y="1493"/>
                    <a:pt x="684" y="1491"/>
                  </a:cubicBezTo>
                  <a:cubicBezTo>
                    <a:pt x="685" y="1491"/>
                    <a:pt x="685" y="1490"/>
                    <a:pt x="686" y="1490"/>
                  </a:cubicBezTo>
                  <a:cubicBezTo>
                    <a:pt x="686" y="1490"/>
                    <a:pt x="687" y="1490"/>
                    <a:pt x="688" y="1490"/>
                  </a:cubicBezTo>
                  <a:cubicBezTo>
                    <a:pt x="692" y="1494"/>
                    <a:pt x="689" y="1496"/>
                    <a:pt x="690" y="1499"/>
                  </a:cubicBezTo>
                  <a:cubicBezTo>
                    <a:pt x="696" y="1500"/>
                    <a:pt x="693" y="1495"/>
                    <a:pt x="692" y="1493"/>
                  </a:cubicBezTo>
                  <a:cubicBezTo>
                    <a:pt x="697" y="1494"/>
                    <a:pt x="692" y="1499"/>
                    <a:pt x="696" y="1500"/>
                  </a:cubicBezTo>
                  <a:cubicBezTo>
                    <a:pt x="702" y="1499"/>
                    <a:pt x="706" y="1497"/>
                    <a:pt x="708" y="1496"/>
                  </a:cubicBezTo>
                  <a:cubicBezTo>
                    <a:pt x="707" y="1496"/>
                    <a:pt x="706" y="1496"/>
                    <a:pt x="705" y="1495"/>
                  </a:cubicBezTo>
                  <a:cubicBezTo>
                    <a:pt x="706" y="1495"/>
                    <a:pt x="707" y="1493"/>
                    <a:pt x="708" y="1492"/>
                  </a:cubicBezTo>
                  <a:cubicBezTo>
                    <a:pt x="708" y="1492"/>
                    <a:pt x="709" y="1492"/>
                    <a:pt x="709" y="1492"/>
                  </a:cubicBezTo>
                  <a:cubicBezTo>
                    <a:pt x="709" y="1492"/>
                    <a:pt x="710" y="1492"/>
                    <a:pt x="710" y="1492"/>
                  </a:cubicBezTo>
                  <a:cubicBezTo>
                    <a:pt x="709" y="1493"/>
                    <a:pt x="707" y="1494"/>
                    <a:pt x="708" y="1495"/>
                  </a:cubicBezTo>
                  <a:cubicBezTo>
                    <a:pt x="713" y="1495"/>
                    <a:pt x="718" y="1491"/>
                    <a:pt x="723" y="1490"/>
                  </a:cubicBezTo>
                  <a:cubicBezTo>
                    <a:pt x="722" y="1494"/>
                    <a:pt x="722" y="1499"/>
                    <a:pt x="724" y="1503"/>
                  </a:cubicBezTo>
                  <a:cubicBezTo>
                    <a:pt x="726" y="1508"/>
                    <a:pt x="730" y="1512"/>
                    <a:pt x="735" y="1515"/>
                  </a:cubicBezTo>
                  <a:cubicBezTo>
                    <a:pt x="717" y="1528"/>
                    <a:pt x="699" y="1542"/>
                    <a:pt x="682" y="1558"/>
                  </a:cubicBezTo>
                  <a:cubicBezTo>
                    <a:pt x="681" y="1559"/>
                    <a:pt x="681" y="1560"/>
                    <a:pt x="682" y="1561"/>
                  </a:cubicBezTo>
                  <a:cubicBezTo>
                    <a:pt x="683" y="1562"/>
                    <a:pt x="684" y="1562"/>
                    <a:pt x="685" y="1562"/>
                  </a:cubicBezTo>
                  <a:cubicBezTo>
                    <a:pt x="698" y="1555"/>
                    <a:pt x="710" y="1547"/>
                    <a:pt x="723" y="1540"/>
                  </a:cubicBezTo>
                  <a:cubicBezTo>
                    <a:pt x="724" y="1544"/>
                    <a:pt x="721" y="1544"/>
                    <a:pt x="722" y="1546"/>
                  </a:cubicBezTo>
                  <a:cubicBezTo>
                    <a:pt x="721" y="1545"/>
                    <a:pt x="719" y="1544"/>
                    <a:pt x="718" y="1545"/>
                  </a:cubicBezTo>
                  <a:cubicBezTo>
                    <a:pt x="721" y="1550"/>
                    <a:pt x="714" y="1551"/>
                    <a:pt x="711" y="1554"/>
                  </a:cubicBezTo>
                  <a:cubicBezTo>
                    <a:pt x="713" y="1559"/>
                    <a:pt x="714" y="1557"/>
                    <a:pt x="715" y="1561"/>
                  </a:cubicBezTo>
                  <a:cubicBezTo>
                    <a:pt x="721" y="1562"/>
                    <a:pt x="731" y="1557"/>
                    <a:pt x="735" y="1557"/>
                  </a:cubicBezTo>
                  <a:cubicBezTo>
                    <a:pt x="740" y="1546"/>
                    <a:pt x="762" y="1555"/>
                    <a:pt x="772" y="1546"/>
                  </a:cubicBezTo>
                  <a:cubicBezTo>
                    <a:pt x="779" y="1540"/>
                    <a:pt x="777" y="1527"/>
                    <a:pt x="766" y="1515"/>
                  </a:cubicBezTo>
                  <a:cubicBezTo>
                    <a:pt x="766" y="1515"/>
                    <a:pt x="765" y="1515"/>
                    <a:pt x="765" y="1515"/>
                  </a:cubicBezTo>
                  <a:cubicBezTo>
                    <a:pt x="766" y="1515"/>
                    <a:pt x="766" y="1514"/>
                    <a:pt x="767" y="1514"/>
                  </a:cubicBezTo>
                  <a:cubicBezTo>
                    <a:pt x="792" y="1511"/>
                    <a:pt x="818" y="1509"/>
                    <a:pt x="843" y="1501"/>
                  </a:cubicBezTo>
                  <a:cubicBezTo>
                    <a:pt x="881" y="1489"/>
                    <a:pt x="911" y="1467"/>
                    <a:pt x="941" y="1445"/>
                  </a:cubicBezTo>
                  <a:cubicBezTo>
                    <a:pt x="953" y="1442"/>
                    <a:pt x="966" y="1438"/>
                    <a:pt x="978" y="1433"/>
                  </a:cubicBezTo>
                  <a:cubicBezTo>
                    <a:pt x="978" y="1436"/>
                    <a:pt x="978" y="1440"/>
                    <a:pt x="980" y="1443"/>
                  </a:cubicBezTo>
                  <a:cubicBezTo>
                    <a:pt x="980" y="1444"/>
                    <a:pt x="981" y="1445"/>
                    <a:pt x="981" y="1445"/>
                  </a:cubicBezTo>
                  <a:cubicBezTo>
                    <a:pt x="971" y="1450"/>
                    <a:pt x="960" y="1454"/>
                    <a:pt x="949" y="1458"/>
                  </a:cubicBezTo>
                  <a:cubicBezTo>
                    <a:pt x="924" y="1469"/>
                    <a:pt x="900" y="1480"/>
                    <a:pt x="877" y="1493"/>
                  </a:cubicBezTo>
                  <a:cubicBezTo>
                    <a:pt x="854" y="1506"/>
                    <a:pt x="831" y="1519"/>
                    <a:pt x="809" y="1533"/>
                  </a:cubicBezTo>
                  <a:cubicBezTo>
                    <a:pt x="765" y="1561"/>
                    <a:pt x="722" y="1591"/>
                    <a:pt x="678" y="1620"/>
                  </a:cubicBezTo>
                  <a:cubicBezTo>
                    <a:pt x="672" y="1623"/>
                    <a:pt x="670" y="1630"/>
                    <a:pt x="673" y="1636"/>
                  </a:cubicBezTo>
                  <a:cubicBezTo>
                    <a:pt x="677" y="1642"/>
                    <a:pt x="684" y="1644"/>
                    <a:pt x="690" y="1641"/>
                  </a:cubicBezTo>
                  <a:cubicBezTo>
                    <a:pt x="736" y="1622"/>
                    <a:pt x="774" y="1594"/>
                    <a:pt x="816" y="1564"/>
                  </a:cubicBezTo>
                  <a:cubicBezTo>
                    <a:pt x="846" y="1542"/>
                    <a:pt x="872" y="1525"/>
                    <a:pt x="903" y="1505"/>
                  </a:cubicBezTo>
                  <a:cubicBezTo>
                    <a:pt x="939" y="1482"/>
                    <a:pt x="975" y="1468"/>
                    <a:pt x="1013" y="1450"/>
                  </a:cubicBezTo>
                  <a:cubicBezTo>
                    <a:pt x="1017" y="1449"/>
                    <a:pt x="1021" y="1448"/>
                    <a:pt x="1025" y="1446"/>
                  </a:cubicBezTo>
                  <a:cubicBezTo>
                    <a:pt x="1028" y="1444"/>
                    <a:pt x="1032" y="1442"/>
                    <a:pt x="1035" y="1439"/>
                  </a:cubicBezTo>
                  <a:cubicBezTo>
                    <a:pt x="1065" y="1426"/>
                    <a:pt x="1096" y="1417"/>
                    <a:pt x="1126" y="1407"/>
                  </a:cubicBezTo>
                  <a:cubicBezTo>
                    <a:pt x="1094" y="1427"/>
                    <a:pt x="1062" y="1447"/>
                    <a:pt x="1032" y="1471"/>
                  </a:cubicBezTo>
                  <a:cubicBezTo>
                    <a:pt x="1030" y="1473"/>
                    <a:pt x="1029" y="1476"/>
                    <a:pt x="1031" y="1478"/>
                  </a:cubicBezTo>
                  <a:cubicBezTo>
                    <a:pt x="1032" y="1480"/>
                    <a:pt x="1036" y="1481"/>
                    <a:pt x="1038" y="1479"/>
                  </a:cubicBezTo>
                  <a:cubicBezTo>
                    <a:pt x="1060" y="1466"/>
                    <a:pt x="1083" y="1453"/>
                    <a:pt x="1106" y="1440"/>
                  </a:cubicBezTo>
                  <a:cubicBezTo>
                    <a:pt x="1129" y="1427"/>
                    <a:pt x="1152" y="1414"/>
                    <a:pt x="1174" y="1401"/>
                  </a:cubicBezTo>
                  <a:cubicBezTo>
                    <a:pt x="1198" y="1415"/>
                    <a:pt x="1232" y="1413"/>
                    <a:pt x="1257" y="1401"/>
                  </a:cubicBezTo>
                  <a:cubicBezTo>
                    <a:pt x="1266" y="1397"/>
                    <a:pt x="1273" y="1390"/>
                    <a:pt x="1279" y="1383"/>
                  </a:cubicBezTo>
                  <a:cubicBezTo>
                    <a:pt x="1275" y="1384"/>
                    <a:pt x="1271" y="1385"/>
                    <a:pt x="1266" y="1386"/>
                  </a:cubicBezTo>
                  <a:cubicBezTo>
                    <a:pt x="1277" y="1380"/>
                    <a:pt x="1284" y="1369"/>
                    <a:pt x="1291" y="1359"/>
                  </a:cubicBezTo>
                  <a:cubicBezTo>
                    <a:pt x="1292" y="1359"/>
                    <a:pt x="1293" y="1358"/>
                    <a:pt x="1294" y="1358"/>
                  </a:cubicBezTo>
                  <a:cubicBezTo>
                    <a:pt x="1322" y="1357"/>
                    <a:pt x="1348" y="1342"/>
                    <a:pt x="1374" y="1332"/>
                  </a:cubicBezTo>
                  <a:cubicBezTo>
                    <a:pt x="1368" y="1326"/>
                    <a:pt x="1368" y="1326"/>
                    <a:pt x="1368" y="1326"/>
                  </a:cubicBezTo>
                  <a:cubicBezTo>
                    <a:pt x="1374" y="1325"/>
                    <a:pt x="1379" y="1328"/>
                    <a:pt x="1385" y="1327"/>
                  </a:cubicBezTo>
                  <a:cubicBezTo>
                    <a:pt x="1382" y="1326"/>
                    <a:pt x="1380" y="1325"/>
                    <a:pt x="1377" y="1324"/>
                  </a:cubicBezTo>
                  <a:cubicBezTo>
                    <a:pt x="1378" y="1323"/>
                    <a:pt x="1378" y="1323"/>
                    <a:pt x="1378" y="1323"/>
                  </a:cubicBezTo>
                  <a:cubicBezTo>
                    <a:pt x="1385" y="1325"/>
                    <a:pt x="1393" y="1323"/>
                    <a:pt x="1399" y="1319"/>
                  </a:cubicBezTo>
                  <a:cubicBezTo>
                    <a:pt x="1421" y="1323"/>
                    <a:pt x="1443" y="1319"/>
                    <a:pt x="1464" y="1311"/>
                  </a:cubicBezTo>
                  <a:cubicBezTo>
                    <a:pt x="1469" y="1313"/>
                    <a:pt x="1474" y="1313"/>
                    <a:pt x="1478" y="1311"/>
                  </a:cubicBezTo>
                  <a:cubicBezTo>
                    <a:pt x="1481" y="1311"/>
                    <a:pt x="1483" y="1310"/>
                    <a:pt x="1485" y="1311"/>
                  </a:cubicBezTo>
                  <a:cubicBezTo>
                    <a:pt x="1505" y="1315"/>
                    <a:pt x="1524" y="1315"/>
                    <a:pt x="1544" y="1311"/>
                  </a:cubicBezTo>
                  <a:cubicBezTo>
                    <a:pt x="1540" y="1311"/>
                    <a:pt x="1535" y="1311"/>
                    <a:pt x="1530" y="1310"/>
                  </a:cubicBezTo>
                  <a:cubicBezTo>
                    <a:pt x="1536" y="1309"/>
                    <a:pt x="1542" y="1309"/>
                    <a:pt x="1547" y="1306"/>
                  </a:cubicBezTo>
                  <a:cubicBezTo>
                    <a:pt x="1546" y="1305"/>
                    <a:pt x="1544" y="1304"/>
                    <a:pt x="1543" y="1302"/>
                  </a:cubicBezTo>
                  <a:cubicBezTo>
                    <a:pt x="1565" y="1303"/>
                    <a:pt x="1584" y="1286"/>
                    <a:pt x="1585" y="1265"/>
                  </a:cubicBezTo>
                  <a:cubicBezTo>
                    <a:pt x="1586" y="1244"/>
                    <a:pt x="1569" y="1226"/>
                    <a:pt x="1547" y="1225"/>
                  </a:cubicBezTo>
                  <a:cubicBezTo>
                    <a:pt x="1543" y="1225"/>
                    <a:pt x="1543" y="1225"/>
                    <a:pt x="1543" y="1225"/>
                  </a:cubicBezTo>
                  <a:cubicBezTo>
                    <a:pt x="1550" y="1218"/>
                    <a:pt x="1554" y="1209"/>
                    <a:pt x="1552" y="1198"/>
                  </a:cubicBezTo>
                  <a:cubicBezTo>
                    <a:pt x="1551" y="1193"/>
                    <a:pt x="1545" y="1188"/>
                    <a:pt x="1541" y="1183"/>
                  </a:cubicBezTo>
                  <a:cubicBezTo>
                    <a:pt x="1536" y="1175"/>
                    <a:pt x="1525" y="1171"/>
                    <a:pt x="1517" y="1176"/>
                  </a:cubicBezTo>
                  <a:cubicBezTo>
                    <a:pt x="1515" y="1177"/>
                    <a:pt x="1513" y="1179"/>
                    <a:pt x="1511" y="1181"/>
                  </a:cubicBezTo>
                  <a:cubicBezTo>
                    <a:pt x="1500" y="1183"/>
                    <a:pt x="1489" y="1187"/>
                    <a:pt x="1477" y="1189"/>
                  </a:cubicBezTo>
                  <a:cubicBezTo>
                    <a:pt x="1475" y="1189"/>
                    <a:pt x="1473" y="1191"/>
                    <a:pt x="1474" y="1194"/>
                  </a:cubicBezTo>
                  <a:cubicBezTo>
                    <a:pt x="1474" y="1196"/>
                    <a:pt x="1476" y="1198"/>
                    <a:pt x="1478" y="1197"/>
                  </a:cubicBezTo>
                  <a:cubicBezTo>
                    <a:pt x="1487" y="1197"/>
                    <a:pt x="1496" y="1197"/>
                    <a:pt x="1505" y="1197"/>
                  </a:cubicBezTo>
                  <a:cubicBezTo>
                    <a:pt x="1506" y="1196"/>
                    <a:pt x="1506" y="1196"/>
                    <a:pt x="1506" y="1195"/>
                  </a:cubicBezTo>
                  <a:cubicBezTo>
                    <a:pt x="1506" y="1196"/>
                    <a:pt x="1506" y="1196"/>
                    <a:pt x="1506" y="1197"/>
                  </a:cubicBezTo>
                  <a:cubicBezTo>
                    <a:pt x="1507" y="1197"/>
                    <a:pt x="1508" y="1197"/>
                    <a:pt x="1509" y="1197"/>
                  </a:cubicBezTo>
                  <a:cubicBezTo>
                    <a:pt x="1509" y="1198"/>
                    <a:pt x="1509" y="1198"/>
                    <a:pt x="1508" y="1199"/>
                  </a:cubicBezTo>
                  <a:cubicBezTo>
                    <a:pt x="1508" y="1199"/>
                    <a:pt x="1507" y="1199"/>
                    <a:pt x="1506" y="1199"/>
                  </a:cubicBezTo>
                  <a:cubicBezTo>
                    <a:pt x="1506" y="1201"/>
                    <a:pt x="1506" y="1202"/>
                    <a:pt x="1505" y="1204"/>
                  </a:cubicBezTo>
                  <a:cubicBezTo>
                    <a:pt x="1492" y="1208"/>
                    <a:pt x="1479" y="1212"/>
                    <a:pt x="1465" y="1213"/>
                  </a:cubicBezTo>
                  <a:cubicBezTo>
                    <a:pt x="1464" y="1213"/>
                    <a:pt x="1463" y="1209"/>
                    <a:pt x="1461" y="1208"/>
                  </a:cubicBezTo>
                  <a:cubicBezTo>
                    <a:pt x="1460" y="1208"/>
                    <a:pt x="1459" y="1208"/>
                    <a:pt x="1458" y="1208"/>
                  </a:cubicBezTo>
                  <a:cubicBezTo>
                    <a:pt x="1460" y="1207"/>
                    <a:pt x="1463" y="1207"/>
                    <a:pt x="1465" y="1206"/>
                  </a:cubicBezTo>
                  <a:cubicBezTo>
                    <a:pt x="1470" y="1196"/>
                    <a:pt x="1472" y="1192"/>
                    <a:pt x="1473" y="1190"/>
                  </a:cubicBezTo>
                  <a:cubicBezTo>
                    <a:pt x="1473" y="1190"/>
                    <a:pt x="1473" y="1190"/>
                    <a:pt x="1473" y="1190"/>
                  </a:cubicBezTo>
                  <a:cubicBezTo>
                    <a:pt x="1473" y="1190"/>
                    <a:pt x="1473" y="1190"/>
                    <a:pt x="1474" y="1189"/>
                  </a:cubicBezTo>
                  <a:cubicBezTo>
                    <a:pt x="1474" y="1188"/>
                    <a:pt x="1475" y="1186"/>
                    <a:pt x="1475" y="1185"/>
                  </a:cubicBezTo>
                  <a:cubicBezTo>
                    <a:pt x="1475" y="1185"/>
                    <a:pt x="1475" y="1185"/>
                    <a:pt x="1475" y="1185"/>
                  </a:cubicBezTo>
                  <a:cubicBezTo>
                    <a:pt x="1476" y="1184"/>
                    <a:pt x="1476" y="1184"/>
                    <a:pt x="1476" y="1184"/>
                  </a:cubicBezTo>
                  <a:cubicBezTo>
                    <a:pt x="1480" y="1182"/>
                    <a:pt x="1480" y="1182"/>
                    <a:pt x="1480" y="1182"/>
                  </a:cubicBezTo>
                  <a:cubicBezTo>
                    <a:pt x="1481" y="1182"/>
                    <a:pt x="1482" y="1180"/>
                    <a:pt x="1482" y="1179"/>
                  </a:cubicBezTo>
                  <a:cubicBezTo>
                    <a:pt x="1483" y="1179"/>
                    <a:pt x="1484" y="1180"/>
                    <a:pt x="1486" y="1180"/>
                  </a:cubicBezTo>
                  <a:cubicBezTo>
                    <a:pt x="1494" y="1178"/>
                    <a:pt x="1494" y="1178"/>
                    <a:pt x="1502" y="1175"/>
                  </a:cubicBezTo>
                  <a:cubicBezTo>
                    <a:pt x="1502" y="1175"/>
                    <a:pt x="1501" y="1174"/>
                    <a:pt x="1500" y="1173"/>
                  </a:cubicBezTo>
                  <a:cubicBezTo>
                    <a:pt x="1500" y="1173"/>
                    <a:pt x="1502" y="1170"/>
                    <a:pt x="1505" y="1169"/>
                  </a:cubicBezTo>
                  <a:cubicBezTo>
                    <a:pt x="1508" y="1167"/>
                    <a:pt x="1508" y="1167"/>
                    <a:pt x="1516" y="1165"/>
                  </a:cubicBezTo>
                  <a:cubicBezTo>
                    <a:pt x="1516" y="1165"/>
                    <a:pt x="1516" y="1165"/>
                    <a:pt x="1510" y="1163"/>
                  </a:cubicBezTo>
                  <a:cubicBezTo>
                    <a:pt x="1510" y="1163"/>
                    <a:pt x="1510" y="1163"/>
                    <a:pt x="1514" y="1164"/>
                  </a:cubicBezTo>
                  <a:cubicBezTo>
                    <a:pt x="1514" y="1164"/>
                    <a:pt x="1514" y="1164"/>
                    <a:pt x="1511" y="1160"/>
                  </a:cubicBezTo>
                  <a:cubicBezTo>
                    <a:pt x="1511" y="1160"/>
                    <a:pt x="1511" y="1160"/>
                    <a:pt x="1515" y="1164"/>
                  </a:cubicBezTo>
                  <a:cubicBezTo>
                    <a:pt x="1515" y="1164"/>
                    <a:pt x="1515" y="1164"/>
                    <a:pt x="1514" y="1160"/>
                  </a:cubicBezTo>
                  <a:cubicBezTo>
                    <a:pt x="1514" y="1160"/>
                    <a:pt x="1514" y="1160"/>
                    <a:pt x="1526" y="1166"/>
                  </a:cubicBezTo>
                  <a:cubicBezTo>
                    <a:pt x="1527" y="1165"/>
                    <a:pt x="1527" y="1164"/>
                    <a:pt x="1529" y="1162"/>
                  </a:cubicBezTo>
                  <a:cubicBezTo>
                    <a:pt x="1529" y="1162"/>
                    <a:pt x="1529" y="1160"/>
                    <a:pt x="1529" y="1159"/>
                  </a:cubicBezTo>
                  <a:cubicBezTo>
                    <a:pt x="1528" y="1158"/>
                    <a:pt x="1528" y="1158"/>
                    <a:pt x="1528" y="1152"/>
                  </a:cubicBezTo>
                  <a:cubicBezTo>
                    <a:pt x="1528" y="1152"/>
                    <a:pt x="1527" y="1151"/>
                    <a:pt x="1526" y="1150"/>
                  </a:cubicBezTo>
                  <a:cubicBezTo>
                    <a:pt x="1524" y="1149"/>
                    <a:pt x="1524" y="1149"/>
                    <a:pt x="1522" y="1146"/>
                  </a:cubicBezTo>
                  <a:cubicBezTo>
                    <a:pt x="1529" y="1142"/>
                    <a:pt x="1536" y="1138"/>
                    <a:pt x="1544" y="1135"/>
                  </a:cubicBezTo>
                  <a:cubicBezTo>
                    <a:pt x="1567" y="1124"/>
                    <a:pt x="1590" y="1113"/>
                    <a:pt x="1610" y="1105"/>
                  </a:cubicBezTo>
                  <a:cubicBezTo>
                    <a:pt x="1613" y="1099"/>
                    <a:pt x="1630" y="1098"/>
                    <a:pt x="1630" y="1088"/>
                  </a:cubicBezTo>
                  <a:cubicBezTo>
                    <a:pt x="1638" y="1087"/>
                    <a:pt x="1640" y="1088"/>
                    <a:pt x="1645" y="1082"/>
                  </a:cubicBezTo>
                  <a:cubicBezTo>
                    <a:pt x="1646" y="1090"/>
                    <a:pt x="1652" y="1080"/>
                    <a:pt x="1653" y="1086"/>
                  </a:cubicBezTo>
                  <a:cubicBezTo>
                    <a:pt x="1657" y="1081"/>
                    <a:pt x="1665" y="1084"/>
                    <a:pt x="1665" y="1079"/>
                  </a:cubicBezTo>
                  <a:cubicBezTo>
                    <a:pt x="1658" y="1081"/>
                    <a:pt x="1655" y="1086"/>
                    <a:pt x="1651" y="1081"/>
                  </a:cubicBezTo>
                  <a:cubicBezTo>
                    <a:pt x="1658" y="1080"/>
                    <a:pt x="1663" y="1073"/>
                    <a:pt x="1670" y="1077"/>
                  </a:cubicBezTo>
                  <a:cubicBezTo>
                    <a:pt x="1674" y="1073"/>
                    <a:pt x="1681" y="1065"/>
                    <a:pt x="1687" y="1067"/>
                  </a:cubicBezTo>
                  <a:cubicBezTo>
                    <a:pt x="1685" y="1062"/>
                    <a:pt x="1694" y="1066"/>
                    <a:pt x="1695" y="1061"/>
                  </a:cubicBezTo>
                  <a:cubicBezTo>
                    <a:pt x="1694" y="1059"/>
                    <a:pt x="1692" y="1059"/>
                    <a:pt x="1693" y="1058"/>
                  </a:cubicBezTo>
                  <a:cubicBezTo>
                    <a:pt x="1696" y="1053"/>
                    <a:pt x="1704" y="1056"/>
                    <a:pt x="1706" y="1052"/>
                  </a:cubicBezTo>
                  <a:cubicBezTo>
                    <a:pt x="1705" y="1052"/>
                    <a:pt x="1703" y="1053"/>
                    <a:pt x="1703" y="1051"/>
                  </a:cubicBezTo>
                  <a:cubicBezTo>
                    <a:pt x="1705" y="1048"/>
                    <a:pt x="1707" y="1051"/>
                    <a:pt x="1710" y="1049"/>
                  </a:cubicBezTo>
                  <a:cubicBezTo>
                    <a:pt x="1708" y="1045"/>
                    <a:pt x="1704" y="1049"/>
                    <a:pt x="1701" y="1048"/>
                  </a:cubicBezTo>
                  <a:cubicBezTo>
                    <a:pt x="1701" y="1053"/>
                    <a:pt x="1689" y="1059"/>
                    <a:pt x="1686" y="1057"/>
                  </a:cubicBezTo>
                  <a:cubicBezTo>
                    <a:pt x="1689" y="1053"/>
                    <a:pt x="1689" y="1050"/>
                    <a:pt x="1694" y="1052"/>
                  </a:cubicBezTo>
                  <a:cubicBezTo>
                    <a:pt x="1693" y="1048"/>
                    <a:pt x="1691" y="1050"/>
                    <a:pt x="1690" y="1048"/>
                  </a:cubicBezTo>
                  <a:cubicBezTo>
                    <a:pt x="1686" y="1050"/>
                    <a:pt x="1688" y="1053"/>
                    <a:pt x="1684" y="1055"/>
                  </a:cubicBezTo>
                  <a:cubicBezTo>
                    <a:pt x="1683" y="1051"/>
                    <a:pt x="1685" y="1049"/>
                    <a:pt x="1685" y="1046"/>
                  </a:cubicBezTo>
                  <a:cubicBezTo>
                    <a:pt x="1681" y="1047"/>
                    <a:pt x="1684" y="1052"/>
                    <a:pt x="1681" y="1053"/>
                  </a:cubicBezTo>
                  <a:cubicBezTo>
                    <a:pt x="1678" y="1052"/>
                    <a:pt x="1682" y="1048"/>
                    <a:pt x="1678" y="1049"/>
                  </a:cubicBezTo>
                  <a:cubicBezTo>
                    <a:pt x="1678" y="1053"/>
                    <a:pt x="1672" y="1050"/>
                    <a:pt x="1670" y="1050"/>
                  </a:cubicBezTo>
                  <a:cubicBezTo>
                    <a:pt x="1674" y="1056"/>
                    <a:pt x="1664" y="1052"/>
                    <a:pt x="1664" y="1057"/>
                  </a:cubicBezTo>
                  <a:cubicBezTo>
                    <a:pt x="1666" y="1054"/>
                    <a:pt x="1672" y="1057"/>
                    <a:pt x="1669" y="1060"/>
                  </a:cubicBezTo>
                  <a:cubicBezTo>
                    <a:pt x="1665" y="1057"/>
                    <a:pt x="1664" y="1061"/>
                    <a:pt x="1659" y="1060"/>
                  </a:cubicBezTo>
                  <a:cubicBezTo>
                    <a:pt x="1658" y="1059"/>
                    <a:pt x="1657" y="1059"/>
                    <a:pt x="1657" y="1059"/>
                  </a:cubicBezTo>
                  <a:cubicBezTo>
                    <a:pt x="1662" y="1056"/>
                    <a:pt x="1658" y="1050"/>
                    <a:pt x="1657" y="1057"/>
                  </a:cubicBezTo>
                  <a:cubicBezTo>
                    <a:pt x="1650" y="1059"/>
                    <a:pt x="1642" y="1061"/>
                    <a:pt x="1637" y="1062"/>
                  </a:cubicBezTo>
                  <a:cubicBezTo>
                    <a:pt x="1639" y="1062"/>
                    <a:pt x="1640" y="1062"/>
                    <a:pt x="1642" y="1063"/>
                  </a:cubicBezTo>
                  <a:cubicBezTo>
                    <a:pt x="1635" y="1066"/>
                    <a:pt x="1634" y="1061"/>
                    <a:pt x="1636" y="1067"/>
                  </a:cubicBezTo>
                  <a:cubicBezTo>
                    <a:pt x="1632" y="1069"/>
                    <a:pt x="1630" y="1063"/>
                    <a:pt x="1626" y="1063"/>
                  </a:cubicBezTo>
                  <a:cubicBezTo>
                    <a:pt x="1629" y="1066"/>
                    <a:pt x="1622" y="1066"/>
                    <a:pt x="1624" y="1069"/>
                  </a:cubicBezTo>
                  <a:cubicBezTo>
                    <a:pt x="1626" y="1069"/>
                    <a:pt x="1630" y="1065"/>
                    <a:pt x="1631" y="1069"/>
                  </a:cubicBezTo>
                  <a:cubicBezTo>
                    <a:pt x="1623" y="1071"/>
                    <a:pt x="1622" y="1072"/>
                    <a:pt x="1617" y="1077"/>
                  </a:cubicBezTo>
                  <a:cubicBezTo>
                    <a:pt x="1616" y="1074"/>
                    <a:pt x="1615" y="1074"/>
                    <a:pt x="1614" y="1072"/>
                  </a:cubicBezTo>
                  <a:cubicBezTo>
                    <a:pt x="1618" y="1073"/>
                    <a:pt x="1622" y="1071"/>
                    <a:pt x="1621" y="1066"/>
                  </a:cubicBezTo>
                  <a:cubicBezTo>
                    <a:pt x="1615" y="1067"/>
                    <a:pt x="1613" y="1071"/>
                    <a:pt x="1611" y="1077"/>
                  </a:cubicBezTo>
                  <a:cubicBezTo>
                    <a:pt x="1606" y="1074"/>
                    <a:pt x="1604" y="1079"/>
                    <a:pt x="1605" y="1081"/>
                  </a:cubicBezTo>
                  <a:cubicBezTo>
                    <a:pt x="1601" y="1080"/>
                    <a:pt x="1601" y="1077"/>
                    <a:pt x="1601" y="1074"/>
                  </a:cubicBezTo>
                  <a:cubicBezTo>
                    <a:pt x="1596" y="1078"/>
                    <a:pt x="1594" y="1079"/>
                    <a:pt x="1587" y="1077"/>
                  </a:cubicBezTo>
                  <a:cubicBezTo>
                    <a:pt x="1589" y="1076"/>
                    <a:pt x="1587" y="1074"/>
                    <a:pt x="1588" y="1073"/>
                  </a:cubicBezTo>
                  <a:cubicBezTo>
                    <a:pt x="1585" y="1078"/>
                    <a:pt x="1584" y="1076"/>
                    <a:pt x="1579" y="1075"/>
                  </a:cubicBezTo>
                  <a:cubicBezTo>
                    <a:pt x="1577" y="1081"/>
                    <a:pt x="1565" y="1091"/>
                    <a:pt x="1555" y="1089"/>
                  </a:cubicBezTo>
                  <a:cubicBezTo>
                    <a:pt x="1553" y="1096"/>
                    <a:pt x="1549" y="1096"/>
                    <a:pt x="1539" y="1102"/>
                  </a:cubicBezTo>
                  <a:cubicBezTo>
                    <a:pt x="1540" y="1108"/>
                    <a:pt x="1546" y="1099"/>
                    <a:pt x="1547" y="1102"/>
                  </a:cubicBezTo>
                  <a:cubicBezTo>
                    <a:pt x="1548" y="1107"/>
                    <a:pt x="1542" y="1114"/>
                    <a:pt x="1537" y="1110"/>
                  </a:cubicBezTo>
                  <a:cubicBezTo>
                    <a:pt x="1535" y="1108"/>
                    <a:pt x="1542" y="1109"/>
                    <a:pt x="1538" y="1105"/>
                  </a:cubicBezTo>
                  <a:cubicBezTo>
                    <a:pt x="1528" y="1114"/>
                    <a:pt x="1546" y="1116"/>
                    <a:pt x="1552" y="1115"/>
                  </a:cubicBezTo>
                  <a:cubicBezTo>
                    <a:pt x="1550" y="1116"/>
                    <a:pt x="1552" y="1118"/>
                    <a:pt x="1549" y="1119"/>
                  </a:cubicBezTo>
                  <a:cubicBezTo>
                    <a:pt x="1543" y="1119"/>
                    <a:pt x="1537" y="1121"/>
                    <a:pt x="1536" y="1128"/>
                  </a:cubicBezTo>
                  <a:cubicBezTo>
                    <a:pt x="1534" y="1128"/>
                    <a:pt x="1533" y="1127"/>
                    <a:pt x="1533" y="1124"/>
                  </a:cubicBezTo>
                  <a:cubicBezTo>
                    <a:pt x="1525" y="1132"/>
                    <a:pt x="1517" y="1134"/>
                    <a:pt x="1510" y="1140"/>
                  </a:cubicBezTo>
                  <a:cubicBezTo>
                    <a:pt x="1508" y="1137"/>
                    <a:pt x="1507" y="1136"/>
                    <a:pt x="1505" y="1133"/>
                  </a:cubicBezTo>
                  <a:cubicBezTo>
                    <a:pt x="1507" y="1132"/>
                    <a:pt x="1509" y="1130"/>
                    <a:pt x="1510" y="1128"/>
                  </a:cubicBezTo>
                  <a:cubicBezTo>
                    <a:pt x="1511" y="1130"/>
                    <a:pt x="1512" y="1132"/>
                    <a:pt x="1514" y="1130"/>
                  </a:cubicBezTo>
                  <a:cubicBezTo>
                    <a:pt x="1513" y="1127"/>
                    <a:pt x="1511" y="1124"/>
                    <a:pt x="1515" y="1123"/>
                  </a:cubicBezTo>
                  <a:cubicBezTo>
                    <a:pt x="1516" y="1125"/>
                    <a:pt x="1513" y="1128"/>
                    <a:pt x="1517" y="1126"/>
                  </a:cubicBezTo>
                  <a:cubicBezTo>
                    <a:pt x="1517" y="1124"/>
                    <a:pt x="1519" y="1121"/>
                    <a:pt x="1522" y="1123"/>
                  </a:cubicBezTo>
                  <a:cubicBezTo>
                    <a:pt x="1524" y="1120"/>
                    <a:pt x="1519" y="1120"/>
                    <a:pt x="1521" y="1119"/>
                  </a:cubicBezTo>
                  <a:cubicBezTo>
                    <a:pt x="1523" y="1118"/>
                    <a:pt x="1525" y="1118"/>
                    <a:pt x="1527" y="1119"/>
                  </a:cubicBezTo>
                  <a:cubicBezTo>
                    <a:pt x="1528" y="1121"/>
                    <a:pt x="1525" y="1121"/>
                    <a:pt x="1526" y="1123"/>
                  </a:cubicBezTo>
                  <a:cubicBezTo>
                    <a:pt x="1529" y="1119"/>
                    <a:pt x="1530" y="1120"/>
                    <a:pt x="1534" y="1116"/>
                  </a:cubicBezTo>
                  <a:cubicBezTo>
                    <a:pt x="1532" y="1111"/>
                    <a:pt x="1531" y="1117"/>
                    <a:pt x="1528" y="1113"/>
                  </a:cubicBezTo>
                  <a:cubicBezTo>
                    <a:pt x="1544" y="1088"/>
                    <a:pt x="1573" y="1079"/>
                    <a:pt x="1596" y="1066"/>
                  </a:cubicBezTo>
                  <a:cubicBezTo>
                    <a:pt x="1599" y="1068"/>
                    <a:pt x="1591" y="1071"/>
                    <a:pt x="1595" y="1071"/>
                  </a:cubicBezTo>
                  <a:cubicBezTo>
                    <a:pt x="1604" y="1063"/>
                    <a:pt x="1604" y="1059"/>
                    <a:pt x="1615" y="1061"/>
                  </a:cubicBezTo>
                  <a:cubicBezTo>
                    <a:pt x="1619" y="1059"/>
                    <a:pt x="1617" y="1055"/>
                    <a:pt x="1618" y="1052"/>
                  </a:cubicBezTo>
                  <a:cubicBezTo>
                    <a:pt x="1624" y="1053"/>
                    <a:pt x="1631" y="1040"/>
                    <a:pt x="1639" y="1045"/>
                  </a:cubicBezTo>
                  <a:cubicBezTo>
                    <a:pt x="1637" y="1041"/>
                    <a:pt x="1644" y="1043"/>
                    <a:pt x="1645" y="1039"/>
                  </a:cubicBezTo>
                  <a:cubicBezTo>
                    <a:pt x="1647" y="1043"/>
                    <a:pt x="1648" y="1041"/>
                    <a:pt x="1648" y="1038"/>
                  </a:cubicBezTo>
                  <a:cubicBezTo>
                    <a:pt x="1652" y="1045"/>
                    <a:pt x="1655" y="1037"/>
                    <a:pt x="1659" y="1041"/>
                  </a:cubicBezTo>
                  <a:cubicBezTo>
                    <a:pt x="1658" y="1036"/>
                    <a:pt x="1662" y="1035"/>
                    <a:pt x="1667" y="1036"/>
                  </a:cubicBezTo>
                  <a:cubicBezTo>
                    <a:pt x="1668" y="1033"/>
                    <a:pt x="1664" y="1033"/>
                    <a:pt x="1666" y="1032"/>
                  </a:cubicBezTo>
                  <a:cubicBezTo>
                    <a:pt x="1673" y="1032"/>
                    <a:pt x="1678" y="1022"/>
                    <a:pt x="1684" y="1029"/>
                  </a:cubicBezTo>
                  <a:cubicBezTo>
                    <a:pt x="1685" y="1022"/>
                    <a:pt x="1700" y="1018"/>
                    <a:pt x="1705" y="1021"/>
                  </a:cubicBezTo>
                  <a:cubicBezTo>
                    <a:pt x="1703" y="1014"/>
                    <a:pt x="1716" y="1010"/>
                    <a:pt x="1717" y="1013"/>
                  </a:cubicBezTo>
                  <a:cubicBezTo>
                    <a:pt x="1720" y="1008"/>
                    <a:pt x="1723" y="1003"/>
                    <a:pt x="1726" y="999"/>
                  </a:cubicBezTo>
                  <a:cubicBezTo>
                    <a:pt x="1726" y="1001"/>
                    <a:pt x="1726" y="1002"/>
                    <a:pt x="1726" y="1004"/>
                  </a:cubicBezTo>
                  <a:cubicBezTo>
                    <a:pt x="1747" y="996"/>
                    <a:pt x="1759" y="983"/>
                    <a:pt x="1787" y="977"/>
                  </a:cubicBezTo>
                  <a:cubicBezTo>
                    <a:pt x="1786" y="975"/>
                    <a:pt x="1786" y="973"/>
                    <a:pt x="1787" y="972"/>
                  </a:cubicBezTo>
                  <a:cubicBezTo>
                    <a:pt x="1799" y="978"/>
                    <a:pt x="1808" y="954"/>
                    <a:pt x="1815" y="968"/>
                  </a:cubicBezTo>
                  <a:cubicBezTo>
                    <a:pt x="1821" y="965"/>
                    <a:pt x="1814" y="964"/>
                    <a:pt x="1817" y="960"/>
                  </a:cubicBezTo>
                  <a:cubicBezTo>
                    <a:pt x="1830" y="956"/>
                    <a:pt x="1837" y="948"/>
                    <a:pt x="1846" y="950"/>
                  </a:cubicBezTo>
                  <a:cubicBezTo>
                    <a:pt x="1851" y="943"/>
                    <a:pt x="1855" y="943"/>
                    <a:pt x="1862" y="937"/>
                  </a:cubicBezTo>
                  <a:cubicBezTo>
                    <a:pt x="1864" y="939"/>
                    <a:pt x="1860" y="939"/>
                    <a:pt x="1861" y="942"/>
                  </a:cubicBezTo>
                  <a:cubicBezTo>
                    <a:pt x="1871" y="936"/>
                    <a:pt x="1875" y="931"/>
                    <a:pt x="1886" y="933"/>
                  </a:cubicBezTo>
                  <a:cubicBezTo>
                    <a:pt x="1882" y="928"/>
                    <a:pt x="1889" y="926"/>
                    <a:pt x="1888" y="922"/>
                  </a:cubicBezTo>
                  <a:cubicBezTo>
                    <a:pt x="1882" y="924"/>
                    <a:pt x="1874" y="927"/>
                    <a:pt x="1868" y="922"/>
                  </a:cubicBezTo>
                  <a:cubicBezTo>
                    <a:pt x="1872" y="918"/>
                    <a:pt x="1877" y="923"/>
                    <a:pt x="1878" y="919"/>
                  </a:cubicBezTo>
                  <a:cubicBezTo>
                    <a:pt x="1863" y="917"/>
                    <a:pt x="1861" y="928"/>
                    <a:pt x="1848" y="933"/>
                  </a:cubicBezTo>
                  <a:cubicBezTo>
                    <a:pt x="1848" y="931"/>
                    <a:pt x="1848" y="930"/>
                    <a:pt x="1848" y="929"/>
                  </a:cubicBezTo>
                  <a:cubicBezTo>
                    <a:pt x="1843" y="929"/>
                    <a:pt x="1839" y="934"/>
                    <a:pt x="1836" y="937"/>
                  </a:cubicBezTo>
                  <a:cubicBezTo>
                    <a:pt x="1812" y="939"/>
                    <a:pt x="1794" y="964"/>
                    <a:pt x="1770" y="963"/>
                  </a:cubicBezTo>
                  <a:cubicBezTo>
                    <a:pt x="1766" y="971"/>
                    <a:pt x="1754" y="976"/>
                    <a:pt x="1744" y="982"/>
                  </a:cubicBezTo>
                  <a:cubicBezTo>
                    <a:pt x="1743" y="975"/>
                    <a:pt x="1756" y="975"/>
                    <a:pt x="1755" y="968"/>
                  </a:cubicBezTo>
                  <a:cubicBezTo>
                    <a:pt x="1750" y="970"/>
                    <a:pt x="1735" y="981"/>
                    <a:pt x="1730" y="977"/>
                  </a:cubicBezTo>
                  <a:cubicBezTo>
                    <a:pt x="1731" y="979"/>
                    <a:pt x="1732" y="982"/>
                    <a:pt x="1730" y="983"/>
                  </a:cubicBezTo>
                  <a:cubicBezTo>
                    <a:pt x="1728" y="985"/>
                    <a:pt x="1727" y="981"/>
                    <a:pt x="1725" y="982"/>
                  </a:cubicBezTo>
                  <a:cubicBezTo>
                    <a:pt x="1726" y="990"/>
                    <a:pt x="1706" y="994"/>
                    <a:pt x="1700" y="996"/>
                  </a:cubicBezTo>
                  <a:cubicBezTo>
                    <a:pt x="1701" y="996"/>
                    <a:pt x="1702" y="997"/>
                    <a:pt x="1702" y="998"/>
                  </a:cubicBezTo>
                  <a:cubicBezTo>
                    <a:pt x="1699" y="997"/>
                    <a:pt x="1695" y="1007"/>
                    <a:pt x="1689" y="1004"/>
                  </a:cubicBezTo>
                  <a:cubicBezTo>
                    <a:pt x="1692" y="1003"/>
                    <a:pt x="1693" y="1002"/>
                    <a:pt x="1692" y="1000"/>
                  </a:cubicBezTo>
                  <a:cubicBezTo>
                    <a:pt x="1686" y="998"/>
                    <a:pt x="1691" y="1006"/>
                    <a:pt x="1686" y="1007"/>
                  </a:cubicBezTo>
                  <a:cubicBezTo>
                    <a:pt x="1684" y="1005"/>
                    <a:pt x="1688" y="1004"/>
                    <a:pt x="1687" y="1002"/>
                  </a:cubicBezTo>
                  <a:cubicBezTo>
                    <a:pt x="1679" y="1008"/>
                    <a:pt x="1661" y="1013"/>
                    <a:pt x="1654" y="1018"/>
                  </a:cubicBezTo>
                  <a:cubicBezTo>
                    <a:pt x="1655" y="1023"/>
                    <a:pt x="1658" y="1018"/>
                    <a:pt x="1659" y="1022"/>
                  </a:cubicBezTo>
                  <a:cubicBezTo>
                    <a:pt x="1657" y="1022"/>
                    <a:pt x="1654" y="1026"/>
                    <a:pt x="1653" y="1023"/>
                  </a:cubicBezTo>
                  <a:cubicBezTo>
                    <a:pt x="1652" y="1022"/>
                    <a:pt x="1654" y="1021"/>
                    <a:pt x="1653" y="1019"/>
                  </a:cubicBezTo>
                  <a:cubicBezTo>
                    <a:pt x="1637" y="1026"/>
                    <a:pt x="1622" y="1035"/>
                    <a:pt x="1601" y="1043"/>
                  </a:cubicBezTo>
                  <a:cubicBezTo>
                    <a:pt x="1596" y="1039"/>
                    <a:pt x="1586" y="1051"/>
                    <a:pt x="1579" y="1052"/>
                  </a:cubicBezTo>
                  <a:cubicBezTo>
                    <a:pt x="1571" y="1054"/>
                    <a:pt x="1560" y="1063"/>
                    <a:pt x="1549" y="1069"/>
                  </a:cubicBezTo>
                  <a:cubicBezTo>
                    <a:pt x="1533" y="1078"/>
                    <a:pt x="1514" y="1082"/>
                    <a:pt x="1502" y="1095"/>
                  </a:cubicBezTo>
                  <a:cubicBezTo>
                    <a:pt x="1501" y="1093"/>
                    <a:pt x="1500" y="1091"/>
                    <a:pt x="1498" y="1092"/>
                  </a:cubicBezTo>
                  <a:cubicBezTo>
                    <a:pt x="1499" y="1094"/>
                    <a:pt x="1501" y="1096"/>
                    <a:pt x="1499" y="1097"/>
                  </a:cubicBezTo>
                  <a:cubicBezTo>
                    <a:pt x="1494" y="1099"/>
                    <a:pt x="1489" y="1098"/>
                    <a:pt x="1485" y="1095"/>
                  </a:cubicBezTo>
                  <a:cubicBezTo>
                    <a:pt x="1486" y="1098"/>
                    <a:pt x="1485" y="1100"/>
                    <a:pt x="1484" y="1103"/>
                  </a:cubicBezTo>
                  <a:cubicBezTo>
                    <a:pt x="1486" y="1102"/>
                    <a:pt x="1488" y="1097"/>
                    <a:pt x="1490" y="1100"/>
                  </a:cubicBezTo>
                  <a:cubicBezTo>
                    <a:pt x="1489" y="1101"/>
                    <a:pt x="1490" y="1104"/>
                    <a:pt x="1486" y="1105"/>
                  </a:cubicBezTo>
                  <a:cubicBezTo>
                    <a:pt x="1478" y="1099"/>
                    <a:pt x="1483" y="1103"/>
                    <a:pt x="1475" y="1104"/>
                  </a:cubicBezTo>
                  <a:cubicBezTo>
                    <a:pt x="1477" y="1103"/>
                    <a:pt x="1478" y="1102"/>
                    <a:pt x="1478" y="1100"/>
                  </a:cubicBezTo>
                  <a:cubicBezTo>
                    <a:pt x="1474" y="1106"/>
                    <a:pt x="1464" y="1103"/>
                    <a:pt x="1461" y="1109"/>
                  </a:cubicBezTo>
                  <a:cubicBezTo>
                    <a:pt x="1468" y="1109"/>
                    <a:pt x="1469" y="1107"/>
                    <a:pt x="1474" y="1107"/>
                  </a:cubicBezTo>
                  <a:cubicBezTo>
                    <a:pt x="1469" y="1111"/>
                    <a:pt x="1468" y="1110"/>
                    <a:pt x="1464" y="1115"/>
                  </a:cubicBezTo>
                  <a:cubicBezTo>
                    <a:pt x="1462" y="1113"/>
                    <a:pt x="1465" y="1110"/>
                    <a:pt x="1462" y="1110"/>
                  </a:cubicBezTo>
                  <a:cubicBezTo>
                    <a:pt x="1461" y="1113"/>
                    <a:pt x="1459" y="1113"/>
                    <a:pt x="1456" y="1113"/>
                  </a:cubicBezTo>
                  <a:cubicBezTo>
                    <a:pt x="1456" y="1110"/>
                    <a:pt x="1454" y="1108"/>
                    <a:pt x="1451" y="1107"/>
                  </a:cubicBezTo>
                  <a:cubicBezTo>
                    <a:pt x="1450" y="1103"/>
                    <a:pt x="1448" y="1099"/>
                    <a:pt x="1446" y="1096"/>
                  </a:cubicBezTo>
                  <a:cubicBezTo>
                    <a:pt x="1446" y="1096"/>
                    <a:pt x="1446" y="1096"/>
                    <a:pt x="1447" y="1096"/>
                  </a:cubicBezTo>
                  <a:cubicBezTo>
                    <a:pt x="1449" y="1101"/>
                    <a:pt x="1457" y="1088"/>
                    <a:pt x="1462" y="1096"/>
                  </a:cubicBezTo>
                  <a:cubicBezTo>
                    <a:pt x="1470" y="1087"/>
                    <a:pt x="1477" y="1091"/>
                    <a:pt x="1483" y="1082"/>
                  </a:cubicBezTo>
                  <a:cubicBezTo>
                    <a:pt x="1484" y="1084"/>
                    <a:pt x="1491" y="1083"/>
                    <a:pt x="1491" y="1080"/>
                  </a:cubicBezTo>
                  <a:cubicBezTo>
                    <a:pt x="1490" y="1082"/>
                    <a:pt x="1485" y="1080"/>
                    <a:pt x="1488" y="1078"/>
                  </a:cubicBezTo>
                  <a:cubicBezTo>
                    <a:pt x="1506" y="1077"/>
                    <a:pt x="1525" y="1064"/>
                    <a:pt x="1543" y="1059"/>
                  </a:cubicBezTo>
                  <a:cubicBezTo>
                    <a:pt x="1542" y="1059"/>
                    <a:pt x="1541" y="1058"/>
                    <a:pt x="1540" y="1058"/>
                  </a:cubicBezTo>
                  <a:cubicBezTo>
                    <a:pt x="1544" y="1056"/>
                    <a:pt x="1544" y="1056"/>
                    <a:pt x="1544" y="1056"/>
                  </a:cubicBezTo>
                  <a:cubicBezTo>
                    <a:pt x="1545" y="1057"/>
                    <a:pt x="1545" y="1058"/>
                    <a:pt x="1545" y="1060"/>
                  </a:cubicBezTo>
                  <a:cubicBezTo>
                    <a:pt x="1547" y="1055"/>
                    <a:pt x="1556" y="1060"/>
                    <a:pt x="1558" y="1057"/>
                  </a:cubicBezTo>
                  <a:cubicBezTo>
                    <a:pt x="1554" y="1057"/>
                    <a:pt x="1559" y="1054"/>
                    <a:pt x="1560" y="1056"/>
                  </a:cubicBezTo>
                  <a:cubicBezTo>
                    <a:pt x="1559" y="1052"/>
                    <a:pt x="1559" y="1053"/>
                    <a:pt x="1561" y="1049"/>
                  </a:cubicBezTo>
                  <a:cubicBezTo>
                    <a:pt x="1559" y="1050"/>
                    <a:pt x="1557" y="1052"/>
                    <a:pt x="1556" y="1050"/>
                  </a:cubicBezTo>
                  <a:cubicBezTo>
                    <a:pt x="1563" y="1041"/>
                    <a:pt x="1579" y="1041"/>
                    <a:pt x="1589" y="1037"/>
                  </a:cubicBezTo>
                  <a:cubicBezTo>
                    <a:pt x="1591" y="1033"/>
                    <a:pt x="1583" y="1035"/>
                    <a:pt x="1586" y="1031"/>
                  </a:cubicBezTo>
                  <a:cubicBezTo>
                    <a:pt x="1591" y="1034"/>
                    <a:pt x="1592" y="1022"/>
                    <a:pt x="1596" y="1027"/>
                  </a:cubicBezTo>
                  <a:cubicBezTo>
                    <a:pt x="1596" y="1030"/>
                    <a:pt x="1586" y="1034"/>
                    <a:pt x="1593" y="1037"/>
                  </a:cubicBezTo>
                  <a:cubicBezTo>
                    <a:pt x="1596" y="1031"/>
                    <a:pt x="1596" y="1022"/>
                    <a:pt x="1605" y="1024"/>
                  </a:cubicBezTo>
                  <a:cubicBezTo>
                    <a:pt x="1598" y="1013"/>
                    <a:pt x="1615" y="1012"/>
                    <a:pt x="1617" y="1004"/>
                  </a:cubicBezTo>
                  <a:cubicBezTo>
                    <a:pt x="1621" y="1005"/>
                    <a:pt x="1630" y="1005"/>
                    <a:pt x="1632" y="1000"/>
                  </a:cubicBezTo>
                  <a:cubicBezTo>
                    <a:pt x="1624" y="1002"/>
                    <a:pt x="1616" y="1003"/>
                    <a:pt x="1610" y="997"/>
                  </a:cubicBezTo>
                  <a:cubicBezTo>
                    <a:pt x="1611" y="997"/>
                    <a:pt x="1613" y="996"/>
                    <a:pt x="1613" y="995"/>
                  </a:cubicBezTo>
                  <a:cubicBezTo>
                    <a:pt x="1606" y="996"/>
                    <a:pt x="1612" y="1002"/>
                    <a:pt x="1605" y="1003"/>
                  </a:cubicBezTo>
                  <a:cubicBezTo>
                    <a:pt x="1607" y="1007"/>
                    <a:pt x="1612" y="1001"/>
                    <a:pt x="1614" y="1005"/>
                  </a:cubicBezTo>
                  <a:cubicBezTo>
                    <a:pt x="1606" y="1010"/>
                    <a:pt x="1598" y="1014"/>
                    <a:pt x="1591" y="1014"/>
                  </a:cubicBezTo>
                  <a:cubicBezTo>
                    <a:pt x="1595" y="1014"/>
                    <a:pt x="1591" y="1010"/>
                    <a:pt x="1594" y="1009"/>
                  </a:cubicBezTo>
                  <a:cubicBezTo>
                    <a:pt x="1595" y="1010"/>
                    <a:pt x="1601" y="1010"/>
                    <a:pt x="1601" y="1007"/>
                  </a:cubicBezTo>
                  <a:cubicBezTo>
                    <a:pt x="1599" y="1001"/>
                    <a:pt x="1609" y="991"/>
                    <a:pt x="1619" y="993"/>
                  </a:cubicBezTo>
                  <a:cubicBezTo>
                    <a:pt x="1619" y="985"/>
                    <a:pt x="1628" y="989"/>
                    <a:pt x="1629" y="989"/>
                  </a:cubicBezTo>
                  <a:cubicBezTo>
                    <a:pt x="1626" y="989"/>
                    <a:pt x="1628" y="984"/>
                    <a:pt x="1629" y="983"/>
                  </a:cubicBezTo>
                  <a:cubicBezTo>
                    <a:pt x="1632" y="988"/>
                    <a:pt x="1642" y="982"/>
                    <a:pt x="1634" y="979"/>
                  </a:cubicBezTo>
                  <a:cubicBezTo>
                    <a:pt x="1639" y="977"/>
                    <a:pt x="1641" y="980"/>
                    <a:pt x="1642" y="982"/>
                  </a:cubicBezTo>
                  <a:cubicBezTo>
                    <a:pt x="1644" y="978"/>
                    <a:pt x="1647" y="974"/>
                    <a:pt x="1647" y="969"/>
                  </a:cubicBezTo>
                  <a:cubicBezTo>
                    <a:pt x="1649" y="972"/>
                    <a:pt x="1647" y="974"/>
                    <a:pt x="1651" y="973"/>
                  </a:cubicBezTo>
                  <a:cubicBezTo>
                    <a:pt x="1653" y="970"/>
                    <a:pt x="1650" y="971"/>
                    <a:pt x="1651" y="969"/>
                  </a:cubicBezTo>
                  <a:cubicBezTo>
                    <a:pt x="1652" y="969"/>
                    <a:pt x="1653" y="969"/>
                    <a:pt x="1653" y="971"/>
                  </a:cubicBezTo>
                  <a:cubicBezTo>
                    <a:pt x="1653" y="960"/>
                    <a:pt x="1668" y="969"/>
                    <a:pt x="1668" y="964"/>
                  </a:cubicBezTo>
                  <a:cubicBezTo>
                    <a:pt x="1667" y="964"/>
                    <a:pt x="1666" y="965"/>
                    <a:pt x="1665" y="962"/>
                  </a:cubicBezTo>
                  <a:cubicBezTo>
                    <a:pt x="1670" y="961"/>
                    <a:pt x="1676" y="958"/>
                    <a:pt x="1679" y="962"/>
                  </a:cubicBezTo>
                  <a:cubicBezTo>
                    <a:pt x="1678" y="956"/>
                    <a:pt x="1684" y="962"/>
                    <a:pt x="1687" y="959"/>
                  </a:cubicBezTo>
                  <a:cubicBezTo>
                    <a:pt x="1685" y="951"/>
                    <a:pt x="1703" y="942"/>
                    <a:pt x="1705" y="949"/>
                  </a:cubicBezTo>
                  <a:cubicBezTo>
                    <a:pt x="1707" y="944"/>
                    <a:pt x="1707" y="940"/>
                    <a:pt x="1714" y="942"/>
                  </a:cubicBezTo>
                  <a:cubicBezTo>
                    <a:pt x="1713" y="935"/>
                    <a:pt x="1706" y="943"/>
                    <a:pt x="1703" y="941"/>
                  </a:cubicBezTo>
                  <a:cubicBezTo>
                    <a:pt x="1705" y="937"/>
                    <a:pt x="1715" y="936"/>
                    <a:pt x="1717" y="932"/>
                  </a:cubicBezTo>
                  <a:cubicBezTo>
                    <a:pt x="1722" y="934"/>
                    <a:pt x="1725" y="935"/>
                    <a:pt x="1726" y="939"/>
                  </a:cubicBezTo>
                  <a:cubicBezTo>
                    <a:pt x="1729" y="937"/>
                    <a:pt x="1727" y="933"/>
                    <a:pt x="1729" y="931"/>
                  </a:cubicBezTo>
                  <a:cubicBezTo>
                    <a:pt x="1727" y="931"/>
                    <a:pt x="1726" y="932"/>
                    <a:pt x="1725" y="931"/>
                  </a:cubicBezTo>
                  <a:cubicBezTo>
                    <a:pt x="1727" y="925"/>
                    <a:pt x="1736" y="923"/>
                    <a:pt x="1739" y="930"/>
                  </a:cubicBezTo>
                  <a:cubicBezTo>
                    <a:pt x="1736" y="930"/>
                    <a:pt x="1738" y="937"/>
                    <a:pt x="1739" y="936"/>
                  </a:cubicBezTo>
                  <a:cubicBezTo>
                    <a:pt x="1738" y="930"/>
                    <a:pt x="1746" y="928"/>
                    <a:pt x="1746" y="923"/>
                  </a:cubicBezTo>
                  <a:cubicBezTo>
                    <a:pt x="1740" y="923"/>
                    <a:pt x="1744" y="928"/>
                    <a:pt x="1739" y="929"/>
                  </a:cubicBezTo>
                  <a:cubicBezTo>
                    <a:pt x="1736" y="926"/>
                    <a:pt x="1738" y="923"/>
                    <a:pt x="1734" y="923"/>
                  </a:cubicBezTo>
                  <a:cubicBezTo>
                    <a:pt x="1741" y="920"/>
                    <a:pt x="1744" y="919"/>
                    <a:pt x="1747" y="915"/>
                  </a:cubicBezTo>
                  <a:cubicBezTo>
                    <a:pt x="1748" y="917"/>
                    <a:pt x="1745" y="918"/>
                    <a:pt x="1747" y="921"/>
                  </a:cubicBezTo>
                  <a:cubicBezTo>
                    <a:pt x="1752" y="920"/>
                    <a:pt x="1748" y="916"/>
                    <a:pt x="1750" y="914"/>
                  </a:cubicBezTo>
                  <a:cubicBezTo>
                    <a:pt x="1752" y="914"/>
                    <a:pt x="1755" y="913"/>
                    <a:pt x="1757" y="916"/>
                  </a:cubicBezTo>
                  <a:cubicBezTo>
                    <a:pt x="1763" y="906"/>
                    <a:pt x="1771" y="906"/>
                    <a:pt x="1783" y="900"/>
                  </a:cubicBezTo>
                  <a:cubicBezTo>
                    <a:pt x="1783" y="894"/>
                    <a:pt x="1777" y="903"/>
                    <a:pt x="1775" y="899"/>
                  </a:cubicBezTo>
                  <a:cubicBezTo>
                    <a:pt x="1784" y="888"/>
                    <a:pt x="1797" y="883"/>
                    <a:pt x="1807" y="872"/>
                  </a:cubicBezTo>
                  <a:cubicBezTo>
                    <a:pt x="1807" y="874"/>
                    <a:pt x="1806" y="875"/>
                    <a:pt x="1806" y="877"/>
                  </a:cubicBezTo>
                  <a:cubicBezTo>
                    <a:pt x="1810" y="868"/>
                    <a:pt x="1818" y="872"/>
                    <a:pt x="1817" y="866"/>
                  </a:cubicBezTo>
                  <a:cubicBezTo>
                    <a:pt x="1835" y="865"/>
                    <a:pt x="1868" y="844"/>
                    <a:pt x="1886" y="844"/>
                  </a:cubicBezTo>
                  <a:cubicBezTo>
                    <a:pt x="1894" y="840"/>
                    <a:pt x="1901" y="828"/>
                    <a:pt x="1911" y="834"/>
                  </a:cubicBezTo>
                  <a:cubicBezTo>
                    <a:pt x="1913" y="827"/>
                    <a:pt x="1926" y="827"/>
                    <a:pt x="1928" y="822"/>
                  </a:cubicBezTo>
                  <a:cubicBezTo>
                    <a:pt x="1926" y="822"/>
                    <a:pt x="1927" y="820"/>
                    <a:pt x="1928" y="819"/>
                  </a:cubicBezTo>
                  <a:cubicBezTo>
                    <a:pt x="1947" y="816"/>
                    <a:pt x="1950" y="801"/>
                    <a:pt x="1972" y="796"/>
                  </a:cubicBezTo>
                  <a:cubicBezTo>
                    <a:pt x="1968" y="790"/>
                    <a:pt x="1959" y="804"/>
                    <a:pt x="1956" y="794"/>
                  </a:cubicBezTo>
                  <a:cubicBezTo>
                    <a:pt x="1945" y="798"/>
                    <a:pt x="1940" y="796"/>
                    <a:pt x="1930" y="801"/>
                  </a:cubicBezTo>
                  <a:cubicBezTo>
                    <a:pt x="1932" y="800"/>
                    <a:pt x="1934" y="799"/>
                    <a:pt x="1933" y="798"/>
                  </a:cubicBezTo>
                  <a:cubicBezTo>
                    <a:pt x="1932" y="798"/>
                    <a:pt x="1931" y="799"/>
                    <a:pt x="1930" y="798"/>
                  </a:cubicBezTo>
                  <a:cubicBezTo>
                    <a:pt x="1936" y="796"/>
                    <a:pt x="1938" y="794"/>
                    <a:pt x="1938" y="790"/>
                  </a:cubicBezTo>
                  <a:cubicBezTo>
                    <a:pt x="1931" y="794"/>
                    <a:pt x="1921" y="800"/>
                    <a:pt x="1912" y="799"/>
                  </a:cubicBezTo>
                  <a:cubicBezTo>
                    <a:pt x="1912" y="793"/>
                    <a:pt x="1929" y="792"/>
                    <a:pt x="1928" y="789"/>
                  </a:cubicBezTo>
                  <a:cubicBezTo>
                    <a:pt x="1921" y="790"/>
                    <a:pt x="1913" y="790"/>
                    <a:pt x="1905" y="792"/>
                  </a:cubicBezTo>
                  <a:cubicBezTo>
                    <a:pt x="1907" y="787"/>
                    <a:pt x="1902" y="793"/>
                    <a:pt x="1901" y="789"/>
                  </a:cubicBezTo>
                  <a:cubicBezTo>
                    <a:pt x="1904" y="784"/>
                    <a:pt x="1908" y="785"/>
                    <a:pt x="1911" y="783"/>
                  </a:cubicBezTo>
                  <a:cubicBezTo>
                    <a:pt x="1910" y="784"/>
                    <a:pt x="1905" y="781"/>
                    <a:pt x="1908" y="780"/>
                  </a:cubicBezTo>
                  <a:cubicBezTo>
                    <a:pt x="1912" y="780"/>
                    <a:pt x="1912" y="778"/>
                    <a:pt x="1916" y="776"/>
                  </a:cubicBezTo>
                  <a:cubicBezTo>
                    <a:pt x="1916" y="778"/>
                    <a:pt x="1913" y="782"/>
                    <a:pt x="1917" y="781"/>
                  </a:cubicBezTo>
                  <a:cubicBezTo>
                    <a:pt x="1920" y="776"/>
                    <a:pt x="1925" y="768"/>
                    <a:pt x="1931" y="772"/>
                  </a:cubicBezTo>
                  <a:cubicBezTo>
                    <a:pt x="1930" y="770"/>
                    <a:pt x="1928" y="770"/>
                    <a:pt x="1927" y="768"/>
                  </a:cubicBezTo>
                  <a:cubicBezTo>
                    <a:pt x="1930" y="767"/>
                    <a:pt x="1933" y="766"/>
                    <a:pt x="1933" y="764"/>
                  </a:cubicBezTo>
                  <a:cubicBezTo>
                    <a:pt x="1935" y="767"/>
                    <a:pt x="1935" y="767"/>
                    <a:pt x="1935" y="767"/>
                  </a:cubicBezTo>
                  <a:cubicBezTo>
                    <a:pt x="1940" y="762"/>
                    <a:pt x="1942" y="758"/>
                    <a:pt x="1944" y="753"/>
                  </a:cubicBezTo>
                  <a:cubicBezTo>
                    <a:pt x="1948" y="752"/>
                    <a:pt x="1962" y="749"/>
                    <a:pt x="1961" y="743"/>
                  </a:cubicBezTo>
                  <a:cubicBezTo>
                    <a:pt x="1955" y="744"/>
                    <a:pt x="1950" y="754"/>
                    <a:pt x="1943" y="748"/>
                  </a:cubicBezTo>
                  <a:cubicBezTo>
                    <a:pt x="1928" y="755"/>
                    <a:pt x="1910" y="761"/>
                    <a:pt x="1902" y="767"/>
                  </a:cubicBezTo>
                  <a:cubicBezTo>
                    <a:pt x="1896" y="771"/>
                    <a:pt x="1886" y="772"/>
                    <a:pt x="1882" y="775"/>
                  </a:cubicBezTo>
                  <a:cubicBezTo>
                    <a:pt x="1877" y="778"/>
                    <a:pt x="1871" y="785"/>
                    <a:pt x="1864" y="780"/>
                  </a:cubicBezTo>
                  <a:cubicBezTo>
                    <a:pt x="1869" y="781"/>
                    <a:pt x="1871" y="775"/>
                    <a:pt x="1876" y="776"/>
                  </a:cubicBezTo>
                  <a:cubicBezTo>
                    <a:pt x="1877" y="773"/>
                    <a:pt x="1873" y="774"/>
                    <a:pt x="1875" y="772"/>
                  </a:cubicBezTo>
                  <a:cubicBezTo>
                    <a:pt x="1932" y="755"/>
                    <a:pt x="1978" y="704"/>
                    <a:pt x="2039" y="680"/>
                  </a:cubicBezTo>
                  <a:cubicBezTo>
                    <a:pt x="2033" y="670"/>
                    <a:pt x="2052" y="666"/>
                    <a:pt x="2058" y="667"/>
                  </a:cubicBezTo>
                  <a:cubicBezTo>
                    <a:pt x="2058" y="659"/>
                    <a:pt x="2068" y="663"/>
                    <a:pt x="2067" y="657"/>
                  </a:cubicBezTo>
                  <a:cubicBezTo>
                    <a:pt x="2063" y="656"/>
                    <a:pt x="2057" y="662"/>
                    <a:pt x="2054" y="657"/>
                  </a:cubicBezTo>
                  <a:cubicBezTo>
                    <a:pt x="2053" y="655"/>
                    <a:pt x="2049" y="651"/>
                    <a:pt x="2051" y="650"/>
                  </a:cubicBezTo>
                  <a:cubicBezTo>
                    <a:pt x="2063" y="642"/>
                    <a:pt x="2076" y="648"/>
                    <a:pt x="2079" y="639"/>
                  </a:cubicBezTo>
                  <a:cubicBezTo>
                    <a:pt x="2072" y="643"/>
                    <a:pt x="2063" y="637"/>
                    <a:pt x="2053" y="642"/>
                  </a:cubicBezTo>
                  <a:close/>
                  <a:moveTo>
                    <a:pt x="1772" y="633"/>
                  </a:moveTo>
                  <a:cubicBezTo>
                    <a:pt x="1775" y="638"/>
                    <a:pt x="1768" y="636"/>
                    <a:pt x="1766" y="637"/>
                  </a:cubicBezTo>
                  <a:cubicBezTo>
                    <a:pt x="1765" y="634"/>
                    <a:pt x="1770" y="632"/>
                    <a:pt x="1772" y="633"/>
                  </a:cubicBezTo>
                  <a:close/>
                  <a:moveTo>
                    <a:pt x="2200" y="271"/>
                  </a:moveTo>
                  <a:cubicBezTo>
                    <a:pt x="2199" y="269"/>
                    <a:pt x="2205" y="267"/>
                    <a:pt x="2207" y="268"/>
                  </a:cubicBezTo>
                  <a:cubicBezTo>
                    <a:pt x="2208" y="270"/>
                    <a:pt x="2205" y="271"/>
                    <a:pt x="2207" y="273"/>
                  </a:cubicBezTo>
                  <a:cubicBezTo>
                    <a:pt x="2204" y="276"/>
                    <a:pt x="2203" y="273"/>
                    <a:pt x="2200" y="276"/>
                  </a:cubicBezTo>
                  <a:cubicBezTo>
                    <a:pt x="2199" y="275"/>
                    <a:pt x="2201" y="274"/>
                    <a:pt x="2202" y="273"/>
                  </a:cubicBezTo>
                  <a:cubicBezTo>
                    <a:pt x="2201" y="272"/>
                    <a:pt x="2201" y="271"/>
                    <a:pt x="2200" y="271"/>
                  </a:cubicBezTo>
                  <a:close/>
                  <a:moveTo>
                    <a:pt x="2182" y="328"/>
                  </a:moveTo>
                  <a:cubicBezTo>
                    <a:pt x="2183" y="329"/>
                    <a:pt x="2184" y="329"/>
                    <a:pt x="2185" y="329"/>
                  </a:cubicBezTo>
                  <a:cubicBezTo>
                    <a:pt x="2185" y="332"/>
                    <a:pt x="2182" y="334"/>
                    <a:pt x="2179" y="335"/>
                  </a:cubicBezTo>
                  <a:cubicBezTo>
                    <a:pt x="2177" y="332"/>
                    <a:pt x="2181" y="330"/>
                    <a:pt x="2182" y="328"/>
                  </a:cubicBezTo>
                  <a:close/>
                  <a:moveTo>
                    <a:pt x="2149" y="391"/>
                  </a:moveTo>
                  <a:cubicBezTo>
                    <a:pt x="2150" y="394"/>
                    <a:pt x="2142" y="401"/>
                    <a:pt x="2140" y="395"/>
                  </a:cubicBezTo>
                  <a:cubicBezTo>
                    <a:pt x="2145" y="394"/>
                    <a:pt x="2144" y="393"/>
                    <a:pt x="2149" y="391"/>
                  </a:cubicBezTo>
                  <a:close/>
                  <a:moveTo>
                    <a:pt x="1971" y="335"/>
                  </a:moveTo>
                  <a:cubicBezTo>
                    <a:pt x="1976" y="335"/>
                    <a:pt x="1965" y="344"/>
                    <a:pt x="1964" y="339"/>
                  </a:cubicBezTo>
                  <a:cubicBezTo>
                    <a:pt x="1965" y="338"/>
                    <a:pt x="1970" y="337"/>
                    <a:pt x="1971" y="335"/>
                  </a:cubicBezTo>
                  <a:close/>
                  <a:moveTo>
                    <a:pt x="1941" y="343"/>
                  </a:moveTo>
                  <a:cubicBezTo>
                    <a:pt x="1943" y="345"/>
                    <a:pt x="1937" y="347"/>
                    <a:pt x="1941" y="347"/>
                  </a:cubicBezTo>
                  <a:cubicBezTo>
                    <a:pt x="1941" y="349"/>
                    <a:pt x="1932" y="355"/>
                    <a:pt x="1931" y="350"/>
                  </a:cubicBezTo>
                  <a:cubicBezTo>
                    <a:pt x="1936" y="349"/>
                    <a:pt x="1938" y="345"/>
                    <a:pt x="1941" y="343"/>
                  </a:cubicBezTo>
                  <a:close/>
                  <a:moveTo>
                    <a:pt x="1232" y="93"/>
                  </a:moveTo>
                  <a:cubicBezTo>
                    <a:pt x="1232" y="90"/>
                    <a:pt x="1237" y="88"/>
                    <a:pt x="1238" y="93"/>
                  </a:cubicBezTo>
                  <a:cubicBezTo>
                    <a:pt x="1236" y="95"/>
                    <a:pt x="1234" y="93"/>
                    <a:pt x="1232" y="93"/>
                  </a:cubicBezTo>
                  <a:close/>
                  <a:moveTo>
                    <a:pt x="941" y="111"/>
                  </a:moveTo>
                  <a:cubicBezTo>
                    <a:pt x="933" y="108"/>
                    <a:pt x="940" y="101"/>
                    <a:pt x="943" y="101"/>
                  </a:cubicBezTo>
                  <a:cubicBezTo>
                    <a:pt x="942" y="101"/>
                    <a:pt x="946" y="106"/>
                    <a:pt x="945" y="101"/>
                  </a:cubicBezTo>
                  <a:cubicBezTo>
                    <a:pt x="946" y="101"/>
                    <a:pt x="945" y="103"/>
                    <a:pt x="948" y="105"/>
                  </a:cubicBezTo>
                  <a:cubicBezTo>
                    <a:pt x="944" y="107"/>
                    <a:pt x="940" y="105"/>
                    <a:pt x="941" y="111"/>
                  </a:cubicBezTo>
                  <a:close/>
                  <a:moveTo>
                    <a:pt x="955" y="99"/>
                  </a:moveTo>
                  <a:cubicBezTo>
                    <a:pt x="959" y="96"/>
                    <a:pt x="962" y="88"/>
                    <a:pt x="968" y="88"/>
                  </a:cubicBezTo>
                  <a:cubicBezTo>
                    <a:pt x="968" y="95"/>
                    <a:pt x="961" y="102"/>
                    <a:pt x="955" y="99"/>
                  </a:cubicBezTo>
                  <a:close/>
                  <a:moveTo>
                    <a:pt x="973" y="82"/>
                  </a:moveTo>
                  <a:cubicBezTo>
                    <a:pt x="971" y="79"/>
                    <a:pt x="974" y="78"/>
                    <a:pt x="976" y="78"/>
                  </a:cubicBezTo>
                  <a:cubicBezTo>
                    <a:pt x="976" y="81"/>
                    <a:pt x="975" y="83"/>
                    <a:pt x="973" y="82"/>
                  </a:cubicBezTo>
                  <a:close/>
                  <a:moveTo>
                    <a:pt x="416" y="570"/>
                  </a:moveTo>
                  <a:cubicBezTo>
                    <a:pt x="418" y="572"/>
                    <a:pt x="414" y="571"/>
                    <a:pt x="413" y="571"/>
                  </a:cubicBezTo>
                  <a:cubicBezTo>
                    <a:pt x="413" y="570"/>
                    <a:pt x="414" y="568"/>
                    <a:pt x="413" y="569"/>
                  </a:cubicBezTo>
                  <a:cubicBezTo>
                    <a:pt x="412" y="566"/>
                    <a:pt x="415" y="566"/>
                    <a:pt x="416" y="564"/>
                  </a:cubicBezTo>
                  <a:cubicBezTo>
                    <a:pt x="420" y="567"/>
                    <a:pt x="413" y="569"/>
                    <a:pt x="416" y="570"/>
                  </a:cubicBezTo>
                  <a:close/>
                  <a:moveTo>
                    <a:pt x="434" y="571"/>
                  </a:moveTo>
                  <a:cubicBezTo>
                    <a:pt x="434" y="567"/>
                    <a:pt x="434" y="564"/>
                    <a:pt x="435" y="561"/>
                  </a:cubicBezTo>
                  <a:cubicBezTo>
                    <a:pt x="438" y="560"/>
                    <a:pt x="438" y="565"/>
                    <a:pt x="439" y="568"/>
                  </a:cubicBezTo>
                  <a:lnTo>
                    <a:pt x="434" y="571"/>
                  </a:lnTo>
                  <a:close/>
                  <a:moveTo>
                    <a:pt x="455" y="561"/>
                  </a:moveTo>
                  <a:cubicBezTo>
                    <a:pt x="455" y="566"/>
                    <a:pt x="450" y="560"/>
                    <a:pt x="447" y="564"/>
                  </a:cubicBezTo>
                  <a:cubicBezTo>
                    <a:pt x="447" y="560"/>
                    <a:pt x="445" y="564"/>
                    <a:pt x="442" y="566"/>
                  </a:cubicBezTo>
                  <a:cubicBezTo>
                    <a:pt x="440" y="565"/>
                    <a:pt x="442" y="562"/>
                    <a:pt x="440" y="563"/>
                  </a:cubicBezTo>
                  <a:cubicBezTo>
                    <a:pt x="438" y="560"/>
                    <a:pt x="444" y="561"/>
                    <a:pt x="442" y="558"/>
                  </a:cubicBezTo>
                  <a:cubicBezTo>
                    <a:pt x="444" y="556"/>
                    <a:pt x="445" y="560"/>
                    <a:pt x="446" y="559"/>
                  </a:cubicBezTo>
                  <a:cubicBezTo>
                    <a:pt x="448" y="557"/>
                    <a:pt x="444" y="557"/>
                    <a:pt x="445" y="555"/>
                  </a:cubicBezTo>
                  <a:cubicBezTo>
                    <a:pt x="446" y="555"/>
                    <a:pt x="447" y="555"/>
                    <a:pt x="448" y="555"/>
                  </a:cubicBezTo>
                  <a:cubicBezTo>
                    <a:pt x="448" y="556"/>
                    <a:pt x="449" y="558"/>
                    <a:pt x="450" y="560"/>
                  </a:cubicBezTo>
                  <a:cubicBezTo>
                    <a:pt x="451" y="555"/>
                    <a:pt x="449" y="555"/>
                    <a:pt x="454" y="555"/>
                  </a:cubicBezTo>
                  <a:cubicBezTo>
                    <a:pt x="456" y="558"/>
                    <a:pt x="453" y="559"/>
                    <a:pt x="451" y="560"/>
                  </a:cubicBezTo>
                  <a:cubicBezTo>
                    <a:pt x="452" y="561"/>
                    <a:pt x="453" y="561"/>
                    <a:pt x="455" y="561"/>
                  </a:cubicBezTo>
                  <a:close/>
                  <a:moveTo>
                    <a:pt x="460" y="561"/>
                  </a:moveTo>
                  <a:cubicBezTo>
                    <a:pt x="459" y="562"/>
                    <a:pt x="458" y="561"/>
                    <a:pt x="457" y="561"/>
                  </a:cubicBezTo>
                  <a:cubicBezTo>
                    <a:pt x="456" y="560"/>
                    <a:pt x="457" y="560"/>
                    <a:pt x="458" y="559"/>
                  </a:cubicBezTo>
                  <a:cubicBezTo>
                    <a:pt x="459" y="558"/>
                    <a:pt x="455" y="554"/>
                    <a:pt x="459" y="554"/>
                  </a:cubicBezTo>
                  <a:cubicBezTo>
                    <a:pt x="461" y="557"/>
                    <a:pt x="461" y="557"/>
                    <a:pt x="461" y="557"/>
                  </a:cubicBezTo>
                  <a:cubicBezTo>
                    <a:pt x="459" y="558"/>
                    <a:pt x="459" y="559"/>
                    <a:pt x="460" y="561"/>
                  </a:cubicBezTo>
                  <a:close/>
                  <a:moveTo>
                    <a:pt x="482" y="536"/>
                  </a:moveTo>
                  <a:cubicBezTo>
                    <a:pt x="480" y="533"/>
                    <a:pt x="482" y="532"/>
                    <a:pt x="479" y="528"/>
                  </a:cubicBezTo>
                  <a:cubicBezTo>
                    <a:pt x="482" y="528"/>
                    <a:pt x="485" y="524"/>
                    <a:pt x="487" y="528"/>
                  </a:cubicBezTo>
                  <a:cubicBezTo>
                    <a:pt x="480" y="529"/>
                    <a:pt x="485" y="533"/>
                    <a:pt x="482" y="536"/>
                  </a:cubicBezTo>
                  <a:close/>
                  <a:moveTo>
                    <a:pt x="489" y="522"/>
                  </a:moveTo>
                  <a:cubicBezTo>
                    <a:pt x="491" y="521"/>
                    <a:pt x="492" y="526"/>
                    <a:pt x="494" y="525"/>
                  </a:cubicBezTo>
                  <a:cubicBezTo>
                    <a:pt x="495" y="529"/>
                    <a:pt x="488" y="526"/>
                    <a:pt x="489" y="522"/>
                  </a:cubicBezTo>
                  <a:close/>
                  <a:moveTo>
                    <a:pt x="459" y="610"/>
                  </a:moveTo>
                  <a:cubicBezTo>
                    <a:pt x="463" y="608"/>
                    <a:pt x="464" y="604"/>
                    <a:pt x="467" y="605"/>
                  </a:cubicBezTo>
                  <a:cubicBezTo>
                    <a:pt x="468" y="607"/>
                    <a:pt x="466" y="608"/>
                    <a:pt x="469" y="612"/>
                  </a:cubicBezTo>
                  <a:cubicBezTo>
                    <a:pt x="464" y="608"/>
                    <a:pt x="464" y="615"/>
                    <a:pt x="459" y="610"/>
                  </a:cubicBezTo>
                  <a:close/>
                  <a:moveTo>
                    <a:pt x="477" y="616"/>
                  </a:moveTo>
                  <a:cubicBezTo>
                    <a:pt x="475" y="610"/>
                    <a:pt x="480" y="615"/>
                    <a:pt x="482" y="613"/>
                  </a:cubicBezTo>
                  <a:cubicBezTo>
                    <a:pt x="477" y="613"/>
                    <a:pt x="481" y="608"/>
                    <a:pt x="484" y="609"/>
                  </a:cubicBezTo>
                  <a:cubicBezTo>
                    <a:pt x="484" y="611"/>
                    <a:pt x="484" y="613"/>
                    <a:pt x="484" y="615"/>
                  </a:cubicBezTo>
                  <a:cubicBezTo>
                    <a:pt x="481" y="615"/>
                    <a:pt x="479" y="616"/>
                    <a:pt x="477" y="616"/>
                  </a:cubicBezTo>
                  <a:close/>
                  <a:moveTo>
                    <a:pt x="489" y="613"/>
                  </a:moveTo>
                  <a:cubicBezTo>
                    <a:pt x="490" y="617"/>
                    <a:pt x="486" y="614"/>
                    <a:pt x="489" y="619"/>
                  </a:cubicBezTo>
                  <a:cubicBezTo>
                    <a:pt x="486" y="622"/>
                    <a:pt x="484" y="620"/>
                    <a:pt x="483" y="623"/>
                  </a:cubicBezTo>
                  <a:cubicBezTo>
                    <a:pt x="480" y="616"/>
                    <a:pt x="485" y="614"/>
                    <a:pt x="489" y="613"/>
                  </a:cubicBezTo>
                  <a:close/>
                  <a:moveTo>
                    <a:pt x="543" y="597"/>
                  </a:moveTo>
                  <a:cubicBezTo>
                    <a:pt x="549" y="598"/>
                    <a:pt x="547" y="600"/>
                    <a:pt x="554" y="600"/>
                  </a:cubicBezTo>
                  <a:cubicBezTo>
                    <a:pt x="550" y="603"/>
                    <a:pt x="546" y="605"/>
                    <a:pt x="543" y="597"/>
                  </a:cubicBezTo>
                  <a:close/>
                  <a:moveTo>
                    <a:pt x="469" y="663"/>
                  </a:moveTo>
                  <a:cubicBezTo>
                    <a:pt x="469" y="662"/>
                    <a:pt x="468" y="661"/>
                    <a:pt x="467" y="661"/>
                  </a:cubicBezTo>
                  <a:cubicBezTo>
                    <a:pt x="467" y="660"/>
                    <a:pt x="468" y="660"/>
                    <a:pt x="467" y="658"/>
                  </a:cubicBezTo>
                  <a:cubicBezTo>
                    <a:pt x="470" y="657"/>
                    <a:pt x="472" y="662"/>
                    <a:pt x="469" y="663"/>
                  </a:cubicBezTo>
                  <a:close/>
                  <a:moveTo>
                    <a:pt x="500" y="655"/>
                  </a:moveTo>
                  <a:cubicBezTo>
                    <a:pt x="499" y="654"/>
                    <a:pt x="500" y="654"/>
                    <a:pt x="501" y="653"/>
                  </a:cubicBezTo>
                  <a:cubicBezTo>
                    <a:pt x="500" y="652"/>
                    <a:pt x="499" y="651"/>
                    <a:pt x="499" y="651"/>
                  </a:cubicBezTo>
                  <a:cubicBezTo>
                    <a:pt x="497" y="647"/>
                    <a:pt x="501" y="650"/>
                    <a:pt x="502" y="650"/>
                  </a:cubicBezTo>
                  <a:cubicBezTo>
                    <a:pt x="503" y="653"/>
                    <a:pt x="501" y="654"/>
                    <a:pt x="500" y="655"/>
                  </a:cubicBezTo>
                  <a:close/>
                  <a:moveTo>
                    <a:pt x="450" y="724"/>
                  </a:moveTo>
                  <a:cubicBezTo>
                    <a:pt x="448" y="720"/>
                    <a:pt x="451" y="721"/>
                    <a:pt x="447" y="718"/>
                  </a:cubicBezTo>
                  <a:cubicBezTo>
                    <a:pt x="449" y="717"/>
                    <a:pt x="449" y="717"/>
                    <a:pt x="449" y="717"/>
                  </a:cubicBezTo>
                  <a:cubicBezTo>
                    <a:pt x="449" y="718"/>
                    <a:pt x="450" y="718"/>
                    <a:pt x="450" y="717"/>
                  </a:cubicBezTo>
                  <a:cubicBezTo>
                    <a:pt x="450" y="719"/>
                    <a:pt x="452" y="723"/>
                    <a:pt x="450" y="724"/>
                  </a:cubicBezTo>
                  <a:close/>
                  <a:moveTo>
                    <a:pt x="463" y="721"/>
                  </a:moveTo>
                  <a:cubicBezTo>
                    <a:pt x="462" y="715"/>
                    <a:pt x="470" y="714"/>
                    <a:pt x="473" y="714"/>
                  </a:cubicBezTo>
                  <a:cubicBezTo>
                    <a:pt x="474" y="720"/>
                    <a:pt x="465" y="721"/>
                    <a:pt x="463" y="721"/>
                  </a:cubicBezTo>
                  <a:close/>
                  <a:moveTo>
                    <a:pt x="479" y="716"/>
                  </a:moveTo>
                  <a:cubicBezTo>
                    <a:pt x="477" y="713"/>
                    <a:pt x="480" y="713"/>
                    <a:pt x="482" y="711"/>
                  </a:cubicBezTo>
                  <a:cubicBezTo>
                    <a:pt x="485" y="715"/>
                    <a:pt x="480" y="715"/>
                    <a:pt x="479" y="716"/>
                  </a:cubicBezTo>
                  <a:close/>
                  <a:moveTo>
                    <a:pt x="524" y="704"/>
                  </a:moveTo>
                  <a:cubicBezTo>
                    <a:pt x="522" y="699"/>
                    <a:pt x="526" y="702"/>
                    <a:pt x="527" y="699"/>
                  </a:cubicBezTo>
                  <a:cubicBezTo>
                    <a:pt x="530" y="703"/>
                    <a:pt x="525" y="702"/>
                    <a:pt x="524" y="704"/>
                  </a:cubicBezTo>
                  <a:close/>
                  <a:moveTo>
                    <a:pt x="588" y="587"/>
                  </a:moveTo>
                  <a:cubicBezTo>
                    <a:pt x="585" y="589"/>
                    <a:pt x="586" y="590"/>
                    <a:pt x="582" y="591"/>
                  </a:cubicBezTo>
                  <a:cubicBezTo>
                    <a:pt x="583" y="589"/>
                    <a:pt x="585" y="581"/>
                    <a:pt x="588" y="587"/>
                  </a:cubicBezTo>
                  <a:close/>
                  <a:moveTo>
                    <a:pt x="582" y="583"/>
                  </a:moveTo>
                  <a:cubicBezTo>
                    <a:pt x="583" y="587"/>
                    <a:pt x="577" y="587"/>
                    <a:pt x="581" y="592"/>
                  </a:cubicBezTo>
                  <a:cubicBezTo>
                    <a:pt x="578" y="592"/>
                    <a:pt x="576" y="594"/>
                    <a:pt x="573" y="593"/>
                  </a:cubicBezTo>
                  <a:cubicBezTo>
                    <a:pt x="574" y="589"/>
                    <a:pt x="579" y="588"/>
                    <a:pt x="582" y="583"/>
                  </a:cubicBezTo>
                  <a:close/>
                  <a:moveTo>
                    <a:pt x="576" y="608"/>
                  </a:moveTo>
                  <a:cubicBezTo>
                    <a:pt x="576" y="613"/>
                    <a:pt x="573" y="612"/>
                    <a:pt x="570" y="615"/>
                  </a:cubicBezTo>
                  <a:cubicBezTo>
                    <a:pt x="567" y="609"/>
                    <a:pt x="573" y="611"/>
                    <a:pt x="576" y="608"/>
                  </a:cubicBezTo>
                  <a:close/>
                  <a:moveTo>
                    <a:pt x="546" y="642"/>
                  </a:moveTo>
                  <a:cubicBezTo>
                    <a:pt x="546" y="640"/>
                    <a:pt x="546" y="638"/>
                    <a:pt x="544" y="638"/>
                  </a:cubicBezTo>
                  <a:cubicBezTo>
                    <a:pt x="546" y="633"/>
                    <a:pt x="548" y="640"/>
                    <a:pt x="551" y="640"/>
                  </a:cubicBezTo>
                  <a:cubicBezTo>
                    <a:pt x="552" y="643"/>
                    <a:pt x="548" y="638"/>
                    <a:pt x="546" y="642"/>
                  </a:cubicBezTo>
                  <a:close/>
                  <a:moveTo>
                    <a:pt x="554" y="698"/>
                  </a:moveTo>
                  <a:cubicBezTo>
                    <a:pt x="553" y="696"/>
                    <a:pt x="554" y="695"/>
                    <a:pt x="552" y="693"/>
                  </a:cubicBezTo>
                  <a:cubicBezTo>
                    <a:pt x="551" y="695"/>
                    <a:pt x="553" y="701"/>
                    <a:pt x="548" y="700"/>
                  </a:cubicBezTo>
                  <a:cubicBezTo>
                    <a:pt x="551" y="696"/>
                    <a:pt x="545" y="694"/>
                    <a:pt x="550" y="694"/>
                  </a:cubicBezTo>
                  <a:cubicBezTo>
                    <a:pt x="547" y="691"/>
                    <a:pt x="544" y="694"/>
                    <a:pt x="541" y="690"/>
                  </a:cubicBezTo>
                  <a:cubicBezTo>
                    <a:pt x="540" y="688"/>
                    <a:pt x="544" y="688"/>
                    <a:pt x="545" y="687"/>
                  </a:cubicBezTo>
                  <a:cubicBezTo>
                    <a:pt x="547" y="690"/>
                    <a:pt x="548" y="689"/>
                    <a:pt x="550" y="692"/>
                  </a:cubicBezTo>
                  <a:cubicBezTo>
                    <a:pt x="550" y="689"/>
                    <a:pt x="550" y="686"/>
                    <a:pt x="552" y="684"/>
                  </a:cubicBezTo>
                  <a:cubicBezTo>
                    <a:pt x="556" y="690"/>
                    <a:pt x="551" y="691"/>
                    <a:pt x="557" y="694"/>
                  </a:cubicBezTo>
                  <a:cubicBezTo>
                    <a:pt x="557" y="696"/>
                    <a:pt x="556" y="697"/>
                    <a:pt x="554" y="698"/>
                  </a:cubicBezTo>
                  <a:close/>
                  <a:moveTo>
                    <a:pt x="559" y="689"/>
                  </a:moveTo>
                  <a:cubicBezTo>
                    <a:pt x="559" y="690"/>
                    <a:pt x="558" y="691"/>
                    <a:pt x="557" y="692"/>
                  </a:cubicBezTo>
                  <a:cubicBezTo>
                    <a:pt x="556" y="687"/>
                    <a:pt x="555" y="686"/>
                    <a:pt x="553" y="683"/>
                  </a:cubicBezTo>
                  <a:cubicBezTo>
                    <a:pt x="555" y="680"/>
                    <a:pt x="557" y="684"/>
                    <a:pt x="559" y="684"/>
                  </a:cubicBezTo>
                  <a:cubicBezTo>
                    <a:pt x="560" y="686"/>
                    <a:pt x="555" y="688"/>
                    <a:pt x="559" y="689"/>
                  </a:cubicBezTo>
                  <a:close/>
                  <a:moveTo>
                    <a:pt x="562" y="685"/>
                  </a:moveTo>
                  <a:cubicBezTo>
                    <a:pt x="560" y="682"/>
                    <a:pt x="564" y="683"/>
                    <a:pt x="561" y="679"/>
                  </a:cubicBezTo>
                  <a:cubicBezTo>
                    <a:pt x="563" y="679"/>
                    <a:pt x="564" y="685"/>
                    <a:pt x="566" y="681"/>
                  </a:cubicBezTo>
                  <a:cubicBezTo>
                    <a:pt x="562" y="680"/>
                    <a:pt x="565" y="677"/>
                    <a:pt x="568" y="680"/>
                  </a:cubicBezTo>
                  <a:cubicBezTo>
                    <a:pt x="569" y="685"/>
                    <a:pt x="565" y="686"/>
                    <a:pt x="562" y="685"/>
                  </a:cubicBezTo>
                  <a:close/>
                  <a:moveTo>
                    <a:pt x="568" y="691"/>
                  </a:moveTo>
                  <a:cubicBezTo>
                    <a:pt x="566" y="687"/>
                    <a:pt x="566" y="687"/>
                    <a:pt x="566" y="687"/>
                  </a:cubicBezTo>
                  <a:cubicBezTo>
                    <a:pt x="568" y="686"/>
                    <a:pt x="568" y="686"/>
                    <a:pt x="568" y="686"/>
                  </a:cubicBezTo>
                  <a:cubicBezTo>
                    <a:pt x="569" y="690"/>
                    <a:pt x="568" y="688"/>
                    <a:pt x="570" y="686"/>
                  </a:cubicBezTo>
                  <a:cubicBezTo>
                    <a:pt x="572" y="689"/>
                    <a:pt x="570" y="690"/>
                    <a:pt x="568" y="691"/>
                  </a:cubicBezTo>
                  <a:close/>
                  <a:moveTo>
                    <a:pt x="575" y="681"/>
                  </a:moveTo>
                  <a:cubicBezTo>
                    <a:pt x="572" y="678"/>
                    <a:pt x="577" y="678"/>
                    <a:pt x="576" y="675"/>
                  </a:cubicBezTo>
                  <a:cubicBezTo>
                    <a:pt x="579" y="674"/>
                    <a:pt x="578" y="677"/>
                    <a:pt x="581" y="678"/>
                  </a:cubicBezTo>
                  <a:cubicBezTo>
                    <a:pt x="581" y="676"/>
                    <a:pt x="584" y="675"/>
                    <a:pt x="586" y="673"/>
                  </a:cubicBezTo>
                  <a:cubicBezTo>
                    <a:pt x="586" y="682"/>
                    <a:pt x="580" y="680"/>
                    <a:pt x="575" y="681"/>
                  </a:cubicBezTo>
                  <a:close/>
                  <a:moveTo>
                    <a:pt x="574" y="673"/>
                  </a:moveTo>
                  <a:cubicBezTo>
                    <a:pt x="575" y="667"/>
                    <a:pt x="583" y="672"/>
                    <a:pt x="585" y="667"/>
                  </a:cubicBezTo>
                  <a:cubicBezTo>
                    <a:pt x="586" y="673"/>
                    <a:pt x="577" y="671"/>
                    <a:pt x="574" y="673"/>
                  </a:cubicBezTo>
                  <a:close/>
                  <a:moveTo>
                    <a:pt x="604" y="669"/>
                  </a:moveTo>
                  <a:cubicBezTo>
                    <a:pt x="606" y="673"/>
                    <a:pt x="600" y="670"/>
                    <a:pt x="602" y="676"/>
                  </a:cubicBezTo>
                  <a:cubicBezTo>
                    <a:pt x="601" y="676"/>
                    <a:pt x="594" y="670"/>
                    <a:pt x="597" y="676"/>
                  </a:cubicBezTo>
                  <a:cubicBezTo>
                    <a:pt x="595" y="676"/>
                    <a:pt x="594" y="675"/>
                    <a:pt x="593" y="675"/>
                  </a:cubicBezTo>
                  <a:cubicBezTo>
                    <a:pt x="591" y="671"/>
                    <a:pt x="596" y="669"/>
                    <a:pt x="597" y="665"/>
                  </a:cubicBezTo>
                  <a:cubicBezTo>
                    <a:pt x="598" y="670"/>
                    <a:pt x="602" y="667"/>
                    <a:pt x="607" y="665"/>
                  </a:cubicBezTo>
                  <a:cubicBezTo>
                    <a:pt x="607" y="666"/>
                    <a:pt x="608" y="667"/>
                    <a:pt x="609" y="669"/>
                  </a:cubicBezTo>
                  <a:cubicBezTo>
                    <a:pt x="607" y="671"/>
                    <a:pt x="605" y="668"/>
                    <a:pt x="604" y="669"/>
                  </a:cubicBezTo>
                  <a:close/>
                  <a:moveTo>
                    <a:pt x="597" y="635"/>
                  </a:moveTo>
                  <a:cubicBezTo>
                    <a:pt x="596" y="631"/>
                    <a:pt x="601" y="635"/>
                    <a:pt x="603" y="637"/>
                  </a:cubicBezTo>
                  <a:cubicBezTo>
                    <a:pt x="601" y="638"/>
                    <a:pt x="599" y="635"/>
                    <a:pt x="597" y="635"/>
                  </a:cubicBezTo>
                  <a:close/>
                  <a:moveTo>
                    <a:pt x="606" y="635"/>
                  </a:moveTo>
                  <a:cubicBezTo>
                    <a:pt x="606" y="632"/>
                    <a:pt x="604" y="633"/>
                    <a:pt x="603" y="630"/>
                  </a:cubicBezTo>
                  <a:cubicBezTo>
                    <a:pt x="605" y="628"/>
                    <a:pt x="607" y="631"/>
                    <a:pt x="609" y="634"/>
                  </a:cubicBezTo>
                  <a:lnTo>
                    <a:pt x="606" y="635"/>
                  </a:lnTo>
                  <a:close/>
                  <a:moveTo>
                    <a:pt x="611" y="626"/>
                  </a:moveTo>
                  <a:cubicBezTo>
                    <a:pt x="606" y="624"/>
                    <a:pt x="606" y="634"/>
                    <a:pt x="602" y="626"/>
                  </a:cubicBezTo>
                  <a:cubicBezTo>
                    <a:pt x="600" y="626"/>
                    <a:pt x="602" y="629"/>
                    <a:pt x="599" y="629"/>
                  </a:cubicBezTo>
                  <a:cubicBezTo>
                    <a:pt x="597" y="630"/>
                    <a:pt x="601" y="630"/>
                    <a:pt x="602" y="633"/>
                  </a:cubicBezTo>
                  <a:cubicBezTo>
                    <a:pt x="597" y="631"/>
                    <a:pt x="596" y="631"/>
                    <a:pt x="592" y="635"/>
                  </a:cubicBezTo>
                  <a:cubicBezTo>
                    <a:pt x="594" y="638"/>
                    <a:pt x="596" y="638"/>
                    <a:pt x="599" y="638"/>
                  </a:cubicBezTo>
                  <a:cubicBezTo>
                    <a:pt x="598" y="641"/>
                    <a:pt x="596" y="645"/>
                    <a:pt x="593" y="642"/>
                  </a:cubicBezTo>
                  <a:cubicBezTo>
                    <a:pt x="592" y="643"/>
                    <a:pt x="596" y="644"/>
                    <a:pt x="595" y="647"/>
                  </a:cubicBezTo>
                  <a:cubicBezTo>
                    <a:pt x="591" y="646"/>
                    <a:pt x="588" y="648"/>
                    <a:pt x="584" y="646"/>
                  </a:cubicBezTo>
                  <a:cubicBezTo>
                    <a:pt x="582" y="649"/>
                    <a:pt x="587" y="647"/>
                    <a:pt x="588" y="651"/>
                  </a:cubicBezTo>
                  <a:cubicBezTo>
                    <a:pt x="589" y="653"/>
                    <a:pt x="584" y="646"/>
                    <a:pt x="582" y="650"/>
                  </a:cubicBezTo>
                  <a:cubicBezTo>
                    <a:pt x="581" y="649"/>
                    <a:pt x="582" y="648"/>
                    <a:pt x="581" y="646"/>
                  </a:cubicBezTo>
                  <a:cubicBezTo>
                    <a:pt x="579" y="643"/>
                    <a:pt x="582" y="653"/>
                    <a:pt x="578" y="650"/>
                  </a:cubicBezTo>
                  <a:cubicBezTo>
                    <a:pt x="576" y="644"/>
                    <a:pt x="578" y="641"/>
                    <a:pt x="580" y="639"/>
                  </a:cubicBezTo>
                  <a:cubicBezTo>
                    <a:pt x="577" y="638"/>
                    <a:pt x="577" y="642"/>
                    <a:pt x="572" y="642"/>
                  </a:cubicBezTo>
                  <a:cubicBezTo>
                    <a:pt x="575" y="645"/>
                    <a:pt x="578" y="647"/>
                    <a:pt x="574" y="646"/>
                  </a:cubicBezTo>
                  <a:cubicBezTo>
                    <a:pt x="575" y="649"/>
                    <a:pt x="577" y="652"/>
                    <a:pt x="578" y="651"/>
                  </a:cubicBezTo>
                  <a:cubicBezTo>
                    <a:pt x="574" y="651"/>
                    <a:pt x="574" y="659"/>
                    <a:pt x="568" y="657"/>
                  </a:cubicBezTo>
                  <a:cubicBezTo>
                    <a:pt x="567" y="652"/>
                    <a:pt x="575" y="655"/>
                    <a:pt x="573" y="649"/>
                  </a:cubicBezTo>
                  <a:cubicBezTo>
                    <a:pt x="571" y="647"/>
                    <a:pt x="570" y="651"/>
                    <a:pt x="570" y="653"/>
                  </a:cubicBezTo>
                  <a:cubicBezTo>
                    <a:pt x="570" y="653"/>
                    <a:pt x="570" y="653"/>
                    <a:pt x="569" y="652"/>
                  </a:cubicBezTo>
                  <a:cubicBezTo>
                    <a:pt x="569" y="651"/>
                    <a:pt x="568" y="651"/>
                    <a:pt x="568" y="651"/>
                  </a:cubicBezTo>
                  <a:cubicBezTo>
                    <a:pt x="568" y="649"/>
                    <a:pt x="570" y="647"/>
                    <a:pt x="572" y="646"/>
                  </a:cubicBezTo>
                  <a:cubicBezTo>
                    <a:pt x="570" y="643"/>
                    <a:pt x="568" y="643"/>
                    <a:pt x="567" y="641"/>
                  </a:cubicBezTo>
                  <a:cubicBezTo>
                    <a:pt x="569" y="647"/>
                    <a:pt x="566" y="650"/>
                    <a:pt x="563" y="653"/>
                  </a:cubicBezTo>
                  <a:cubicBezTo>
                    <a:pt x="564" y="656"/>
                    <a:pt x="566" y="649"/>
                    <a:pt x="568" y="654"/>
                  </a:cubicBezTo>
                  <a:cubicBezTo>
                    <a:pt x="566" y="657"/>
                    <a:pt x="565" y="654"/>
                    <a:pt x="563" y="655"/>
                  </a:cubicBezTo>
                  <a:cubicBezTo>
                    <a:pt x="565" y="657"/>
                    <a:pt x="567" y="655"/>
                    <a:pt x="568" y="659"/>
                  </a:cubicBezTo>
                  <a:cubicBezTo>
                    <a:pt x="567" y="661"/>
                    <a:pt x="565" y="658"/>
                    <a:pt x="564" y="660"/>
                  </a:cubicBezTo>
                  <a:cubicBezTo>
                    <a:pt x="563" y="657"/>
                    <a:pt x="563" y="654"/>
                    <a:pt x="561" y="653"/>
                  </a:cubicBezTo>
                  <a:cubicBezTo>
                    <a:pt x="559" y="654"/>
                    <a:pt x="561" y="657"/>
                    <a:pt x="563" y="660"/>
                  </a:cubicBezTo>
                  <a:cubicBezTo>
                    <a:pt x="560" y="661"/>
                    <a:pt x="562" y="663"/>
                    <a:pt x="559" y="664"/>
                  </a:cubicBezTo>
                  <a:cubicBezTo>
                    <a:pt x="558" y="662"/>
                    <a:pt x="559" y="660"/>
                    <a:pt x="557" y="661"/>
                  </a:cubicBezTo>
                  <a:cubicBezTo>
                    <a:pt x="556" y="658"/>
                    <a:pt x="560" y="659"/>
                    <a:pt x="560" y="659"/>
                  </a:cubicBezTo>
                  <a:cubicBezTo>
                    <a:pt x="558" y="657"/>
                    <a:pt x="559" y="657"/>
                    <a:pt x="556" y="653"/>
                  </a:cubicBezTo>
                  <a:cubicBezTo>
                    <a:pt x="560" y="653"/>
                    <a:pt x="559" y="646"/>
                    <a:pt x="557" y="641"/>
                  </a:cubicBezTo>
                  <a:cubicBezTo>
                    <a:pt x="559" y="643"/>
                    <a:pt x="561" y="644"/>
                    <a:pt x="563" y="647"/>
                  </a:cubicBezTo>
                  <a:cubicBezTo>
                    <a:pt x="568" y="646"/>
                    <a:pt x="563" y="639"/>
                    <a:pt x="568" y="639"/>
                  </a:cubicBezTo>
                  <a:cubicBezTo>
                    <a:pt x="567" y="638"/>
                    <a:pt x="565" y="634"/>
                    <a:pt x="563" y="636"/>
                  </a:cubicBezTo>
                  <a:cubicBezTo>
                    <a:pt x="563" y="630"/>
                    <a:pt x="572" y="643"/>
                    <a:pt x="573" y="636"/>
                  </a:cubicBezTo>
                  <a:cubicBezTo>
                    <a:pt x="568" y="633"/>
                    <a:pt x="558" y="628"/>
                    <a:pt x="558" y="639"/>
                  </a:cubicBezTo>
                  <a:cubicBezTo>
                    <a:pt x="555" y="638"/>
                    <a:pt x="552" y="637"/>
                    <a:pt x="550" y="634"/>
                  </a:cubicBezTo>
                  <a:cubicBezTo>
                    <a:pt x="557" y="635"/>
                    <a:pt x="561" y="626"/>
                    <a:pt x="557" y="620"/>
                  </a:cubicBezTo>
                  <a:cubicBezTo>
                    <a:pt x="561" y="622"/>
                    <a:pt x="564" y="623"/>
                    <a:pt x="568" y="622"/>
                  </a:cubicBezTo>
                  <a:cubicBezTo>
                    <a:pt x="564" y="618"/>
                    <a:pt x="559" y="619"/>
                    <a:pt x="555" y="618"/>
                  </a:cubicBezTo>
                  <a:cubicBezTo>
                    <a:pt x="554" y="615"/>
                    <a:pt x="558" y="615"/>
                    <a:pt x="557" y="618"/>
                  </a:cubicBezTo>
                  <a:cubicBezTo>
                    <a:pt x="560" y="617"/>
                    <a:pt x="559" y="613"/>
                    <a:pt x="562" y="617"/>
                  </a:cubicBezTo>
                  <a:cubicBezTo>
                    <a:pt x="563" y="616"/>
                    <a:pt x="562" y="614"/>
                    <a:pt x="561" y="613"/>
                  </a:cubicBezTo>
                  <a:cubicBezTo>
                    <a:pt x="564" y="612"/>
                    <a:pt x="564" y="612"/>
                    <a:pt x="566" y="610"/>
                  </a:cubicBezTo>
                  <a:cubicBezTo>
                    <a:pt x="568" y="614"/>
                    <a:pt x="568" y="617"/>
                    <a:pt x="567" y="620"/>
                  </a:cubicBezTo>
                  <a:cubicBezTo>
                    <a:pt x="570" y="619"/>
                    <a:pt x="573" y="618"/>
                    <a:pt x="577" y="620"/>
                  </a:cubicBezTo>
                  <a:cubicBezTo>
                    <a:pt x="578" y="617"/>
                    <a:pt x="574" y="617"/>
                    <a:pt x="575" y="615"/>
                  </a:cubicBezTo>
                  <a:cubicBezTo>
                    <a:pt x="577" y="613"/>
                    <a:pt x="579" y="615"/>
                    <a:pt x="581" y="615"/>
                  </a:cubicBezTo>
                  <a:cubicBezTo>
                    <a:pt x="580" y="619"/>
                    <a:pt x="579" y="625"/>
                    <a:pt x="575" y="621"/>
                  </a:cubicBezTo>
                  <a:cubicBezTo>
                    <a:pt x="573" y="622"/>
                    <a:pt x="575" y="627"/>
                    <a:pt x="571" y="623"/>
                  </a:cubicBezTo>
                  <a:cubicBezTo>
                    <a:pt x="574" y="629"/>
                    <a:pt x="565" y="629"/>
                    <a:pt x="571" y="634"/>
                  </a:cubicBezTo>
                  <a:cubicBezTo>
                    <a:pt x="573" y="633"/>
                    <a:pt x="567" y="632"/>
                    <a:pt x="571" y="631"/>
                  </a:cubicBezTo>
                  <a:cubicBezTo>
                    <a:pt x="572" y="635"/>
                    <a:pt x="574" y="634"/>
                    <a:pt x="576" y="636"/>
                  </a:cubicBezTo>
                  <a:cubicBezTo>
                    <a:pt x="579" y="632"/>
                    <a:pt x="585" y="630"/>
                    <a:pt x="590" y="632"/>
                  </a:cubicBezTo>
                  <a:cubicBezTo>
                    <a:pt x="591" y="631"/>
                    <a:pt x="589" y="629"/>
                    <a:pt x="589" y="628"/>
                  </a:cubicBezTo>
                  <a:cubicBezTo>
                    <a:pt x="598" y="626"/>
                    <a:pt x="601" y="620"/>
                    <a:pt x="610" y="624"/>
                  </a:cubicBezTo>
                  <a:cubicBezTo>
                    <a:pt x="614" y="629"/>
                    <a:pt x="610" y="629"/>
                    <a:pt x="610" y="633"/>
                  </a:cubicBezTo>
                  <a:cubicBezTo>
                    <a:pt x="606" y="632"/>
                    <a:pt x="610" y="628"/>
                    <a:pt x="611" y="626"/>
                  </a:cubicBezTo>
                  <a:close/>
                  <a:moveTo>
                    <a:pt x="578" y="628"/>
                  </a:moveTo>
                  <a:cubicBezTo>
                    <a:pt x="575" y="625"/>
                    <a:pt x="580" y="625"/>
                    <a:pt x="581" y="623"/>
                  </a:cubicBezTo>
                  <a:cubicBezTo>
                    <a:pt x="583" y="626"/>
                    <a:pt x="580" y="627"/>
                    <a:pt x="578" y="628"/>
                  </a:cubicBezTo>
                  <a:close/>
                  <a:moveTo>
                    <a:pt x="572" y="631"/>
                  </a:moveTo>
                  <a:cubicBezTo>
                    <a:pt x="574" y="629"/>
                    <a:pt x="574" y="629"/>
                    <a:pt x="574" y="629"/>
                  </a:cubicBezTo>
                  <a:cubicBezTo>
                    <a:pt x="578" y="633"/>
                    <a:pt x="574" y="635"/>
                    <a:pt x="572" y="631"/>
                  </a:cubicBezTo>
                  <a:close/>
                  <a:moveTo>
                    <a:pt x="612" y="660"/>
                  </a:moveTo>
                  <a:cubicBezTo>
                    <a:pt x="616" y="661"/>
                    <a:pt x="614" y="670"/>
                    <a:pt x="611" y="663"/>
                  </a:cubicBezTo>
                  <a:cubicBezTo>
                    <a:pt x="612" y="662"/>
                    <a:pt x="613" y="662"/>
                    <a:pt x="612" y="660"/>
                  </a:cubicBezTo>
                  <a:close/>
                  <a:moveTo>
                    <a:pt x="610" y="674"/>
                  </a:moveTo>
                  <a:cubicBezTo>
                    <a:pt x="608" y="670"/>
                    <a:pt x="612" y="669"/>
                    <a:pt x="611" y="666"/>
                  </a:cubicBezTo>
                  <a:cubicBezTo>
                    <a:pt x="613" y="667"/>
                    <a:pt x="612" y="669"/>
                    <a:pt x="615" y="671"/>
                  </a:cubicBezTo>
                  <a:cubicBezTo>
                    <a:pt x="612" y="669"/>
                    <a:pt x="613" y="673"/>
                    <a:pt x="610" y="674"/>
                  </a:cubicBezTo>
                  <a:close/>
                  <a:moveTo>
                    <a:pt x="615" y="628"/>
                  </a:moveTo>
                  <a:cubicBezTo>
                    <a:pt x="613" y="625"/>
                    <a:pt x="612" y="624"/>
                    <a:pt x="611" y="620"/>
                  </a:cubicBezTo>
                  <a:cubicBezTo>
                    <a:pt x="613" y="618"/>
                    <a:pt x="615" y="621"/>
                    <a:pt x="617" y="618"/>
                  </a:cubicBezTo>
                  <a:cubicBezTo>
                    <a:pt x="619" y="621"/>
                    <a:pt x="618" y="623"/>
                    <a:pt x="619" y="626"/>
                  </a:cubicBezTo>
                  <a:lnTo>
                    <a:pt x="615" y="628"/>
                  </a:lnTo>
                  <a:close/>
                  <a:moveTo>
                    <a:pt x="622" y="618"/>
                  </a:moveTo>
                  <a:cubicBezTo>
                    <a:pt x="621" y="618"/>
                    <a:pt x="620" y="616"/>
                    <a:pt x="619" y="615"/>
                  </a:cubicBezTo>
                  <a:cubicBezTo>
                    <a:pt x="620" y="614"/>
                    <a:pt x="622" y="614"/>
                    <a:pt x="623" y="614"/>
                  </a:cubicBezTo>
                  <a:cubicBezTo>
                    <a:pt x="625" y="618"/>
                    <a:pt x="620" y="616"/>
                    <a:pt x="622" y="618"/>
                  </a:cubicBezTo>
                  <a:close/>
                  <a:moveTo>
                    <a:pt x="642" y="653"/>
                  </a:moveTo>
                  <a:cubicBezTo>
                    <a:pt x="639" y="651"/>
                    <a:pt x="642" y="648"/>
                    <a:pt x="643" y="650"/>
                  </a:cubicBezTo>
                  <a:cubicBezTo>
                    <a:pt x="645" y="648"/>
                    <a:pt x="640" y="648"/>
                    <a:pt x="641" y="645"/>
                  </a:cubicBezTo>
                  <a:cubicBezTo>
                    <a:pt x="643" y="645"/>
                    <a:pt x="645" y="647"/>
                    <a:pt x="647" y="649"/>
                  </a:cubicBezTo>
                  <a:lnTo>
                    <a:pt x="642" y="653"/>
                  </a:lnTo>
                  <a:close/>
                  <a:moveTo>
                    <a:pt x="648" y="650"/>
                  </a:moveTo>
                  <a:cubicBezTo>
                    <a:pt x="647" y="648"/>
                    <a:pt x="646" y="641"/>
                    <a:pt x="646" y="644"/>
                  </a:cubicBezTo>
                  <a:cubicBezTo>
                    <a:pt x="643" y="644"/>
                    <a:pt x="645" y="640"/>
                    <a:pt x="647" y="642"/>
                  </a:cubicBezTo>
                  <a:cubicBezTo>
                    <a:pt x="649" y="644"/>
                    <a:pt x="649" y="646"/>
                    <a:pt x="648" y="647"/>
                  </a:cubicBezTo>
                  <a:cubicBezTo>
                    <a:pt x="650" y="648"/>
                    <a:pt x="652" y="648"/>
                    <a:pt x="652" y="646"/>
                  </a:cubicBezTo>
                  <a:cubicBezTo>
                    <a:pt x="651" y="645"/>
                    <a:pt x="650" y="643"/>
                    <a:pt x="649" y="643"/>
                  </a:cubicBezTo>
                  <a:cubicBezTo>
                    <a:pt x="648" y="640"/>
                    <a:pt x="657" y="642"/>
                    <a:pt x="653" y="644"/>
                  </a:cubicBezTo>
                  <a:cubicBezTo>
                    <a:pt x="655" y="646"/>
                    <a:pt x="657" y="641"/>
                    <a:pt x="654" y="639"/>
                  </a:cubicBezTo>
                  <a:cubicBezTo>
                    <a:pt x="655" y="639"/>
                    <a:pt x="656" y="639"/>
                    <a:pt x="657" y="638"/>
                  </a:cubicBezTo>
                  <a:cubicBezTo>
                    <a:pt x="661" y="645"/>
                    <a:pt x="657" y="641"/>
                    <a:pt x="661" y="648"/>
                  </a:cubicBezTo>
                  <a:cubicBezTo>
                    <a:pt x="658" y="651"/>
                    <a:pt x="653" y="650"/>
                    <a:pt x="648" y="650"/>
                  </a:cubicBezTo>
                  <a:close/>
                  <a:moveTo>
                    <a:pt x="662" y="655"/>
                  </a:moveTo>
                  <a:cubicBezTo>
                    <a:pt x="661" y="653"/>
                    <a:pt x="662" y="653"/>
                    <a:pt x="661" y="651"/>
                  </a:cubicBezTo>
                  <a:cubicBezTo>
                    <a:pt x="662" y="649"/>
                    <a:pt x="664" y="653"/>
                    <a:pt x="665" y="652"/>
                  </a:cubicBezTo>
                  <a:cubicBezTo>
                    <a:pt x="667" y="654"/>
                    <a:pt x="663" y="654"/>
                    <a:pt x="662" y="655"/>
                  </a:cubicBezTo>
                  <a:close/>
                  <a:moveTo>
                    <a:pt x="676" y="637"/>
                  </a:moveTo>
                  <a:cubicBezTo>
                    <a:pt x="675" y="636"/>
                    <a:pt x="680" y="636"/>
                    <a:pt x="681" y="639"/>
                  </a:cubicBezTo>
                  <a:cubicBezTo>
                    <a:pt x="679" y="641"/>
                    <a:pt x="677" y="638"/>
                    <a:pt x="676" y="637"/>
                  </a:cubicBezTo>
                  <a:close/>
                  <a:moveTo>
                    <a:pt x="690" y="648"/>
                  </a:moveTo>
                  <a:cubicBezTo>
                    <a:pt x="693" y="649"/>
                    <a:pt x="695" y="647"/>
                    <a:pt x="698" y="651"/>
                  </a:cubicBezTo>
                  <a:cubicBezTo>
                    <a:pt x="695" y="653"/>
                    <a:pt x="692" y="652"/>
                    <a:pt x="690" y="648"/>
                  </a:cubicBezTo>
                  <a:close/>
                  <a:moveTo>
                    <a:pt x="700" y="651"/>
                  </a:moveTo>
                  <a:cubicBezTo>
                    <a:pt x="698" y="650"/>
                    <a:pt x="699" y="649"/>
                    <a:pt x="697" y="645"/>
                  </a:cubicBezTo>
                  <a:cubicBezTo>
                    <a:pt x="699" y="645"/>
                    <a:pt x="700" y="648"/>
                    <a:pt x="702" y="645"/>
                  </a:cubicBezTo>
                  <a:cubicBezTo>
                    <a:pt x="702" y="647"/>
                    <a:pt x="702" y="650"/>
                    <a:pt x="700" y="651"/>
                  </a:cubicBezTo>
                  <a:close/>
                  <a:moveTo>
                    <a:pt x="701" y="621"/>
                  </a:moveTo>
                  <a:cubicBezTo>
                    <a:pt x="698" y="616"/>
                    <a:pt x="706" y="620"/>
                    <a:pt x="707" y="625"/>
                  </a:cubicBezTo>
                  <a:cubicBezTo>
                    <a:pt x="705" y="625"/>
                    <a:pt x="703" y="618"/>
                    <a:pt x="701" y="621"/>
                  </a:cubicBezTo>
                  <a:close/>
                  <a:moveTo>
                    <a:pt x="719" y="642"/>
                  </a:moveTo>
                  <a:cubicBezTo>
                    <a:pt x="717" y="641"/>
                    <a:pt x="714" y="642"/>
                    <a:pt x="712" y="639"/>
                  </a:cubicBezTo>
                  <a:cubicBezTo>
                    <a:pt x="716" y="640"/>
                    <a:pt x="716" y="637"/>
                    <a:pt x="719" y="637"/>
                  </a:cubicBezTo>
                  <a:cubicBezTo>
                    <a:pt x="721" y="640"/>
                    <a:pt x="715" y="639"/>
                    <a:pt x="719" y="642"/>
                  </a:cubicBezTo>
                  <a:close/>
                  <a:moveTo>
                    <a:pt x="726" y="650"/>
                  </a:moveTo>
                  <a:cubicBezTo>
                    <a:pt x="726" y="648"/>
                    <a:pt x="726" y="646"/>
                    <a:pt x="724" y="644"/>
                  </a:cubicBezTo>
                  <a:cubicBezTo>
                    <a:pt x="728" y="642"/>
                    <a:pt x="732" y="650"/>
                    <a:pt x="726" y="650"/>
                  </a:cubicBezTo>
                  <a:close/>
                  <a:moveTo>
                    <a:pt x="738" y="658"/>
                  </a:moveTo>
                  <a:cubicBezTo>
                    <a:pt x="739" y="660"/>
                    <a:pt x="735" y="660"/>
                    <a:pt x="734" y="660"/>
                  </a:cubicBezTo>
                  <a:cubicBezTo>
                    <a:pt x="733" y="656"/>
                    <a:pt x="736" y="657"/>
                    <a:pt x="738" y="658"/>
                  </a:cubicBezTo>
                  <a:close/>
                  <a:moveTo>
                    <a:pt x="732" y="669"/>
                  </a:moveTo>
                  <a:cubicBezTo>
                    <a:pt x="735" y="665"/>
                    <a:pt x="737" y="673"/>
                    <a:pt x="739" y="671"/>
                  </a:cubicBezTo>
                  <a:cubicBezTo>
                    <a:pt x="740" y="674"/>
                    <a:pt x="734" y="674"/>
                    <a:pt x="732" y="669"/>
                  </a:cubicBezTo>
                  <a:close/>
                  <a:moveTo>
                    <a:pt x="739" y="649"/>
                  </a:moveTo>
                  <a:cubicBezTo>
                    <a:pt x="736" y="648"/>
                    <a:pt x="738" y="647"/>
                    <a:pt x="736" y="644"/>
                  </a:cubicBezTo>
                  <a:cubicBezTo>
                    <a:pt x="738" y="641"/>
                    <a:pt x="739" y="646"/>
                    <a:pt x="741" y="645"/>
                  </a:cubicBezTo>
                  <a:cubicBezTo>
                    <a:pt x="742" y="647"/>
                    <a:pt x="740" y="648"/>
                    <a:pt x="739" y="649"/>
                  </a:cubicBezTo>
                  <a:close/>
                  <a:moveTo>
                    <a:pt x="744" y="643"/>
                  </a:moveTo>
                  <a:cubicBezTo>
                    <a:pt x="742" y="640"/>
                    <a:pt x="746" y="639"/>
                    <a:pt x="748" y="638"/>
                  </a:cubicBezTo>
                  <a:cubicBezTo>
                    <a:pt x="749" y="643"/>
                    <a:pt x="745" y="643"/>
                    <a:pt x="744" y="643"/>
                  </a:cubicBezTo>
                  <a:close/>
                  <a:moveTo>
                    <a:pt x="664" y="691"/>
                  </a:moveTo>
                  <a:cubicBezTo>
                    <a:pt x="661" y="686"/>
                    <a:pt x="667" y="680"/>
                    <a:pt x="670" y="687"/>
                  </a:cubicBezTo>
                  <a:cubicBezTo>
                    <a:pt x="665" y="687"/>
                    <a:pt x="667" y="687"/>
                    <a:pt x="664" y="691"/>
                  </a:cubicBezTo>
                  <a:close/>
                  <a:moveTo>
                    <a:pt x="266" y="961"/>
                  </a:moveTo>
                  <a:cubicBezTo>
                    <a:pt x="266" y="961"/>
                    <a:pt x="266" y="960"/>
                    <a:pt x="267" y="960"/>
                  </a:cubicBezTo>
                  <a:cubicBezTo>
                    <a:pt x="267" y="961"/>
                    <a:pt x="267" y="961"/>
                    <a:pt x="267" y="961"/>
                  </a:cubicBezTo>
                  <a:cubicBezTo>
                    <a:pt x="267" y="961"/>
                    <a:pt x="266" y="961"/>
                    <a:pt x="266" y="961"/>
                  </a:cubicBezTo>
                  <a:close/>
                  <a:moveTo>
                    <a:pt x="213" y="1076"/>
                  </a:moveTo>
                  <a:cubicBezTo>
                    <a:pt x="210" y="1074"/>
                    <a:pt x="213" y="1073"/>
                    <a:pt x="211" y="1070"/>
                  </a:cubicBezTo>
                  <a:cubicBezTo>
                    <a:pt x="213" y="1071"/>
                    <a:pt x="216" y="1071"/>
                    <a:pt x="218" y="1075"/>
                  </a:cubicBezTo>
                  <a:cubicBezTo>
                    <a:pt x="216" y="1076"/>
                    <a:pt x="215" y="1075"/>
                    <a:pt x="213" y="1076"/>
                  </a:cubicBezTo>
                  <a:close/>
                  <a:moveTo>
                    <a:pt x="237" y="1077"/>
                  </a:moveTo>
                  <a:cubicBezTo>
                    <a:pt x="233" y="1080"/>
                    <a:pt x="231" y="1078"/>
                    <a:pt x="228" y="1078"/>
                  </a:cubicBezTo>
                  <a:cubicBezTo>
                    <a:pt x="221" y="1069"/>
                    <a:pt x="221" y="1069"/>
                    <a:pt x="218" y="1059"/>
                  </a:cubicBezTo>
                  <a:cubicBezTo>
                    <a:pt x="221" y="1056"/>
                    <a:pt x="227" y="1055"/>
                    <a:pt x="223" y="1050"/>
                  </a:cubicBezTo>
                  <a:cubicBezTo>
                    <a:pt x="225" y="1051"/>
                    <a:pt x="228" y="1049"/>
                    <a:pt x="230" y="1050"/>
                  </a:cubicBezTo>
                  <a:cubicBezTo>
                    <a:pt x="234" y="1054"/>
                    <a:pt x="229" y="1056"/>
                    <a:pt x="228" y="1060"/>
                  </a:cubicBezTo>
                  <a:cubicBezTo>
                    <a:pt x="233" y="1069"/>
                    <a:pt x="238" y="1069"/>
                    <a:pt x="237" y="1077"/>
                  </a:cubicBezTo>
                  <a:close/>
                  <a:moveTo>
                    <a:pt x="254" y="1006"/>
                  </a:moveTo>
                  <a:cubicBezTo>
                    <a:pt x="255" y="1003"/>
                    <a:pt x="263" y="994"/>
                    <a:pt x="267" y="1000"/>
                  </a:cubicBezTo>
                  <a:cubicBezTo>
                    <a:pt x="261" y="1001"/>
                    <a:pt x="258" y="1011"/>
                    <a:pt x="254" y="1006"/>
                  </a:cubicBezTo>
                  <a:close/>
                  <a:moveTo>
                    <a:pt x="306" y="1194"/>
                  </a:moveTo>
                  <a:cubicBezTo>
                    <a:pt x="306" y="1193"/>
                    <a:pt x="304" y="1190"/>
                    <a:pt x="307" y="1190"/>
                  </a:cubicBezTo>
                  <a:cubicBezTo>
                    <a:pt x="307" y="1191"/>
                    <a:pt x="307" y="1193"/>
                    <a:pt x="308" y="1193"/>
                  </a:cubicBezTo>
                  <a:cubicBezTo>
                    <a:pt x="307" y="1194"/>
                    <a:pt x="306" y="1194"/>
                    <a:pt x="306" y="1194"/>
                  </a:cubicBezTo>
                  <a:close/>
                  <a:moveTo>
                    <a:pt x="309" y="1193"/>
                  </a:moveTo>
                  <a:cubicBezTo>
                    <a:pt x="310" y="1190"/>
                    <a:pt x="313" y="1189"/>
                    <a:pt x="316" y="1188"/>
                  </a:cubicBezTo>
                  <a:cubicBezTo>
                    <a:pt x="316" y="1188"/>
                    <a:pt x="316" y="1188"/>
                    <a:pt x="316" y="1188"/>
                  </a:cubicBezTo>
                  <a:cubicBezTo>
                    <a:pt x="314" y="1191"/>
                    <a:pt x="312" y="1192"/>
                    <a:pt x="309" y="1193"/>
                  </a:cubicBezTo>
                  <a:close/>
                  <a:moveTo>
                    <a:pt x="331" y="986"/>
                  </a:moveTo>
                  <a:cubicBezTo>
                    <a:pt x="324" y="991"/>
                    <a:pt x="313" y="980"/>
                    <a:pt x="317" y="971"/>
                  </a:cubicBezTo>
                  <a:cubicBezTo>
                    <a:pt x="323" y="972"/>
                    <a:pt x="330" y="969"/>
                    <a:pt x="334" y="976"/>
                  </a:cubicBezTo>
                  <a:cubicBezTo>
                    <a:pt x="332" y="980"/>
                    <a:pt x="327" y="983"/>
                    <a:pt x="331" y="986"/>
                  </a:cubicBezTo>
                  <a:close/>
                  <a:moveTo>
                    <a:pt x="384" y="852"/>
                  </a:moveTo>
                  <a:cubicBezTo>
                    <a:pt x="384" y="852"/>
                    <a:pt x="385" y="852"/>
                    <a:pt x="385" y="852"/>
                  </a:cubicBezTo>
                  <a:cubicBezTo>
                    <a:pt x="385" y="852"/>
                    <a:pt x="384" y="852"/>
                    <a:pt x="384" y="852"/>
                  </a:cubicBezTo>
                  <a:cubicBezTo>
                    <a:pt x="384" y="852"/>
                    <a:pt x="384" y="852"/>
                    <a:pt x="384" y="852"/>
                  </a:cubicBezTo>
                  <a:close/>
                  <a:moveTo>
                    <a:pt x="396" y="862"/>
                  </a:moveTo>
                  <a:cubicBezTo>
                    <a:pt x="391" y="866"/>
                    <a:pt x="383" y="866"/>
                    <a:pt x="380" y="874"/>
                  </a:cubicBezTo>
                  <a:cubicBezTo>
                    <a:pt x="376" y="876"/>
                    <a:pt x="375" y="869"/>
                    <a:pt x="371" y="873"/>
                  </a:cubicBezTo>
                  <a:cubicBezTo>
                    <a:pt x="369" y="871"/>
                    <a:pt x="372" y="867"/>
                    <a:pt x="368" y="868"/>
                  </a:cubicBezTo>
                  <a:cubicBezTo>
                    <a:pt x="372" y="862"/>
                    <a:pt x="376" y="860"/>
                    <a:pt x="382" y="857"/>
                  </a:cubicBezTo>
                  <a:cubicBezTo>
                    <a:pt x="382" y="857"/>
                    <a:pt x="383" y="857"/>
                    <a:pt x="384" y="858"/>
                  </a:cubicBezTo>
                  <a:cubicBezTo>
                    <a:pt x="384" y="858"/>
                    <a:pt x="384" y="858"/>
                    <a:pt x="384" y="858"/>
                  </a:cubicBezTo>
                  <a:cubicBezTo>
                    <a:pt x="384" y="858"/>
                    <a:pt x="384" y="858"/>
                    <a:pt x="384" y="858"/>
                  </a:cubicBezTo>
                  <a:cubicBezTo>
                    <a:pt x="385" y="859"/>
                    <a:pt x="385" y="861"/>
                    <a:pt x="385" y="862"/>
                  </a:cubicBezTo>
                  <a:cubicBezTo>
                    <a:pt x="389" y="862"/>
                    <a:pt x="393" y="860"/>
                    <a:pt x="396" y="861"/>
                  </a:cubicBezTo>
                  <a:cubicBezTo>
                    <a:pt x="396" y="861"/>
                    <a:pt x="396" y="861"/>
                    <a:pt x="396" y="862"/>
                  </a:cubicBezTo>
                  <a:cubicBezTo>
                    <a:pt x="396" y="862"/>
                    <a:pt x="396" y="862"/>
                    <a:pt x="396" y="862"/>
                  </a:cubicBezTo>
                  <a:close/>
                  <a:moveTo>
                    <a:pt x="414" y="833"/>
                  </a:moveTo>
                  <a:cubicBezTo>
                    <a:pt x="414" y="833"/>
                    <a:pt x="414" y="832"/>
                    <a:pt x="414" y="832"/>
                  </a:cubicBezTo>
                  <a:cubicBezTo>
                    <a:pt x="415" y="832"/>
                    <a:pt x="416" y="831"/>
                    <a:pt x="417" y="833"/>
                  </a:cubicBezTo>
                  <a:cubicBezTo>
                    <a:pt x="416" y="833"/>
                    <a:pt x="415" y="833"/>
                    <a:pt x="414" y="833"/>
                  </a:cubicBezTo>
                  <a:close/>
                  <a:moveTo>
                    <a:pt x="354" y="1275"/>
                  </a:moveTo>
                  <a:cubicBezTo>
                    <a:pt x="354" y="1273"/>
                    <a:pt x="355" y="1271"/>
                    <a:pt x="357" y="1270"/>
                  </a:cubicBezTo>
                  <a:cubicBezTo>
                    <a:pt x="358" y="1272"/>
                    <a:pt x="359" y="1272"/>
                    <a:pt x="360" y="1271"/>
                  </a:cubicBezTo>
                  <a:cubicBezTo>
                    <a:pt x="361" y="1274"/>
                    <a:pt x="355" y="1275"/>
                    <a:pt x="354" y="1275"/>
                  </a:cubicBezTo>
                  <a:close/>
                  <a:moveTo>
                    <a:pt x="391" y="1442"/>
                  </a:moveTo>
                  <a:cubicBezTo>
                    <a:pt x="389" y="1444"/>
                    <a:pt x="389" y="1444"/>
                    <a:pt x="389" y="1444"/>
                  </a:cubicBezTo>
                  <a:cubicBezTo>
                    <a:pt x="387" y="1440"/>
                    <a:pt x="384" y="1440"/>
                    <a:pt x="388" y="1437"/>
                  </a:cubicBezTo>
                  <a:cubicBezTo>
                    <a:pt x="390" y="1441"/>
                    <a:pt x="392" y="1439"/>
                    <a:pt x="391" y="1442"/>
                  </a:cubicBezTo>
                  <a:close/>
                  <a:moveTo>
                    <a:pt x="420" y="833"/>
                  </a:moveTo>
                  <a:cubicBezTo>
                    <a:pt x="420" y="833"/>
                    <a:pt x="420" y="833"/>
                    <a:pt x="419" y="833"/>
                  </a:cubicBezTo>
                  <a:cubicBezTo>
                    <a:pt x="419" y="832"/>
                    <a:pt x="418" y="832"/>
                    <a:pt x="418" y="831"/>
                  </a:cubicBezTo>
                  <a:cubicBezTo>
                    <a:pt x="419" y="831"/>
                    <a:pt x="419" y="829"/>
                    <a:pt x="419" y="828"/>
                  </a:cubicBezTo>
                  <a:cubicBezTo>
                    <a:pt x="420" y="828"/>
                    <a:pt x="420" y="828"/>
                    <a:pt x="421" y="829"/>
                  </a:cubicBezTo>
                  <a:cubicBezTo>
                    <a:pt x="421" y="829"/>
                    <a:pt x="420" y="829"/>
                    <a:pt x="420" y="828"/>
                  </a:cubicBezTo>
                  <a:cubicBezTo>
                    <a:pt x="421" y="830"/>
                    <a:pt x="421" y="832"/>
                    <a:pt x="420" y="833"/>
                  </a:cubicBezTo>
                  <a:close/>
                  <a:moveTo>
                    <a:pt x="436" y="1438"/>
                  </a:moveTo>
                  <a:cubicBezTo>
                    <a:pt x="436" y="1434"/>
                    <a:pt x="440" y="1436"/>
                    <a:pt x="443" y="1435"/>
                  </a:cubicBezTo>
                  <a:cubicBezTo>
                    <a:pt x="446" y="1439"/>
                    <a:pt x="437" y="1442"/>
                    <a:pt x="436" y="1438"/>
                  </a:cubicBezTo>
                  <a:close/>
                  <a:moveTo>
                    <a:pt x="481" y="815"/>
                  </a:moveTo>
                  <a:cubicBezTo>
                    <a:pt x="481" y="815"/>
                    <a:pt x="481" y="815"/>
                    <a:pt x="480" y="814"/>
                  </a:cubicBezTo>
                  <a:cubicBezTo>
                    <a:pt x="481" y="815"/>
                    <a:pt x="481" y="815"/>
                    <a:pt x="481" y="815"/>
                  </a:cubicBezTo>
                  <a:cubicBezTo>
                    <a:pt x="481" y="815"/>
                    <a:pt x="481" y="815"/>
                    <a:pt x="481" y="815"/>
                  </a:cubicBezTo>
                  <a:close/>
                  <a:moveTo>
                    <a:pt x="481" y="806"/>
                  </a:moveTo>
                  <a:cubicBezTo>
                    <a:pt x="481" y="806"/>
                    <a:pt x="481" y="806"/>
                    <a:pt x="482" y="806"/>
                  </a:cubicBezTo>
                  <a:cubicBezTo>
                    <a:pt x="481" y="806"/>
                    <a:pt x="481" y="806"/>
                    <a:pt x="481" y="806"/>
                  </a:cubicBezTo>
                  <a:close/>
                  <a:moveTo>
                    <a:pt x="488" y="811"/>
                  </a:moveTo>
                  <a:cubicBezTo>
                    <a:pt x="487" y="811"/>
                    <a:pt x="487" y="811"/>
                    <a:pt x="486" y="809"/>
                  </a:cubicBezTo>
                  <a:cubicBezTo>
                    <a:pt x="486" y="810"/>
                    <a:pt x="485" y="811"/>
                    <a:pt x="484" y="812"/>
                  </a:cubicBezTo>
                  <a:cubicBezTo>
                    <a:pt x="483" y="810"/>
                    <a:pt x="483" y="810"/>
                    <a:pt x="483" y="808"/>
                  </a:cubicBezTo>
                  <a:cubicBezTo>
                    <a:pt x="482" y="808"/>
                    <a:pt x="482" y="808"/>
                    <a:pt x="482" y="808"/>
                  </a:cubicBezTo>
                  <a:cubicBezTo>
                    <a:pt x="483" y="807"/>
                    <a:pt x="484" y="807"/>
                    <a:pt x="485" y="807"/>
                  </a:cubicBezTo>
                  <a:cubicBezTo>
                    <a:pt x="485" y="808"/>
                    <a:pt x="486" y="808"/>
                    <a:pt x="486" y="809"/>
                  </a:cubicBezTo>
                  <a:cubicBezTo>
                    <a:pt x="489" y="806"/>
                    <a:pt x="492" y="805"/>
                    <a:pt x="495" y="805"/>
                  </a:cubicBezTo>
                  <a:cubicBezTo>
                    <a:pt x="495" y="805"/>
                    <a:pt x="496" y="805"/>
                    <a:pt x="496" y="806"/>
                  </a:cubicBezTo>
                  <a:cubicBezTo>
                    <a:pt x="493" y="808"/>
                    <a:pt x="491" y="810"/>
                    <a:pt x="488" y="811"/>
                  </a:cubicBezTo>
                  <a:close/>
                  <a:moveTo>
                    <a:pt x="500" y="806"/>
                  </a:moveTo>
                  <a:cubicBezTo>
                    <a:pt x="500" y="806"/>
                    <a:pt x="499" y="805"/>
                    <a:pt x="498" y="805"/>
                  </a:cubicBezTo>
                  <a:cubicBezTo>
                    <a:pt x="499" y="805"/>
                    <a:pt x="501" y="805"/>
                    <a:pt x="503" y="805"/>
                  </a:cubicBezTo>
                  <a:cubicBezTo>
                    <a:pt x="502" y="805"/>
                    <a:pt x="501" y="806"/>
                    <a:pt x="500" y="806"/>
                  </a:cubicBezTo>
                  <a:close/>
                  <a:moveTo>
                    <a:pt x="501" y="801"/>
                  </a:moveTo>
                  <a:cubicBezTo>
                    <a:pt x="500" y="797"/>
                    <a:pt x="506" y="796"/>
                    <a:pt x="507" y="793"/>
                  </a:cubicBezTo>
                  <a:cubicBezTo>
                    <a:pt x="511" y="800"/>
                    <a:pt x="505" y="798"/>
                    <a:pt x="501" y="801"/>
                  </a:cubicBezTo>
                  <a:close/>
                  <a:moveTo>
                    <a:pt x="518" y="788"/>
                  </a:moveTo>
                  <a:cubicBezTo>
                    <a:pt x="520" y="792"/>
                    <a:pt x="516" y="795"/>
                    <a:pt x="513" y="789"/>
                  </a:cubicBezTo>
                  <a:cubicBezTo>
                    <a:pt x="516" y="790"/>
                    <a:pt x="516" y="787"/>
                    <a:pt x="518" y="788"/>
                  </a:cubicBezTo>
                  <a:close/>
                  <a:moveTo>
                    <a:pt x="519" y="1376"/>
                  </a:moveTo>
                  <a:cubicBezTo>
                    <a:pt x="518" y="1374"/>
                    <a:pt x="516" y="1374"/>
                    <a:pt x="515" y="1372"/>
                  </a:cubicBezTo>
                  <a:cubicBezTo>
                    <a:pt x="518" y="1370"/>
                    <a:pt x="520" y="1369"/>
                    <a:pt x="522" y="1370"/>
                  </a:cubicBezTo>
                  <a:cubicBezTo>
                    <a:pt x="524" y="1373"/>
                    <a:pt x="522" y="1374"/>
                    <a:pt x="519" y="1376"/>
                  </a:cubicBezTo>
                  <a:close/>
                  <a:moveTo>
                    <a:pt x="527" y="798"/>
                  </a:moveTo>
                  <a:cubicBezTo>
                    <a:pt x="526" y="797"/>
                    <a:pt x="524" y="797"/>
                    <a:pt x="522" y="796"/>
                  </a:cubicBezTo>
                  <a:cubicBezTo>
                    <a:pt x="523" y="796"/>
                    <a:pt x="524" y="795"/>
                    <a:pt x="525" y="795"/>
                  </a:cubicBezTo>
                  <a:cubicBezTo>
                    <a:pt x="524" y="795"/>
                    <a:pt x="524" y="795"/>
                    <a:pt x="524" y="795"/>
                  </a:cubicBezTo>
                  <a:cubicBezTo>
                    <a:pt x="525" y="796"/>
                    <a:pt x="525" y="796"/>
                    <a:pt x="526" y="796"/>
                  </a:cubicBezTo>
                  <a:cubicBezTo>
                    <a:pt x="526" y="796"/>
                    <a:pt x="526" y="796"/>
                    <a:pt x="526" y="796"/>
                  </a:cubicBezTo>
                  <a:cubicBezTo>
                    <a:pt x="526" y="797"/>
                    <a:pt x="528" y="798"/>
                    <a:pt x="527" y="796"/>
                  </a:cubicBezTo>
                  <a:cubicBezTo>
                    <a:pt x="526" y="795"/>
                    <a:pt x="526" y="795"/>
                    <a:pt x="526" y="795"/>
                  </a:cubicBezTo>
                  <a:cubicBezTo>
                    <a:pt x="527" y="794"/>
                    <a:pt x="527" y="793"/>
                    <a:pt x="529" y="794"/>
                  </a:cubicBezTo>
                  <a:cubicBezTo>
                    <a:pt x="530" y="796"/>
                    <a:pt x="527" y="797"/>
                    <a:pt x="527" y="798"/>
                  </a:cubicBezTo>
                  <a:close/>
                  <a:moveTo>
                    <a:pt x="526" y="794"/>
                  </a:moveTo>
                  <a:cubicBezTo>
                    <a:pt x="524" y="792"/>
                    <a:pt x="524" y="792"/>
                    <a:pt x="524" y="792"/>
                  </a:cubicBezTo>
                  <a:cubicBezTo>
                    <a:pt x="524" y="794"/>
                    <a:pt x="521" y="793"/>
                    <a:pt x="521" y="796"/>
                  </a:cubicBezTo>
                  <a:cubicBezTo>
                    <a:pt x="521" y="795"/>
                    <a:pt x="520" y="794"/>
                    <a:pt x="520" y="793"/>
                  </a:cubicBezTo>
                  <a:cubicBezTo>
                    <a:pt x="518" y="796"/>
                    <a:pt x="517" y="797"/>
                    <a:pt x="514" y="799"/>
                  </a:cubicBezTo>
                  <a:cubicBezTo>
                    <a:pt x="510" y="792"/>
                    <a:pt x="521" y="791"/>
                    <a:pt x="524" y="792"/>
                  </a:cubicBezTo>
                  <a:cubicBezTo>
                    <a:pt x="528" y="791"/>
                    <a:pt x="525" y="788"/>
                    <a:pt x="528" y="787"/>
                  </a:cubicBezTo>
                  <a:cubicBezTo>
                    <a:pt x="530" y="790"/>
                    <a:pt x="532" y="790"/>
                    <a:pt x="533" y="790"/>
                  </a:cubicBezTo>
                  <a:cubicBezTo>
                    <a:pt x="531" y="791"/>
                    <a:pt x="528" y="793"/>
                    <a:pt x="526" y="794"/>
                  </a:cubicBezTo>
                  <a:close/>
                  <a:moveTo>
                    <a:pt x="534" y="789"/>
                  </a:moveTo>
                  <a:cubicBezTo>
                    <a:pt x="535" y="789"/>
                    <a:pt x="535" y="789"/>
                    <a:pt x="535" y="788"/>
                  </a:cubicBezTo>
                  <a:cubicBezTo>
                    <a:pt x="533" y="782"/>
                    <a:pt x="530" y="789"/>
                    <a:pt x="528" y="785"/>
                  </a:cubicBezTo>
                  <a:cubicBezTo>
                    <a:pt x="530" y="783"/>
                    <a:pt x="534" y="787"/>
                    <a:pt x="535" y="782"/>
                  </a:cubicBezTo>
                  <a:cubicBezTo>
                    <a:pt x="535" y="785"/>
                    <a:pt x="537" y="786"/>
                    <a:pt x="538" y="787"/>
                  </a:cubicBezTo>
                  <a:cubicBezTo>
                    <a:pt x="537" y="788"/>
                    <a:pt x="536" y="789"/>
                    <a:pt x="534" y="789"/>
                  </a:cubicBezTo>
                  <a:close/>
                  <a:moveTo>
                    <a:pt x="540" y="786"/>
                  </a:moveTo>
                  <a:cubicBezTo>
                    <a:pt x="542" y="784"/>
                    <a:pt x="544" y="783"/>
                    <a:pt x="546" y="782"/>
                  </a:cubicBezTo>
                  <a:cubicBezTo>
                    <a:pt x="544" y="783"/>
                    <a:pt x="542" y="785"/>
                    <a:pt x="540" y="786"/>
                  </a:cubicBezTo>
                  <a:close/>
                  <a:moveTo>
                    <a:pt x="573" y="778"/>
                  </a:moveTo>
                  <a:cubicBezTo>
                    <a:pt x="568" y="781"/>
                    <a:pt x="565" y="777"/>
                    <a:pt x="560" y="779"/>
                  </a:cubicBezTo>
                  <a:cubicBezTo>
                    <a:pt x="560" y="778"/>
                    <a:pt x="560" y="778"/>
                    <a:pt x="560" y="777"/>
                  </a:cubicBezTo>
                  <a:cubicBezTo>
                    <a:pt x="564" y="775"/>
                    <a:pt x="568" y="773"/>
                    <a:pt x="572" y="770"/>
                  </a:cubicBezTo>
                  <a:cubicBezTo>
                    <a:pt x="573" y="771"/>
                    <a:pt x="574" y="772"/>
                    <a:pt x="575" y="774"/>
                  </a:cubicBezTo>
                  <a:cubicBezTo>
                    <a:pt x="570" y="775"/>
                    <a:pt x="575" y="776"/>
                    <a:pt x="573" y="778"/>
                  </a:cubicBezTo>
                  <a:close/>
                  <a:moveTo>
                    <a:pt x="581" y="774"/>
                  </a:moveTo>
                  <a:cubicBezTo>
                    <a:pt x="580" y="772"/>
                    <a:pt x="579" y="772"/>
                    <a:pt x="578" y="772"/>
                  </a:cubicBezTo>
                  <a:cubicBezTo>
                    <a:pt x="578" y="772"/>
                    <a:pt x="577" y="772"/>
                    <a:pt x="577" y="772"/>
                  </a:cubicBezTo>
                  <a:cubicBezTo>
                    <a:pt x="577" y="772"/>
                    <a:pt x="577" y="772"/>
                    <a:pt x="578" y="772"/>
                  </a:cubicBezTo>
                  <a:cubicBezTo>
                    <a:pt x="577" y="772"/>
                    <a:pt x="577" y="773"/>
                    <a:pt x="576" y="773"/>
                  </a:cubicBezTo>
                  <a:cubicBezTo>
                    <a:pt x="577" y="771"/>
                    <a:pt x="576" y="770"/>
                    <a:pt x="574" y="769"/>
                  </a:cubicBezTo>
                  <a:cubicBezTo>
                    <a:pt x="577" y="767"/>
                    <a:pt x="580" y="765"/>
                    <a:pt x="583" y="762"/>
                  </a:cubicBezTo>
                  <a:cubicBezTo>
                    <a:pt x="583" y="762"/>
                    <a:pt x="583" y="763"/>
                    <a:pt x="583" y="763"/>
                  </a:cubicBezTo>
                  <a:cubicBezTo>
                    <a:pt x="582" y="764"/>
                    <a:pt x="581" y="766"/>
                    <a:pt x="582" y="767"/>
                  </a:cubicBezTo>
                  <a:cubicBezTo>
                    <a:pt x="584" y="767"/>
                    <a:pt x="584" y="762"/>
                    <a:pt x="587" y="765"/>
                  </a:cubicBezTo>
                  <a:cubicBezTo>
                    <a:pt x="584" y="767"/>
                    <a:pt x="582" y="770"/>
                    <a:pt x="581" y="774"/>
                  </a:cubicBezTo>
                  <a:close/>
                  <a:moveTo>
                    <a:pt x="588" y="764"/>
                  </a:moveTo>
                  <a:cubicBezTo>
                    <a:pt x="588" y="764"/>
                    <a:pt x="588" y="764"/>
                    <a:pt x="588" y="764"/>
                  </a:cubicBezTo>
                  <a:cubicBezTo>
                    <a:pt x="589" y="764"/>
                    <a:pt x="589" y="764"/>
                    <a:pt x="589" y="764"/>
                  </a:cubicBezTo>
                  <a:cubicBezTo>
                    <a:pt x="588" y="764"/>
                    <a:pt x="588" y="764"/>
                    <a:pt x="588" y="764"/>
                  </a:cubicBezTo>
                  <a:close/>
                  <a:moveTo>
                    <a:pt x="611" y="754"/>
                  </a:moveTo>
                  <a:cubicBezTo>
                    <a:pt x="612" y="754"/>
                    <a:pt x="612" y="755"/>
                    <a:pt x="612" y="755"/>
                  </a:cubicBezTo>
                  <a:cubicBezTo>
                    <a:pt x="606" y="760"/>
                    <a:pt x="603" y="761"/>
                    <a:pt x="597" y="765"/>
                  </a:cubicBezTo>
                  <a:cubicBezTo>
                    <a:pt x="597" y="765"/>
                    <a:pt x="597" y="764"/>
                    <a:pt x="597" y="764"/>
                  </a:cubicBezTo>
                  <a:cubicBezTo>
                    <a:pt x="597" y="764"/>
                    <a:pt x="597" y="764"/>
                    <a:pt x="597" y="764"/>
                  </a:cubicBezTo>
                  <a:cubicBezTo>
                    <a:pt x="596" y="763"/>
                    <a:pt x="596" y="762"/>
                    <a:pt x="596" y="761"/>
                  </a:cubicBezTo>
                  <a:cubicBezTo>
                    <a:pt x="594" y="764"/>
                    <a:pt x="592" y="765"/>
                    <a:pt x="589" y="764"/>
                  </a:cubicBezTo>
                  <a:cubicBezTo>
                    <a:pt x="590" y="759"/>
                    <a:pt x="597" y="763"/>
                    <a:pt x="598" y="755"/>
                  </a:cubicBezTo>
                  <a:cubicBezTo>
                    <a:pt x="598" y="756"/>
                    <a:pt x="597" y="754"/>
                    <a:pt x="599" y="754"/>
                  </a:cubicBezTo>
                  <a:cubicBezTo>
                    <a:pt x="601" y="757"/>
                    <a:pt x="598" y="757"/>
                    <a:pt x="600" y="759"/>
                  </a:cubicBezTo>
                  <a:cubicBezTo>
                    <a:pt x="601" y="758"/>
                    <a:pt x="605" y="758"/>
                    <a:pt x="603" y="755"/>
                  </a:cubicBezTo>
                  <a:cubicBezTo>
                    <a:pt x="602" y="756"/>
                    <a:pt x="602" y="756"/>
                    <a:pt x="601" y="754"/>
                  </a:cubicBezTo>
                  <a:cubicBezTo>
                    <a:pt x="606" y="751"/>
                    <a:pt x="611" y="752"/>
                    <a:pt x="616" y="752"/>
                  </a:cubicBezTo>
                  <a:cubicBezTo>
                    <a:pt x="615" y="755"/>
                    <a:pt x="614" y="755"/>
                    <a:pt x="611" y="754"/>
                  </a:cubicBezTo>
                  <a:close/>
                  <a:moveTo>
                    <a:pt x="624" y="753"/>
                  </a:moveTo>
                  <a:cubicBezTo>
                    <a:pt x="620" y="752"/>
                    <a:pt x="620" y="753"/>
                    <a:pt x="618" y="757"/>
                  </a:cubicBezTo>
                  <a:cubicBezTo>
                    <a:pt x="616" y="756"/>
                    <a:pt x="616" y="756"/>
                    <a:pt x="616" y="756"/>
                  </a:cubicBezTo>
                  <a:cubicBezTo>
                    <a:pt x="617" y="754"/>
                    <a:pt x="618" y="752"/>
                    <a:pt x="618" y="750"/>
                  </a:cubicBezTo>
                  <a:cubicBezTo>
                    <a:pt x="618" y="750"/>
                    <a:pt x="618" y="750"/>
                    <a:pt x="618" y="750"/>
                  </a:cubicBezTo>
                  <a:cubicBezTo>
                    <a:pt x="620" y="752"/>
                    <a:pt x="624" y="748"/>
                    <a:pt x="625" y="750"/>
                  </a:cubicBezTo>
                  <a:cubicBezTo>
                    <a:pt x="626" y="751"/>
                    <a:pt x="625" y="752"/>
                    <a:pt x="624" y="753"/>
                  </a:cubicBezTo>
                  <a:close/>
                  <a:moveTo>
                    <a:pt x="655" y="1453"/>
                  </a:moveTo>
                  <a:cubicBezTo>
                    <a:pt x="654" y="1449"/>
                    <a:pt x="660" y="1450"/>
                    <a:pt x="659" y="1448"/>
                  </a:cubicBezTo>
                  <a:cubicBezTo>
                    <a:pt x="660" y="1448"/>
                    <a:pt x="660" y="1448"/>
                    <a:pt x="660" y="1448"/>
                  </a:cubicBezTo>
                  <a:cubicBezTo>
                    <a:pt x="658" y="1449"/>
                    <a:pt x="657" y="1451"/>
                    <a:pt x="655" y="1453"/>
                  </a:cubicBezTo>
                  <a:close/>
                  <a:moveTo>
                    <a:pt x="671" y="1489"/>
                  </a:moveTo>
                  <a:cubicBezTo>
                    <a:pt x="672" y="1489"/>
                    <a:pt x="673" y="1488"/>
                    <a:pt x="674" y="1488"/>
                  </a:cubicBezTo>
                  <a:cubicBezTo>
                    <a:pt x="674" y="1489"/>
                    <a:pt x="674" y="1490"/>
                    <a:pt x="675" y="1490"/>
                  </a:cubicBezTo>
                  <a:cubicBezTo>
                    <a:pt x="675" y="1490"/>
                    <a:pt x="675" y="1490"/>
                    <a:pt x="675" y="1490"/>
                  </a:cubicBezTo>
                  <a:cubicBezTo>
                    <a:pt x="669" y="1493"/>
                    <a:pt x="662" y="1496"/>
                    <a:pt x="656" y="1498"/>
                  </a:cubicBezTo>
                  <a:cubicBezTo>
                    <a:pt x="658" y="1491"/>
                    <a:pt x="670" y="1485"/>
                    <a:pt x="675" y="1484"/>
                  </a:cubicBezTo>
                  <a:cubicBezTo>
                    <a:pt x="676" y="1486"/>
                    <a:pt x="666" y="1489"/>
                    <a:pt x="671" y="1489"/>
                  </a:cubicBezTo>
                  <a:close/>
                  <a:moveTo>
                    <a:pt x="733" y="1543"/>
                  </a:moveTo>
                  <a:cubicBezTo>
                    <a:pt x="731" y="1538"/>
                    <a:pt x="727" y="1541"/>
                    <a:pt x="723" y="1540"/>
                  </a:cubicBezTo>
                  <a:cubicBezTo>
                    <a:pt x="728" y="1537"/>
                    <a:pt x="732" y="1535"/>
                    <a:pt x="737" y="1532"/>
                  </a:cubicBezTo>
                  <a:cubicBezTo>
                    <a:pt x="738" y="1536"/>
                    <a:pt x="736" y="1540"/>
                    <a:pt x="733" y="1543"/>
                  </a:cubicBezTo>
                  <a:close/>
                  <a:moveTo>
                    <a:pt x="747" y="1443"/>
                  </a:moveTo>
                  <a:cubicBezTo>
                    <a:pt x="749" y="1442"/>
                    <a:pt x="752" y="1441"/>
                    <a:pt x="754" y="1440"/>
                  </a:cubicBezTo>
                  <a:cubicBezTo>
                    <a:pt x="752" y="1441"/>
                    <a:pt x="749" y="1442"/>
                    <a:pt x="747" y="1443"/>
                  </a:cubicBezTo>
                  <a:close/>
                  <a:moveTo>
                    <a:pt x="762" y="1439"/>
                  </a:moveTo>
                  <a:cubicBezTo>
                    <a:pt x="761" y="1437"/>
                    <a:pt x="759" y="1439"/>
                    <a:pt x="758" y="1438"/>
                  </a:cubicBezTo>
                  <a:cubicBezTo>
                    <a:pt x="761" y="1437"/>
                    <a:pt x="764" y="1435"/>
                    <a:pt x="767" y="1434"/>
                  </a:cubicBezTo>
                  <a:cubicBezTo>
                    <a:pt x="765" y="1435"/>
                    <a:pt x="764" y="1437"/>
                    <a:pt x="762" y="1439"/>
                  </a:cubicBezTo>
                  <a:close/>
                  <a:moveTo>
                    <a:pt x="771" y="663"/>
                  </a:moveTo>
                  <a:cubicBezTo>
                    <a:pt x="775" y="666"/>
                    <a:pt x="778" y="665"/>
                    <a:pt x="779" y="661"/>
                  </a:cubicBezTo>
                  <a:cubicBezTo>
                    <a:pt x="781" y="668"/>
                    <a:pt x="775" y="666"/>
                    <a:pt x="773" y="671"/>
                  </a:cubicBezTo>
                  <a:cubicBezTo>
                    <a:pt x="772" y="670"/>
                    <a:pt x="770" y="669"/>
                    <a:pt x="769" y="666"/>
                  </a:cubicBezTo>
                  <a:cubicBezTo>
                    <a:pt x="770" y="665"/>
                    <a:pt x="769" y="664"/>
                    <a:pt x="771" y="663"/>
                  </a:cubicBezTo>
                  <a:close/>
                  <a:moveTo>
                    <a:pt x="767" y="668"/>
                  </a:moveTo>
                  <a:cubicBezTo>
                    <a:pt x="767" y="670"/>
                    <a:pt x="769" y="673"/>
                    <a:pt x="766" y="674"/>
                  </a:cubicBezTo>
                  <a:cubicBezTo>
                    <a:pt x="766" y="671"/>
                    <a:pt x="765" y="670"/>
                    <a:pt x="763" y="671"/>
                  </a:cubicBezTo>
                  <a:cubicBezTo>
                    <a:pt x="762" y="668"/>
                    <a:pt x="766" y="668"/>
                    <a:pt x="767" y="668"/>
                  </a:cubicBezTo>
                  <a:close/>
                  <a:moveTo>
                    <a:pt x="707" y="705"/>
                  </a:moveTo>
                  <a:cubicBezTo>
                    <a:pt x="707" y="705"/>
                    <a:pt x="707" y="705"/>
                    <a:pt x="707" y="706"/>
                  </a:cubicBezTo>
                  <a:cubicBezTo>
                    <a:pt x="707" y="706"/>
                    <a:pt x="706" y="706"/>
                    <a:pt x="705" y="707"/>
                  </a:cubicBezTo>
                  <a:cubicBezTo>
                    <a:pt x="704" y="706"/>
                    <a:pt x="704" y="705"/>
                    <a:pt x="703" y="705"/>
                  </a:cubicBezTo>
                  <a:cubicBezTo>
                    <a:pt x="704" y="704"/>
                    <a:pt x="704" y="704"/>
                    <a:pt x="705" y="704"/>
                  </a:cubicBezTo>
                  <a:cubicBezTo>
                    <a:pt x="706" y="704"/>
                    <a:pt x="706" y="705"/>
                    <a:pt x="707" y="705"/>
                  </a:cubicBezTo>
                  <a:close/>
                  <a:moveTo>
                    <a:pt x="703" y="701"/>
                  </a:moveTo>
                  <a:cubicBezTo>
                    <a:pt x="703" y="702"/>
                    <a:pt x="704" y="702"/>
                    <a:pt x="704" y="703"/>
                  </a:cubicBezTo>
                  <a:cubicBezTo>
                    <a:pt x="704" y="703"/>
                    <a:pt x="703" y="703"/>
                    <a:pt x="702" y="704"/>
                  </a:cubicBezTo>
                  <a:cubicBezTo>
                    <a:pt x="702" y="704"/>
                    <a:pt x="702" y="704"/>
                    <a:pt x="702" y="703"/>
                  </a:cubicBezTo>
                  <a:cubicBezTo>
                    <a:pt x="703" y="703"/>
                    <a:pt x="702" y="702"/>
                    <a:pt x="703" y="701"/>
                  </a:cubicBezTo>
                  <a:close/>
                  <a:moveTo>
                    <a:pt x="703" y="708"/>
                  </a:moveTo>
                  <a:cubicBezTo>
                    <a:pt x="702" y="708"/>
                    <a:pt x="702" y="708"/>
                    <a:pt x="702" y="708"/>
                  </a:cubicBezTo>
                  <a:cubicBezTo>
                    <a:pt x="702" y="708"/>
                    <a:pt x="702" y="708"/>
                    <a:pt x="703" y="708"/>
                  </a:cubicBezTo>
                  <a:close/>
                  <a:moveTo>
                    <a:pt x="701" y="709"/>
                  </a:moveTo>
                  <a:cubicBezTo>
                    <a:pt x="700" y="709"/>
                    <a:pt x="698" y="709"/>
                    <a:pt x="697" y="708"/>
                  </a:cubicBezTo>
                  <a:cubicBezTo>
                    <a:pt x="698" y="707"/>
                    <a:pt x="698" y="706"/>
                    <a:pt x="697" y="705"/>
                  </a:cubicBezTo>
                  <a:cubicBezTo>
                    <a:pt x="699" y="706"/>
                    <a:pt x="700" y="707"/>
                    <a:pt x="701" y="709"/>
                  </a:cubicBezTo>
                  <a:close/>
                  <a:moveTo>
                    <a:pt x="695" y="708"/>
                  </a:moveTo>
                  <a:cubicBezTo>
                    <a:pt x="695" y="709"/>
                    <a:pt x="694" y="711"/>
                    <a:pt x="694" y="711"/>
                  </a:cubicBezTo>
                  <a:cubicBezTo>
                    <a:pt x="693" y="711"/>
                    <a:pt x="693" y="711"/>
                    <a:pt x="693" y="711"/>
                  </a:cubicBezTo>
                  <a:cubicBezTo>
                    <a:pt x="694" y="710"/>
                    <a:pt x="694" y="709"/>
                    <a:pt x="695" y="708"/>
                  </a:cubicBezTo>
                  <a:close/>
                  <a:moveTo>
                    <a:pt x="678" y="724"/>
                  </a:moveTo>
                  <a:cubicBezTo>
                    <a:pt x="679" y="727"/>
                    <a:pt x="675" y="731"/>
                    <a:pt x="673" y="730"/>
                  </a:cubicBezTo>
                  <a:cubicBezTo>
                    <a:pt x="673" y="728"/>
                    <a:pt x="675" y="726"/>
                    <a:pt x="678" y="724"/>
                  </a:cubicBezTo>
                  <a:close/>
                  <a:moveTo>
                    <a:pt x="672" y="731"/>
                  </a:moveTo>
                  <a:cubicBezTo>
                    <a:pt x="672" y="731"/>
                    <a:pt x="672" y="731"/>
                    <a:pt x="672" y="731"/>
                  </a:cubicBezTo>
                  <a:cubicBezTo>
                    <a:pt x="671" y="731"/>
                    <a:pt x="671" y="731"/>
                    <a:pt x="671" y="731"/>
                  </a:cubicBezTo>
                  <a:cubicBezTo>
                    <a:pt x="671" y="731"/>
                    <a:pt x="672" y="731"/>
                    <a:pt x="672" y="731"/>
                  </a:cubicBezTo>
                  <a:close/>
                  <a:moveTo>
                    <a:pt x="651" y="729"/>
                  </a:moveTo>
                  <a:cubicBezTo>
                    <a:pt x="652" y="729"/>
                    <a:pt x="652" y="729"/>
                    <a:pt x="652" y="729"/>
                  </a:cubicBezTo>
                  <a:cubicBezTo>
                    <a:pt x="651" y="729"/>
                    <a:pt x="651" y="730"/>
                    <a:pt x="650" y="730"/>
                  </a:cubicBezTo>
                  <a:cubicBezTo>
                    <a:pt x="651" y="730"/>
                    <a:pt x="651" y="729"/>
                    <a:pt x="651" y="729"/>
                  </a:cubicBezTo>
                  <a:close/>
                  <a:moveTo>
                    <a:pt x="651" y="743"/>
                  </a:moveTo>
                  <a:cubicBezTo>
                    <a:pt x="652" y="741"/>
                    <a:pt x="651" y="738"/>
                    <a:pt x="651" y="736"/>
                  </a:cubicBezTo>
                  <a:cubicBezTo>
                    <a:pt x="651" y="735"/>
                    <a:pt x="651" y="735"/>
                    <a:pt x="651" y="734"/>
                  </a:cubicBezTo>
                  <a:cubicBezTo>
                    <a:pt x="656" y="732"/>
                    <a:pt x="662" y="734"/>
                    <a:pt x="666" y="729"/>
                  </a:cubicBezTo>
                  <a:cubicBezTo>
                    <a:pt x="667" y="730"/>
                    <a:pt x="668" y="731"/>
                    <a:pt x="669" y="732"/>
                  </a:cubicBezTo>
                  <a:cubicBezTo>
                    <a:pt x="667" y="732"/>
                    <a:pt x="666" y="734"/>
                    <a:pt x="667" y="736"/>
                  </a:cubicBezTo>
                  <a:cubicBezTo>
                    <a:pt x="662" y="739"/>
                    <a:pt x="654" y="739"/>
                    <a:pt x="651" y="743"/>
                  </a:cubicBezTo>
                  <a:close/>
                  <a:moveTo>
                    <a:pt x="670" y="734"/>
                  </a:moveTo>
                  <a:cubicBezTo>
                    <a:pt x="669" y="734"/>
                    <a:pt x="668" y="735"/>
                    <a:pt x="668" y="736"/>
                  </a:cubicBezTo>
                  <a:cubicBezTo>
                    <a:pt x="668" y="734"/>
                    <a:pt x="669" y="734"/>
                    <a:pt x="670" y="734"/>
                  </a:cubicBezTo>
                  <a:close/>
                  <a:moveTo>
                    <a:pt x="688" y="765"/>
                  </a:moveTo>
                  <a:cubicBezTo>
                    <a:pt x="687" y="765"/>
                    <a:pt x="686" y="765"/>
                    <a:pt x="686" y="764"/>
                  </a:cubicBezTo>
                  <a:cubicBezTo>
                    <a:pt x="689" y="761"/>
                    <a:pt x="692" y="759"/>
                    <a:pt x="695" y="757"/>
                  </a:cubicBezTo>
                  <a:cubicBezTo>
                    <a:pt x="696" y="763"/>
                    <a:pt x="692" y="764"/>
                    <a:pt x="688" y="765"/>
                  </a:cubicBezTo>
                  <a:close/>
                  <a:moveTo>
                    <a:pt x="698" y="769"/>
                  </a:moveTo>
                  <a:cubicBezTo>
                    <a:pt x="697" y="769"/>
                    <a:pt x="697" y="768"/>
                    <a:pt x="697" y="768"/>
                  </a:cubicBezTo>
                  <a:cubicBezTo>
                    <a:pt x="697" y="767"/>
                    <a:pt x="698" y="766"/>
                    <a:pt x="697" y="764"/>
                  </a:cubicBezTo>
                  <a:cubicBezTo>
                    <a:pt x="697" y="764"/>
                    <a:pt x="697" y="764"/>
                    <a:pt x="697" y="764"/>
                  </a:cubicBezTo>
                  <a:cubicBezTo>
                    <a:pt x="697" y="764"/>
                    <a:pt x="697" y="763"/>
                    <a:pt x="696" y="762"/>
                  </a:cubicBezTo>
                  <a:cubicBezTo>
                    <a:pt x="698" y="762"/>
                    <a:pt x="701" y="769"/>
                    <a:pt x="698" y="769"/>
                  </a:cubicBezTo>
                  <a:close/>
                  <a:moveTo>
                    <a:pt x="700" y="767"/>
                  </a:moveTo>
                  <a:cubicBezTo>
                    <a:pt x="699" y="763"/>
                    <a:pt x="697" y="760"/>
                    <a:pt x="699" y="759"/>
                  </a:cubicBezTo>
                  <a:cubicBezTo>
                    <a:pt x="701" y="761"/>
                    <a:pt x="701" y="762"/>
                    <a:pt x="699" y="763"/>
                  </a:cubicBezTo>
                  <a:cubicBezTo>
                    <a:pt x="701" y="762"/>
                    <a:pt x="702" y="761"/>
                    <a:pt x="703" y="760"/>
                  </a:cubicBezTo>
                  <a:cubicBezTo>
                    <a:pt x="704" y="761"/>
                    <a:pt x="700" y="766"/>
                    <a:pt x="705" y="763"/>
                  </a:cubicBezTo>
                  <a:cubicBezTo>
                    <a:pt x="705" y="760"/>
                    <a:pt x="706" y="758"/>
                    <a:pt x="707" y="757"/>
                  </a:cubicBezTo>
                  <a:cubicBezTo>
                    <a:pt x="708" y="758"/>
                    <a:pt x="709" y="758"/>
                    <a:pt x="710" y="760"/>
                  </a:cubicBezTo>
                  <a:cubicBezTo>
                    <a:pt x="705" y="760"/>
                    <a:pt x="705" y="767"/>
                    <a:pt x="700" y="767"/>
                  </a:cubicBezTo>
                  <a:close/>
                  <a:moveTo>
                    <a:pt x="704" y="758"/>
                  </a:moveTo>
                  <a:cubicBezTo>
                    <a:pt x="704" y="758"/>
                    <a:pt x="704" y="757"/>
                    <a:pt x="705" y="757"/>
                  </a:cubicBezTo>
                  <a:cubicBezTo>
                    <a:pt x="705" y="757"/>
                    <a:pt x="705" y="757"/>
                    <a:pt x="705" y="757"/>
                  </a:cubicBezTo>
                  <a:cubicBezTo>
                    <a:pt x="705" y="758"/>
                    <a:pt x="705" y="758"/>
                    <a:pt x="704" y="758"/>
                  </a:cubicBezTo>
                  <a:close/>
                  <a:moveTo>
                    <a:pt x="721" y="735"/>
                  </a:moveTo>
                  <a:cubicBezTo>
                    <a:pt x="720" y="735"/>
                    <a:pt x="720" y="734"/>
                    <a:pt x="719" y="734"/>
                  </a:cubicBezTo>
                  <a:cubicBezTo>
                    <a:pt x="719" y="733"/>
                    <a:pt x="720" y="732"/>
                    <a:pt x="720" y="732"/>
                  </a:cubicBezTo>
                  <a:cubicBezTo>
                    <a:pt x="720" y="732"/>
                    <a:pt x="721" y="733"/>
                    <a:pt x="722" y="734"/>
                  </a:cubicBezTo>
                  <a:cubicBezTo>
                    <a:pt x="721" y="734"/>
                    <a:pt x="721" y="734"/>
                    <a:pt x="721" y="735"/>
                  </a:cubicBezTo>
                  <a:close/>
                  <a:moveTo>
                    <a:pt x="763" y="1277"/>
                  </a:moveTo>
                  <a:cubicBezTo>
                    <a:pt x="763" y="1278"/>
                    <a:pt x="763" y="1280"/>
                    <a:pt x="764" y="1282"/>
                  </a:cubicBezTo>
                  <a:cubicBezTo>
                    <a:pt x="754" y="1289"/>
                    <a:pt x="744" y="1296"/>
                    <a:pt x="734" y="1303"/>
                  </a:cubicBezTo>
                  <a:cubicBezTo>
                    <a:pt x="733" y="1302"/>
                    <a:pt x="732" y="1301"/>
                    <a:pt x="731" y="1300"/>
                  </a:cubicBezTo>
                  <a:cubicBezTo>
                    <a:pt x="735" y="1301"/>
                    <a:pt x="736" y="1295"/>
                    <a:pt x="740" y="1297"/>
                  </a:cubicBezTo>
                  <a:cubicBezTo>
                    <a:pt x="741" y="1295"/>
                    <a:pt x="741" y="1293"/>
                    <a:pt x="740" y="1291"/>
                  </a:cubicBezTo>
                  <a:cubicBezTo>
                    <a:pt x="749" y="1288"/>
                    <a:pt x="754" y="1286"/>
                    <a:pt x="763" y="1280"/>
                  </a:cubicBezTo>
                  <a:cubicBezTo>
                    <a:pt x="759" y="1280"/>
                    <a:pt x="755" y="1287"/>
                    <a:pt x="751" y="1282"/>
                  </a:cubicBezTo>
                  <a:cubicBezTo>
                    <a:pt x="749" y="1285"/>
                    <a:pt x="749" y="1287"/>
                    <a:pt x="745" y="1288"/>
                  </a:cubicBezTo>
                  <a:cubicBezTo>
                    <a:pt x="743" y="1286"/>
                    <a:pt x="740" y="1286"/>
                    <a:pt x="741" y="1283"/>
                  </a:cubicBezTo>
                  <a:cubicBezTo>
                    <a:pt x="743" y="1282"/>
                    <a:pt x="744" y="1286"/>
                    <a:pt x="745" y="1285"/>
                  </a:cubicBezTo>
                  <a:cubicBezTo>
                    <a:pt x="748" y="1284"/>
                    <a:pt x="746" y="1281"/>
                    <a:pt x="744" y="1282"/>
                  </a:cubicBezTo>
                  <a:cubicBezTo>
                    <a:pt x="752" y="1275"/>
                    <a:pt x="757" y="1272"/>
                    <a:pt x="766" y="1269"/>
                  </a:cubicBezTo>
                  <a:cubicBezTo>
                    <a:pt x="765" y="1271"/>
                    <a:pt x="764" y="1273"/>
                    <a:pt x="764" y="1275"/>
                  </a:cubicBezTo>
                  <a:cubicBezTo>
                    <a:pt x="763" y="1275"/>
                    <a:pt x="763" y="1275"/>
                    <a:pt x="762" y="1275"/>
                  </a:cubicBezTo>
                  <a:cubicBezTo>
                    <a:pt x="763" y="1276"/>
                    <a:pt x="763" y="1276"/>
                    <a:pt x="763" y="1277"/>
                  </a:cubicBezTo>
                  <a:close/>
                  <a:moveTo>
                    <a:pt x="759" y="702"/>
                  </a:moveTo>
                  <a:cubicBezTo>
                    <a:pt x="764" y="700"/>
                    <a:pt x="764" y="700"/>
                    <a:pt x="764" y="700"/>
                  </a:cubicBezTo>
                  <a:cubicBezTo>
                    <a:pt x="765" y="703"/>
                    <a:pt x="764" y="705"/>
                    <a:pt x="762" y="707"/>
                  </a:cubicBezTo>
                  <a:lnTo>
                    <a:pt x="759" y="702"/>
                  </a:lnTo>
                  <a:close/>
                  <a:moveTo>
                    <a:pt x="765" y="700"/>
                  </a:moveTo>
                  <a:cubicBezTo>
                    <a:pt x="768" y="701"/>
                    <a:pt x="772" y="698"/>
                    <a:pt x="775" y="705"/>
                  </a:cubicBezTo>
                  <a:cubicBezTo>
                    <a:pt x="770" y="701"/>
                    <a:pt x="769" y="708"/>
                    <a:pt x="765" y="700"/>
                  </a:cubicBezTo>
                  <a:close/>
                  <a:moveTo>
                    <a:pt x="779" y="699"/>
                  </a:moveTo>
                  <a:cubicBezTo>
                    <a:pt x="777" y="696"/>
                    <a:pt x="776" y="694"/>
                    <a:pt x="779" y="693"/>
                  </a:cubicBezTo>
                  <a:cubicBezTo>
                    <a:pt x="780" y="696"/>
                    <a:pt x="781" y="698"/>
                    <a:pt x="779" y="699"/>
                  </a:cubicBezTo>
                  <a:close/>
                  <a:moveTo>
                    <a:pt x="769" y="681"/>
                  </a:moveTo>
                  <a:cubicBezTo>
                    <a:pt x="770" y="682"/>
                    <a:pt x="770" y="683"/>
                    <a:pt x="769" y="684"/>
                  </a:cubicBezTo>
                  <a:cubicBezTo>
                    <a:pt x="770" y="689"/>
                    <a:pt x="775" y="688"/>
                    <a:pt x="774" y="691"/>
                  </a:cubicBezTo>
                  <a:cubicBezTo>
                    <a:pt x="772" y="690"/>
                    <a:pt x="772" y="690"/>
                    <a:pt x="772" y="693"/>
                  </a:cubicBezTo>
                  <a:cubicBezTo>
                    <a:pt x="770" y="690"/>
                    <a:pt x="767" y="690"/>
                    <a:pt x="764" y="692"/>
                  </a:cubicBezTo>
                  <a:cubicBezTo>
                    <a:pt x="767" y="698"/>
                    <a:pt x="766" y="690"/>
                    <a:pt x="769" y="693"/>
                  </a:cubicBezTo>
                  <a:cubicBezTo>
                    <a:pt x="765" y="703"/>
                    <a:pt x="758" y="697"/>
                    <a:pt x="752" y="704"/>
                  </a:cubicBezTo>
                  <a:cubicBezTo>
                    <a:pt x="754" y="710"/>
                    <a:pt x="749" y="709"/>
                    <a:pt x="753" y="714"/>
                  </a:cubicBezTo>
                  <a:cubicBezTo>
                    <a:pt x="750" y="710"/>
                    <a:pt x="746" y="709"/>
                    <a:pt x="748" y="705"/>
                  </a:cubicBezTo>
                  <a:cubicBezTo>
                    <a:pt x="745" y="706"/>
                    <a:pt x="744" y="711"/>
                    <a:pt x="747" y="712"/>
                  </a:cubicBezTo>
                  <a:cubicBezTo>
                    <a:pt x="747" y="710"/>
                    <a:pt x="747" y="716"/>
                    <a:pt x="751" y="714"/>
                  </a:cubicBezTo>
                  <a:cubicBezTo>
                    <a:pt x="751" y="716"/>
                    <a:pt x="750" y="718"/>
                    <a:pt x="748" y="720"/>
                  </a:cubicBezTo>
                  <a:cubicBezTo>
                    <a:pt x="746" y="719"/>
                    <a:pt x="748" y="718"/>
                    <a:pt x="745" y="714"/>
                  </a:cubicBezTo>
                  <a:cubicBezTo>
                    <a:pt x="742" y="716"/>
                    <a:pt x="743" y="715"/>
                    <a:pt x="740" y="718"/>
                  </a:cubicBezTo>
                  <a:cubicBezTo>
                    <a:pt x="739" y="720"/>
                    <a:pt x="744" y="721"/>
                    <a:pt x="743" y="724"/>
                  </a:cubicBezTo>
                  <a:cubicBezTo>
                    <a:pt x="740" y="722"/>
                    <a:pt x="737" y="721"/>
                    <a:pt x="734" y="721"/>
                  </a:cubicBezTo>
                  <a:cubicBezTo>
                    <a:pt x="734" y="723"/>
                    <a:pt x="734" y="724"/>
                    <a:pt x="734" y="725"/>
                  </a:cubicBezTo>
                  <a:cubicBezTo>
                    <a:pt x="734" y="725"/>
                    <a:pt x="733" y="725"/>
                    <a:pt x="733" y="725"/>
                  </a:cubicBezTo>
                  <a:cubicBezTo>
                    <a:pt x="730" y="727"/>
                    <a:pt x="727" y="729"/>
                    <a:pt x="725" y="731"/>
                  </a:cubicBezTo>
                  <a:cubicBezTo>
                    <a:pt x="723" y="731"/>
                    <a:pt x="722" y="732"/>
                    <a:pt x="721" y="733"/>
                  </a:cubicBezTo>
                  <a:cubicBezTo>
                    <a:pt x="720" y="730"/>
                    <a:pt x="715" y="726"/>
                    <a:pt x="716" y="730"/>
                  </a:cubicBezTo>
                  <a:cubicBezTo>
                    <a:pt x="717" y="730"/>
                    <a:pt x="718" y="730"/>
                    <a:pt x="718" y="731"/>
                  </a:cubicBezTo>
                  <a:cubicBezTo>
                    <a:pt x="718" y="731"/>
                    <a:pt x="718" y="731"/>
                    <a:pt x="718" y="731"/>
                  </a:cubicBezTo>
                  <a:cubicBezTo>
                    <a:pt x="717" y="733"/>
                    <a:pt x="715" y="734"/>
                    <a:pt x="714" y="735"/>
                  </a:cubicBezTo>
                  <a:cubicBezTo>
                    <a:pt x="713" y="735"/>
                    <a:pt x="712" y="736"/>
                    <a:pt x="712" y="736"/>
                  </a:cubicBezTo>
                  <a:cubicBezTo>
                    <a:pt x="711" y="737"/>
                    <a:pt x="711" y="737"/>
                    <a:pt x="710" y="737"/>
                  </a:cubicBezTo>
                  <a:cubicBezTo>
                    <a:pt x="710" y="737"/>
                    <a:pt x="709" y="737"/>
                    <a:pt x="708" y="736"/>
                  </a:cubicBezTo>
                  <a:cubicBezTo>
                    <a:pt x="708" y="737"/>
                    <a:pt x="709" y="737"/>
                    <a:pt x="709" y="738"/>
                  </a:cubicBezTo>
                  <a:cubicBezTo>
                    <a:pt x="708" y="738"/>
                    <a:pt x="708" y="738"/>
                    <a:pt x="707" y="738"/>
                  </a:cubicBezTo>
                  <a:cubicBezTo>
                    <a:pt x="707" y="737"/>
                    <a:pt x="707" y="735"/>
                    <a:pt x="706" y="733"/>
                  </a:cubicBezTo>
                  <a:cubicBezTo>
                    <a:pt x="702" y="733"/>
                    <a:pt x="708" y="738"/>
                    <a:pt x="705" y="738"/>
                  </a:cubicBezTo>
                  <a:cubicBezTo>
                    <a:pt x="705" y="739"/>
                    <a:pt x="705" y="739"/>
                    <a:pt x="705" y="739"/>
                  </a:cubicBezTo>
                  <a:cubicBezTo>
                    <a:pt x="697" y="741"/>
                    <a:pt x="688" y="742"/>
                    <a:pt x="684" y="743"/>
                  </a:cubicBezTo>
                  <a:cubicBezTo>
                    <a:pt x="688" y="743"/>
                    <a:pt x="683" y="749"/>
                    <a:pt x="680" y="747"/>
                  </a:cubicBezTo>
                  <a:cubicBezTo>
                    <a:pt x="681" y="750"/>
                    <a:pt x="687" y="748"/>
                    <a:pt x="684" y="751"/>
                  </a:cubicBezTo>
                  <a:cubicBezTo>
                    <a:pt x="680" y="747"/>
                    <a:pt x="675" y="754"/>
                    <a:pt x="672" y="752"/>
                  </a:cubicBezTo>
                  <a:cubicBezTo>
                    <a:pt x="668" y="749"/>
                    <a:pt x="676" y="750"/>
                    <a:pt x="674" y="747"/>
                  </a:cubicBezTo>
                  <a:cubicBezTo>
                    <a:pt x="668" y="747"/>
                    <a:pt x="662" y="747"/>
                    <a:pt x="655" y="749"/>
                  </a:cubicBezTo>
                  <a:cubicBezTo>
                    <a:pt x="663" y="739"/>
                    <a:pt x="688" y="738"/>
                    <a:pt x="698" y="722"/>
                  </a:cubicBezTo>
                  <a:cubicBezTo>
                    <a:pt x="696" y="720"/>
                    <a:pt x="694" y="725"/>
                    <a:pt x="692" y="726"/>
                  </a:cubicBezTo>
                  <a:cubicBezTo>
                    <a:pt x="687" y="719"/>
                    <a:pt x="688" y="728"/>
                    <a:pt x="683" y="726"/>
                  </a:cubicBezTo>
                  <a:cubicBezTo>
                    <a:pt x="682" y="717"/>
                    <a:pt x="693" y="720"/>
                    <a:pt x="698" y="717"/>
                  </a:cubicBezTo>
                  <a:cubicBezTo>
                    <a:pt x="699" y="717"/>
                    <a:pt x="699" y="718"/>
                    <a:pt x="698" y="719"/>
                  </a:cubicBezTo>
                  <a:cubicBezTo>
                    <a:pt x="698" y="719"/>
                    <a:pt x="697" y="717"/>
                    <a:pt x="696" y="718"/>
                  </a:cubicBezTo>
                  <a:cubicBezTo>
                    <a:pt x="702" y="724"/>
                    <a:pt x="701" y="717"/>
                    <a:pt x="705" y="717"/>
                  </a:cubicBezTo>
                  <a:cubicBezTo>
                    <a:pt x="703" y="714"/>
                    <a:pt x="701" y="714"/>
                    <a:pt x="700" y="713"/>
                  </a:cubicBezTo>
                  <a:cubicBezTo>
                    <a:pt x="701" y="717"/>
                    <a:pt x="698" y="715"/>
                    <a:pt x="695" y="714"/>
                  </a:cubicBezTo>
                  <a:cubicBezTo>
                    <a:pt x="696" y="714"/>
                    <a:pt x="696" y="713"/>
                    <a:pt x="697" y="712"/>
                  </a:cubicBezTo>
                  <a:cubicBezTo>
                    <a:pt x="704" y="710"/>
                    <a:pt x="718" y="708"/>
                    <a:pt x="716" y="702"/>
                  </a:cubicBezTo>
                  <a:cubicBezTo>
                    <a:pt x="716" y="702"/>
                    <a:pt x="717" y="702"/>
                    <a:pt x="717" y="703"/>
                  </a:cubicBezTo>
                  <a:cubicBezTo>
                    <a:pt x="717" y="700"/>
                    <a:pt x="721" y="703"/>
                    <a:pt x="722" y="701"/>
                  </a:cubicBezTo>
                  <a:cubicBezTo>
                    <a:pt x="724" y="702"/>
                    <a:pt x="726" y="702"/>
                    <a:pt x="728" y="702"/>
                  </a:cubicBezTo>
                  <a:cubicBezTo>
                    <a:pt x="725" y="704"/>
                    <a:pt x="725" y="704"/>
                    <a:pt x="724" y="708"/>
                  </a:cubicBezTo>
                  <a:cubicBezTo>
                    <a:pt x="725" y="708"/>
                    <a:pt x="729" y="704"/>
                    <a:pt x="730" y="702"/>
                  </a:cubicBezTo>
                  <a:cubicBezTo>
                    <a:pt x="731" y="702"/>
                    <a:pt x="732" y="702"/>
                    <a:pt x="733" y="700"/>
                  </a:cubicBezTo>
                  <a:cubicBezTo>
                    <a:pt x="729" y="701"/>
                    <a:pt x="726" y="701"/>
                    <a:pt x="722" y="700"/>
                  </a:cubicBezTo>
                  <a:cubicBezTo>
                    <a:pt x="722" y="699"/>
                    <a:pt x="722" y="699"/>
                    <a:pt x="722" y="698"/>
                  </a:cubicBezTo>
                  <a:cubicBezTo>
                    <a:pt x="719" y="698"/>
                    <a:pt x="717" y="697"/>
                    <a:pt x="715" y="695"/>
                  </a:cubicBezTo>
                  <a:cubicBezTo>
                    <a:pt x="716" y="695"/>
                    <a:pt x="716" y="694"/>
                    <a:pt x="717" y="694"/>
                  </a:cubicBezTo>
                  <a:cubicBezTo>
                    <a:pt x="717" y="694"/>
                    <a:pt x="717" y="695"/>
                    <a:pt x="717" y="695"/>
                  </a:cubicBezTo>
                  <a:cubicBezTo>
                    <a:pt x="720" y="694"/>
                    <a:pt x="722" y="699"/>
                    <a:pt x="724" y="699"/>
                  </a:cubicBezTo>
                  <a:cubicBezTo>
                    <a:pt x="722" y="696"/>
                    <a:pt x="720" y="694"/>
                    <a:pt x="720" y="692"/>
                  </a:cubicBezTo>
                  <a:cubicBezTo>
                    <a:pt x="723" y="692"/>
                    <a:pt x="722" y="686"/>
                    <a:pt x="725" y="689"/>
                  </a:cubicBezTo>
                  <a:cubicBezTo>
                    <a:pt x="725" y="689"/>
                    <a:pt x="725" y="690"/>
                    <a:pt x="725" y="690"/>
                  </a:cubicBezTo>
                  <a:cubicBezTo>
                    <a:pt x="724" y="690"/>
                    <a:pt x="724" y="690"/>
                    <a:pt x="724" y="691"/>
                  </a:cubicBezTo>
                  <a:cubicBezTo>
                    <a:pt x="724" y="691"/>
                    <a:pt x="723" y="692"/>
                    <a:pt x="722" y="693"/>
                  </a:cubicBezTo>
                  <a:cubicBezTo>
                    <a:pt x="725" y="696"/>
                    <a:pt x="732" y="699"/>
                    <a:pt x="733" y="694"/>
                  </a:cubicBezTo>
                  <a:cubicBezTo>
                    <a:pt x="732" y="695"/>
                    <a:pt x="730" y="696"/>
                    <a:pt x="728" y="693"/>
                  </a:cubicBezTo>
                  <a:cubicBezTo>
                    <a:pt x="738" y="689"/>
                    <a:pt x="747" y="676"/>
                    <a:pt x="756" y="689"/>
                  </a:cubicBezTo>
                  <a:cubicBezTo>
                    <a:pt x="754" y="684"/>
                    <a:pt x="762" y="694"/>
                    <a:pt x="761" y="687"/>
                  </a:cubicBezTo>
                  <a:cubicBezTo>
                    <a:pt x="760" y="687"/>
                    <a:pt x="758" y="689"/>
                    <a:pt x="757" y="685"/>
                  </a:cubicBezTo>
                  <a:cubicBezTo>
                    <a:pt x="760" y="683"/>
                    <a:pt x="756" y="686"/>
                    <a:pt x="755" y="682"/>
                  </a:cubicBezTo>
                  <a:cubicBezTo>
                    <a:pt x="760" y="679"/>
                    <a:pt x="760" y="679"/>
                    <a:pt x="760" y="679"/>
                  </a:cubicBezTo>
                  <a:cubicBezTo>
                    <a:pt x="757" y="674"/>
                    <a:pt x="754" y="678"/>
                    <a:pt x="751" y="674"/>
                  </a:cubicBezTo>
                  <a:cubicBezTo>
                    <a:pt x="759" y="674"/>
                    <a:pt x="775" y="683"/>
                    <a:pt x="769" y="670"/>
                  </a:cubicBezTo>
                  <a:cubicBezTo>
                    <a:pt x="771" y="669"/>
                    <a:pt x="771" y="669"/>
                    <a:pt x="771" y="669"/>
                  </a:cubicBezTo>
                  <a:cubicBezTo>
                    <a:pt x="773" y="671"/>
                    <a:pt x="771" y="675"/>
                    <a:pt x="774" y="675"/>
                  </a:cubicBezTo>
                  <a:cubicBezTo>
                    <a:pt x="773" y="673"/>
                    <a:pt x="773" y="671"/>
                    <a:pt x="775" y="670"/>
                  </a:cubicBezTo>
                  <a:cubicBezTo>
                    <a:pt x="778" y="675"/>
                    <a:pt x="778" y="667"/>
                    <a:pt x="781" y="669"/>
                  </a:cubicBezTo>
                  <a:cubicBezTo>
                    <a:pt x="781" y="676"/>
                    <a:pt x="775" y="679"/>
                    <a:pt x="769" y="681"/>
                  </a:cubicBezTo>
                  <a:close/>
                  <a:moveTo>
                    <a:pt x="781" y="1427"/>
                  </a:moveTo>
                  <a:cubicBezTo>
                    <a:pt x="781" y="1427"/>
                    <a:pt x="781" y="1427"/>
                    <a:pt x="781" y="1427"/>
                  </a:cubicBezTo>
                  <a:cubicBezTo>
                    <a:pt x="781" y="1427"/>
                    <a:pt x="781" y="1427"/>
                    <a:pt x="781" y="1427"/>
                  </a:cubicBezTo>
                  <a:cubicBezTo>
                    <a:pt x="781" y="1427"/>
                    <a:pt x="781" y="1427"/>
                    <a:pt x="781" y="1427"/>
                  </a:cubicBezTo>
                  <a:close/>
                  <a:moveTo>
                    <a:pt x="784" y="675"/>
                  </a:moveTo>
                  <a:cubicBezTo>
                    <a:pt x="782" y="671"/>
                    <a:pt x="784" y="670"/>
                    <a:pt x="783" y="667"/>
                  </a:cubicBezTo>
                  <a:cubicBezTo>
                    <a:pt x="786" y="668"/>
                    <a:pt x="783" y="671"/>
                    <a:pt x="787" y="673"/>
                  </a:cubicBezTo>
                  <a:lnTo>
                    <a:pt x="784" y="675"/>
                  </a:lnTo>
                  <a:close/>
                  <a:moveTo>
                    <a:pt x="801" y="1419"/>
                  </a:moveTo>
                  <a:cubicBezTo>
                    <a:pt x="802" y="1418"/>
                    <a:pt x="803" y="1417"/>
                    <a:pt x="804" y="1416"/>
                  </a:cubicBezTo>
                  <a:cubicBezTo>
                    <a:pt x="812" y="1413"/>
                    <a:pt x="812" y="1413"/>
                    <a:pt x="812" y="1413"/>
                  </a:cubicBezTo>
                  <a:cubicBezTo>
                    <a:pt x="809" y="1415"/>
                    <a:pt x="805" y="1417"/>
                    <a:pt x="801" y="1419"/>
                  </a:cubicBezTo>
                  <a:close/>
                  <a:moveTo>
                    <a:pt x="813" y="655"/>
                  </a:moveTo>
                  <a:cubicBezTo>
                    <a:pt x="810" y="651"/>
                    <a:pt x="817" y="650"/>
                    <a:pt x="818" y="654"/>
                  </a:cubicBezTo>
                  <a:cubicBezTo>
                    <a:pt x="816" y="657"/>
                    <a:pt x="815" y="653"/>
                    <a:pt x="813" y="655"/>
                  </a:cubicBezTo>
                  <a:close/>
                  <a:moveTo>
                    <a:pt x="1030" y="85"/>
                  </a:moveTo>
                  <a:cubicBezTo>
                    <a:pt x="1029" y="78"/>
                    <a:pt x="1038" y="79"/>
                    <a:pt x="1042" y="73"/>
                  </a:cubicBezTo>
                  <a:cubicBezTo>
                    <a:pt x="1044" y="81"/>
                    <a:pt x="1035" y="85"/>
                    <a:pt x="1030" y="85"/>
                  </a:cubicBezTo>
                  <a:close/>
                  <a:moveTo>
                    <a:pt x="1042" y="586"/>
                  </a:moveTo>
                  <a:cubicBezTo>
                    <a:pt x="1045" y="589"/>
                    <a:pt x="1043" y="590"/>
                    <a:pt x="1045" y="592"/>
                  </a:cubicBezTo>
                  <a:cubicBezTo>
                    <a:pt x="1043" y="594"/>
                    <a:pt x="1039" y="587"/>
                    <a:pt x="1042" y="586"/>
                  </a:cubicBezTo>
                  <a:close/>
                  <a:moveTo>
                    <a:pt x="1041" y="60"/>
                  </a:moveTo>
                  <a:cubicBezTo>
                    <a:pt x="1037" y="55"/>
                    <a:pt x="1043" y="56"/>
                    <a:pt x="1045" y="56"/>
                  </a:cubicBezTo>
                  <a:cubicBezTo>
                    <a:pt x="1047" y="60"/>
                    <a:pt x="1043" y="60"/>
                    <a:pt x="1041" y="60"/>
                  </a:cubicBezTo>
                  <a:close/>
                  <a:moveTo>
                    <a:pt x="1047" y="56"/>
                  </a:moveTo>
                  <a:cubicBezTo>
                    <a:pt x="1050" y="54"/>
                    <a:pt x="1050" y="54"/>
                    <a:pt x="1050" y="54"/>
                  </a:cubicBezTo>
                  <a:cubicBezTo>
                    <a:pt x="1053" y="58"/>
                    <a:pt x="1049" y="61"/>
                    <a:pt x="1047" y="56"/>
                  </a:cubicBezTo>
                  <a:close/>
                  <a:moveTo>
                    <a:pt x="1071" y="36"/>
                  </a:moveTo>
                  <a:cubicBezTo>
                    <a:pt x="1070" y="33"/>
                    <a:pt x="1074" y="30"/>
                    <a:pt x="1076" y="35"/>
                  </a:cubicBezTo>
                  <a:cubicBezTo>
                    <a:pt x="1076" y="39"/>
                    <a:pt x="1073" y="34"/>
                    <a:pt x="1071" y="36"/>
                  </a:cubicBezTo>
                  <a:close/>
                  <a:moveTo>
                    <a:pt x="1123" y="11"/>
                  </a:moveTo>
                  <a:cubicBezTo>
                    <a:pt x="1124" y="13"/>
                    <a:pt x="1123" y="17"/>
                    <a:pt x="1126" y="15"/>
                  </a:cubicBezTo>
                  <a:cubicBezTo>
                    <a:pt x="1127" y="17"/>
                    <a:pt x="1125" y="17"/>
                    <a:pt x="1124" y="18"/>
                  </a:cubicBezTo>
                  <a:cubicBezTo>
                    <a:pt x="1124" y="15"/>
                    <a:pt x="1122" y="15"/>
                    <a:pt x="1120" y="13"/>
                  </a:cubicBezTo>
                  <a:lnTo>
                    <a:pt x="1123" y="11"/>
                  </a:lnTo>
                  <a:close/>
                  <a:moveTo>
                    <a:pt x="1114" y="10"/>
                  </a:moveTo>
                  <a:cubicBezTo>
                    <a:pt x="1114" y="12"/>
                    <a:pt x="1113" y="15"/>
                    <a:pt x="1112" y="16"/>
                  </a:cubicBezTo>
                  <a:cubicBezTo>
                    <a:pt x="1109" y="13"/>
                    <a:pt x="1113" y="14"/>
                    <a:pt x="1110" y="10"/>
                  </a:cubicBezTo>
                  <a:cubicBezTo>
                    <a:pt x="1111" y="9"/>
                    <a:pt x="1113" y="12"/>
                    <a:pt x="1114" y="10"/>
                  </a:cubicBezTo>
                  <a:close/>
                  <a:moveTo>
                    <a:pt x="1104" y="6"/>
                  </a:moveTo>
                  <a:cubicBezTo>
                    <a:pt x="1108" y="12"/>
                    <a:pt x="1104" y="18"/>
                    <a:pt x="1101" y="19"/>
                  </a:cubicBezTo>
                  <a:cubicBezTo>
                    <a:pt x="1099" y="16"/>
                    <a:pt x="1104" y="15"/>
                    <a:pt x="1100" y="13"/>
                  </a:cubicBezTo>
                  <a:cubicBezTo>
                    <a:pt x="1102" y="14"/>
                    <a:pt x="1104" y="8"/>
                    <a:pt x="1104" y="6"/>
                  </a:cubicBezTo>
                  <a:close/>
                  <a:moveTo>
                    <a:pt x="1103" y="28"/>
                  </a:moveTo>
                  <a:cubicBezTo>
                    <a:pt x="1107" y="30"/>
                    <a:pt x="1104" y="35"/>
                    <a:pt x="1100" y="36"/>
                  </a:cubicBezTo>
                  <a:cubicBezTo>
                    <a:pt x="1098" y="32"/>
                    <a:pt x="1104" y="32"/>
                    <a:pt x="1103" y="28"/>
                  </a:cubicBezTo>
                  <a:close/>
                  <a:moveTo>
                    <a:pt x="1082" y="26"/>
                  </a:moveTo>
                  <a:cubicBezTo>
                    <a:pt x="1083" y="29"/>
                    <a:pt x="1084" y="28"/>
                    <a:pt x="1084" y="31"/>
                  </a:cubicBezTo>
                  <a:cubicBezTo>
                    <a:pt x="1086" y="30"/>
                    <a:pt x="1086" y="30"/>
                    <a:pt x="1086" y="30"/>
                  </a:cubicBezTo>
                  <a:cubicBezTo>
                    <a:pt x="1089" y="33"/>
                    <a:pt x="1076" y="30"/>
                    <a:pt x="1082" y="26"/>
                  </a:cubicBezTo>
                  <a:close/>
                  <a:moveTo>
                    <a:pt x="1093" y="34"/>
                  </a:moveTo>
                  <a:cubicBezTo>
                    <a:pt x="1095" y="37"/>
                    <a:pt x="1092" y="38"/>
                    <a:pt x="1090" y="39"/>
                  </a:cubicBezTo>
                  <a:cubicBezTo>
                    <a:pt x="1090" y="36"/>
                    <a:pt x="1091" y="34"/>
                    <a:pt x="1093" y="34"/>
                  </a:cubicBezTo>
                  <a:close/>
                  <a:moveTo>
                    <a:pt x="1108" y="65"/>
                  </a:moveTo>
                  <a:cubicBezTo>
                    <a:pt x="1105" y="66"/>
                    <a:pt x="1103" y="63"/>
                    <a:pt x="1101" y="67"/>
                  </a:cubicBezTo>
                  <a:cubicBezTo>
                    <a:pt x="1098" y="61"/>
                    <a:pt x="1102" y="64"/>
                    <a:pt x="1103" y="60"/>
                  </a:cubicBezTo>
                  <a:cubicBezTo>
                    <a:pt x="1097" y="53"/>
                    <a:pt x="1097" y="62"/>
                    <a:pt x="1093" y="61"/>
                  </a:cubicBezTo>
                  <a:cubicBezTo>
                    <a:pt x="1095" y="49"/>
                    <a:pt x="1108" y="51"/>
                    <a:pt x="1107" y="39"/>
                  </a:cubicBezTo>
                  <a:cubicBezTo>
                    <a:pt x="1109" y="36"/>
                    <a:pt x="1110" y="42"/>
                    <a:pt x="1112" y="40"/>
                  </a:cubicBezTo>
                  <a:cubicBezTo>
                    <a:pt x="1114" y="46"/>
                    <a:pt x="1114" y="49"/>
                    <a:pt x="1116" y="55"/>
                  </a:cubicBezTo>
                  <a:cubicBezTo>
                    <a:pt x="1110" y="53"/>
                    <a:pt x="1110" y="62"/>
                    <a:pt x="1108" y="65"/>
                  </a:cubicBezTo>
                  <a:close/>
                  <a:moveTo>
                    <a:pt x="1118" y="46"/>
                  </a:moveTo>
                  <a:cubicBezTo>
                    <a:pt x="1120" y="42"/>
                    <a:pt x="1111" y="37"/>
                    <a:pt x="1117" y="35"/>
                  </a:cubicBezTo>
                  <a:cubicBezTo>
                    <a:pt x="1120" y="40"/>
                    <a:pt x="1122" y="44"/>
                    <a:pt x="1118" y="46"/>
                  </a:cubicBezTo>
                  <a:close/>
                  <a:moveTo>
                    <a:pt x="1120" y="22"/>
                  </a:moveTo>
                  <a:cubicBezTo>
                    <a:pt x="1122" y="20"/>
                    <a:pt x="1123" y="21"/>
                    <a:pt x="1125" y="20"/>
                  </a:cubicBezTo>
                  <a:cubicBezTo>
                    <a:pt x="1125" y="24"/>
                    <a:pt x="1123" y="26"/>
                    <a:pt x="1124" y="30"/>
                  </a:cubicBezTo>
                  <a:cubicBezTo>
                    <a:pt x="1122" y="30"/>
                    <a:pt x="1121" y="24"/>
                    <a:pt x="1120" y="22"/>
                  </a:cubicBezTo>
                  <a:close/>
                  <a:moveTo>
                    <a:pt x="1123" y="41"/>
                  </a:moveTo>
                  <a:cubicBezTo>
                    <a:pt x="1125" y="37"/>
                    <a:pt x="1125" y="35"/>
                    <a:pt x="1129" y="36"/>
                  </a:cubicBezTo>
                  <a:cubicBezTo>
                    <a:pt x="1130" y="35"/>
                    <a:pt x="1130" y="33"/>
                    <a:pt x="1129" y="33"/>
                  </a:cubicBezTo>
                  <a:cubicBezTo>
                    <a:pt x="1126" y="32"/>
                    <a:pt x="1131" y="32"/>
                    <a:pt x="1132" y="33"/>
                  </a:cubicBezTo>
                  <a:cubicBezTo>
                    <a:pt x="1135" y="40"/>
                    <a:pt x="1137" y="44"/>
                    <a:pt x="1137" y="49"/>
                  </a:cubicBezTo>
                  <a:cubicBezTo>
                    <a:pt x="1133" y="48"/>
                    <a:pt x="1128" y="43"/>
                    <a:pt x="1123" y="41"/>
                  </a:cubicBezTo>
                  <a:close/>
                  <a:moveTo>
                    <a:pt x="1130" y="59"/>
                  </a:moveTo>
                  <a:cubicBezTo>
                    <a:pt x="1129" y="57"/>
                    <a:pt x="1130" y="56"/>
                    <a:pt x="1131" y="55"/>
                  </a:cubicBezTo>
                  <a:cubicBezTo>
                    <a:pt x="1134" y="59"/>
                    <a:pt x="1134" y="59"/>
                    <a:pt x="1134" y="59"/>
                  </a:cubicBezTo>
                  <a:cubicBezTo>
                    <a:pt x="1133" y="62"/>
                    <a:pt x="1131" y="56"/>
                    <a:pt x="1130" y="59"/>
                  </a:cubicBezTo>
                  <a:close/>
                  <a:moveTo>
                    <a:pt x="1165" y="89"/>
                  </a:moveTo>
                  <a:cubicBezTo>
                    <a:pt x="1167" y="92"/>
                    <a:pt x="1162" y="92"/>
                    <a:pt x="1163" y="94"/>
                  </a:cubicBezTo>
                  <a:cubicBezTo>
                    <a:pt x="1162" y="95"/>
                    <a:pt x="1161" y="89"/>
                    <a:pt x="1158" y="87"/>
                  </a:cubicBezTo>
                  <a:cubicBezTo>
                    <a:pt x="1161" y="85"/>
                    <a:pt x="1163" y="89"/>
                    <a:pt x="1165" y="89"/>
                  </a:cubicBezTo>
                  <a:close/>
                  <a:moveTo>
                    <a:pt x="1160" y="123"/>
                  </a:moveTo>
                  <a:cubicBezTo>
                    <a:pt x="1157" y="125"/>
                    <a:pt x="1158" y="125"/>
                    <a:pt x="1155" y="124"/>
                  </a:cubicBezTo>
                  <a:cubicBezTo>
                    <a:pt x="1153" y="121"/>
                    <a:pt x="1158" y="118"/>
                    <a:pt x="1160" y="123"/>
                  </a:cubicBezTo>
                  <a:close/>
                  <a:moveTo>
                    <a:pt x="1158" y="147"/>
                  </a:moveTo>
                  <a:cubicBezTo>
                    <a:pt x="1155" y="147"/>
                    <a:pt x="1159" y="144"/>
                    <a:pt x="1156" y="142"/>
                  </a:cubicBezTo>
                  <a:cubicBezTo>
                    <a:pt x="1158" y="142"/>
                    <a:pt x="1160" y="142"/>
                    <a:pt x="1162" y="145"/>
                  </a:cubicBezTo>
                  <a:cubicBezTo>
                    <a:pt x="1161" y="149"/>
                    <a:pt x="1157" y="143"/>
                    <a:pt x="1158" y="147"/>
                  </a:cubicBezTo>
                  <a:close/>
                  <a:moveTo>
                    <a:pt x="1171" y="158"/>
                  </a:moveTo>
                  <a:cubicBezTo>
                    <a:pt x="1170" y="157"/>
                    <a:pt x="1172" y="153"/>
                    <a:pt x="1169" y="155"/>
                  </a:cubicBezTo>
                  <a:cubicBezTo>
                    <a:pt x="1171" y="143"/>
                    <a:pt x="1178" y="158"/>
                    <a:pt x="1177" y="157"/>
                  </a:cubicBezTo>
                  <a:cubicBezTo>
                    <a:pt x="1178" y="158"/>
                    <a:pt x="1178" y="159"/>
                    <a:pt x="1177" y="159"/>
                  </a:cubicBezTo>
                  <a:cubicBezTo>
                    <a:pt x="1179" y="161"/>
                    <a:pt x="1179" y="161"/>
                    <a:pt x="1179" y="161"/>
                  </a:cubicBezTo>
                  <a:cubicBezTo>
                    <a:pt x="1176" y="161"/>
                    <a:pt x="1174" y="158"/>
                    <a:pt x="1171" y="158"/>
                  </a:cubicBezTo>
                  <a:close/>
                  <a:moveTo>
                    <a:pt x="1253" y="97"/>
                  </a:moveTo>
                  <a:cubicBezTo>
                    <a:pt x="1251" y="98"/>
                    <a:pt x="1249" y="96"/>
                    <a:pt x="1246" y="95"/>
                  </a:cubicBezTo>
                  <a:cubicBezTo>
                    <a:pt x="1244" y="89"/>
                    <a:pt x="1254" y="94"/>
                    <a:pt x="1253" y="97"/>
                  </a:cubicBezTo>
                  <a:close/>
                  <a:moveTo>
                    <a:pt x="1245" y="105"/>
                  </a:moveTo>
                  <a:cubicBezTo>
                    <a:pt x="1245" y="103"/>
                    <a:pt x="1242" y="99"/>
                    <a:pt x="1245" y="98"/>
                  </a:cubicBezTo>
                  <a:cubicBezTo>
                    <a:pt x="1246" y="99"/>
                    <a:pt x="1245" y="100"/>
                    <a:pt x="1245" y="101"/>
                  </a:cubicBezTo>
                  <a:cubicBezTo>
                    <a:pt x="1246" y="101"/>
                    <a:pt x="1247" y="102"/>
                    <a:pt x="1248" y="102"/>
                  </a:cubicBezTo>
                  <a:cubicBezTo>
                    <a:pt x="1250" y="104"/>
                    <a:pt x="1247" y="106"/>
                    <a:pt x="1245" y="105"/>
                  </a:cubicBezTo>
                  <a:close/>
                  <a:moveTo>
                    <a:pt x="1248" y="108"/>
                  </a:moveTo>
                  <a:cubicBezTo>
                    <a:pt x="1248" y="106"/>
                    <a:pt x="1251" y="105"/>
                    <a:pt x="1253" y="108"/>
                  </a:cubicBezTo>
                  <a:cubicBezTo>
                    <a:pt x="1254" y="107"/>
                    <a:pt x="1252" y="105"/>
                    <a:pt x="1252" y="104"/>
                  </a:cubicBezTo>
                  <a:cubicBezTo>
                    <a:pt x="1253" y="103"/>
                    <a:pt x="1255" y="104"/>
                    <a:pt x="1257" y="104"/>
                  </a:cubicBezTo>
                  <a:cubicBezTo>
                    <a:pt x="1259" y="108"/>
                    <a:pt x="1250" y="109"/>
                    <a:pt x="1253" y="109"/>
                  </a:cubicBezTo>
                  <a:cubicBezTo>
                    <a:pt x="1254" y="113"/>
                    <a:pt x="1249" y="110"/>
                    <a:pt x="1248" y="108"/>
                  </a:cubicBezTo>
                  <a:close/>
                  <a:moveTo>
                    <a:pt x="1303" y="185"/>
                  </a:moveTo>
                  <a:cubicBezTo>
                    <a:pt x="1301" y="187"/>
                    <a:pt x="1300" y="186"/>
                    <a:pt x="1298" y="182"/>
                  </a:cubicBezTo>
                  <a:cubicBezTo>
                    <a:pt x="1301" y="180"/>
                    <a:pt x="1301" y="180"/>
                    <a:pt x="1301" y="180"/>
                  </a:cubicBezTo>
                  <a:lnTo>
                    <a:pt x="1303" y="185"/>
                  </a:lnTo>
                  <a:close/>
                  <a:moveTo>
                    <a:pt x="1298" y="134"/>
                  </a:moveTo>
                  <a:cubicBezTo>
                    <a:pt x="1300" y="137"/>
                    <a:pt x="1297" y="137"/>
                    <a:pt x="1298" y="139"/>
                  </a:cubicBezTo>
                  <a:cubicBezTo>
                    <a:pt x="1297" y="139"/>
                    <a:pt x="1295" y="138"/>
                    <a:pt x="1294" y="135"/>
                  </a:cubicBezTo>
                  <a:cubicBezTo>
                    <a:pt x="1296" y="134"/>
                    <a:pt x="1297" y="134"/>
                    <a:pt x="1298" y="134"/>
                  </a:cubicBezTo>
                  <a:close/>
                  <a:moveTo>
                    <a:pt x="1295" y="144"/>
                  </a:moveTo>
                  <a:cubicBezTo>
                    <a:pt x="1293" y="145"/>
                    <a:pt x="1292" y="143"/>
                    <a:pt x="1290" y="144"/>
                  </a:cubicBezTo>
                  <a:cubicBezTo>
                    <a:pt x="1288" y="139"/>
                    <a:pt x="1293" y="140"/>
                    <a:pt x="1295" y="144"/>
                  </a:cubicBezTo>
                  <a:close/>
                  <a:moveTo>
                    <a:pt x="1280" y="170"/>
                  </a:moveTo>
                  <a:cubicBezTo>
                    <a:pt x="1283" y="168"/>
                    <a:pt x="1281" y="172"/>
                    <a:pt x="1283" y="173"/>
                  </a:cubicBezTo>
                  <a:cubicBezTo>
                    <a:pt x="1285" y="170"/>
                    <a:pt x="1290" y="168"/>
                    <a:pt x="1291" y="167"/>
                  </a:cubicBezTo>
                  <a:cubicBezTo>
                    <a:pt x="1293" y="169"/>
                    <a:pt x="1290" y="170"/>
                    <a:pt x="1289" y="171"/>
                  </a:cubicBezTo>
                  <a:cubicBezTo>
                    <a:pt x="1292" y="175"/>
                    <a:pt x="1296" y="173"/>
                    <a:pt x="1299" y="171"/>
                  </a:cubicBezTo>
                  <a:cubicBezTo>
                    <a:pt x="1301" y="174"/>
                    <a:pt x="1299" y="177"/>
                    <a:pt x="1301" y="179"/>
                  </a:cubicBezTo>
                  <a:cubicBezTo>
                    <a:pt x="1298" y="179"/>
                    <a:pt x="1299" y="176"/>
                    <a:pt x="1296" y="180"/>
                  </a:cubicBezTo>
                  <a:cubicBezTo>
                    <a:pt x="1295" y="178"/>
                    <a:pt x="1296" y="177"/>
                    <a:pt x="1295" y="174"/>
                  </a:cubicBezTo>
                  <a:cubicBezTo>
                    <a:pt x="1294" y="180"/>
                    <a:pt x="1291" y="184"/>
                    <a:pt x="1285" y="184"/>
                  </a:cubicBezTo>
                  <a:cubicBezTo>
                    <a:pt x="1288" y="181"/>
                    <a:pt x="1289" y="177"/>
                    <a:pt x="1290" y="173"/>
                  </a:cubicBezTo>
                  <a:cubicBezTo>
                    <a:pt x="1286" y="172"/>
                    <a:pt x="1281" y="184"/>
                    <a:pt x="1276" y="177"/>
                  </a:cubicBezTo>
                  <a:cubicBezTo>
                    <a:pt x="1277" y="173"/>
                    <a:pt x="1282" y="176"/>
                    <a:pt x="1280" y="170"/>
                  </a:cubicBezTo>
                  <a:close/>
                  <a:moveTo>
                    <a:pt x="1266" y="138"/>
                  </a:moveTo>
                  <a:cubicBezTo>
                    <a:pt x="1268" y="135"/>
                    <a:pt x="1270" y="138"/>
                    <a:pt x="1271" y="137"/>
                  </a:cubicBezTo>
                  <a:cubicBezTo>
                    <a:pt x="1272" y="140"/>
                    <a:pt x="1268" y="141"/>
                    <a:pt x="1266" y="138"/>
                  </a:cubicBezTo>
                  <a:close/>
                  <a:moveTo>
                    <a:pt x="1271" y="188"/>
                  </a:moveTo>
                  <a:cubicBezTo>
                    <a:pt x="1274" y="187"/>
                    <a:pt x="1276" y="188"/>
                    <a:pt x="1272" y="183"/>
                  </a:cubicBezTo>
                  <a:cubicBezTo>
                    <a:pt x="1274" y="183"/>
                    <a:pt x="1278" y="187"/>
                    <a:pt x="1277" y="182"/>
                  </a:cubicBezTo>
                  <a:cubicBezTo>
                    <a:pt x="1279" y="180"/>
                    <a:pt x="1281" y="184"/>
                    <a:pt x="1283" y="184"/>
                  </a:cubicBezTo>
                  <a:cubicBezTo>
                    <a:pt x="1282" y="186"/>
                    <a:pt x="1281" y="189"/>
                    <a:pt x="1279" y="191"/>
                  </a:cubicBezTo>
                  <a:cubicBezTo>
                    <a:pt x="1275" y="181"/>
                    <a:pt x="1275" y="195"/>
                    <a:pt x="1271" y="188"/>
                  </a:cubicBezTo>
                  <a:close/>
                  <a:moveTo>
                    <a:pt x="1293" y="237"/>
                  </a:moveTo>
                  <a:cubicBezTo>
                    <a:pt x="1293" y="234"/>
                    <a:pt x="1295" y="231"/>
                    <a:pt x="1297" y="232"/>
                  </a:cubicBezTo>
                  <a:cubicBezTo>
                    <a:pt x="1300" y="237"/>
                    <a:pt x="1296" y="237"/>
                    <a:pt x="1293" y="237"/>
                  </a:cubicBezTo>
                  <a:close/>
                  <a:moveTo>
                    <a:pt x="1311" y="221"/>
                  </a:moveTo>
                  <a:cubicBezTo>
                    <a:pt x="1311" y="220"/>
                    <a:pt x="1311" y="219"/>
                    <a:pt x="1311" y="218"/>
                  </a:cubicBezTo>
                  <a:cubicBezTo>
                    <a:pt x="1301" y="219"/>
                    <a:pt x="1300" y="226"/>
                    <a:pt x="1295" y="225"/>
                  </a:cubicBezTo>
                  <a:cubicBezTo>
                    <a:pt x="1291" y="218"/>
                    <a:pt x="1291" y="218"/>
                    <a:pt x="1291" y="218"/>
                  </a:cubicBezTo>
                  <a:cubicBezTo>
                    <a:pt x="1290" y="222"/>
                    <a:pt x="1288" y="220"/>
                    <a:pt x="1285" y="221"/>
                  </a:cubicBezTo>
                  <a:cubicBezTo>
                    <a:pt x="1284" y="215"/>
                    <a:pt x="1282" y="220"/>
                    <a:pt x="1280" y="215"/>
                  </a:cubicBezTo>
                  <a:cubicBezTo>
                    <a:pt x="1283" y="215"/>
                    <a:pt x="1286" y="218"/>
                    <a:pt x="1289" y="219"/>
                  </a:cubicBezTo>
                  <a:cubicBezTo>
                    <a:pt x="1290" y="218"/>
                    <a:pt x="1289" y="216"/>
                    <a:pt x="1291" y="216"/>
                  </a:cubicBezTo>
                  <a:cubicBezTo>
                    <a:pt x="1289" y="213"/>
                    <a:pt x="1288" y="211"/>
                    <a:pt x="1286" y="211"/>
                  </a:cubicBezTo>
                  <a:cubicBezTo>
                    <a:pt x="1285" y="212"/>
                    <a:pt x="1287" y="212"/>
                    <a:pt x="1288" y="214"/>
                  </a:cubicBezTo>
                  <a:cubicBezTo>
                    <a:pt x="1287" y="215"/>
                    <a:pt x="1286" y="214"/>
                    <a:pt x="1284" y="215"/>
                  </a:cubicBezTo>
                  <a:cubicBezTo>
                    <a:pt x="1282" y="212"/>
                    <a:pt x="1286" y="212"/>
                    <a:pt x="1283" y="209"/>
                  </a:cubicBezTo>
                  <a:cubicBezTo>
                    <a:pt x="1280" y="206"/>
                    <a:pt x="1281" y="212"/>
                    <a:pt x="1278" y="210"/>
                  </a:cubicBezTo>
                  <a:cubicBezTo>
                    <a:pt x="1276" y="206"/>
                    <a:pt x="1283" y="206"/>
                    <a:pt x="1279" y="201"/>
                  </a:cubicBezTo>
                  <a:cubicBezTo>
                    <a:pt x="1281" y="199"/>
                    <a:pt x="1283" y="201"/>
                    <a:pt x="1284" y="200"/>
                  </a:cubicBezTo>
                  <a:cubicBezTo>
                    <a:pt x="1283" y="196"/>
                    <a:pt x="1282" y="199"/>
                    <a:pt x="1280" y="199"/>
                  </a:cubicBezTo>
                  <a:cubicBezTo>
                    <a:pt x="1278" y="195"/>
                    <a:pt x="1278" y="195"/>
                    <a:pt x="1278" y="195"/>
                  </a:cubicBezTo>
                  <a:cubicBezTo>
                    <a:pt x="1280" y="193"/>
                    <a:pt x="1282" y="193"/>
                    <a:pt x="1284" y="192"/>
                  </a:cubicBezTo>
                  <a:cubicBezTo>
                    <a:pt x="1284" y="192"/>
                    <a:pt x="1284" y="188"/>
                    <a:pt x="1283" y="188"/>
                  </a:cubicBezTo>
                  <a:cubicBezTo>
                    <a:pt x="1286" y="185"/>
                    <a:pt x="1291" y="184"/>
                    <a:pt x="1296" y="187"/>
                  </a:cubicBezTo>
                  <a:cubicBezTo>
                    <a:pt x="1298" y="185"/>
                    <a:pt x="1291" y="182"/>
                    <a:pt x="1294" y="182"/>
                  </a:cubicBezTo>
                  <a:cubicBezTo>
                    <a:pt x="1296" y="182"/>
                    <a:pt x="1300" y="187"/>
                    <a:pt x="1302" y="190"/>
                  </a:cubicBezTo>
                  <a:cubicBezTo>
                    <a:pt x="1296" y="192"/>
                    <a:pt x="1291" y="190"/>
                    <a:pt x="1286" y="191"/>
                  </a:cubicBezTo>
                  <a:cubicBezTo>
                    <a:pt x="1289" y="194"/>
                    <a:pt x="1292" y="192"/>
                    <a:pt x="1295" y="192"/>
                  </a:cubicBezTo>
                  <a:cubicBezTo>
                    <a:pt x="1296" y="197"/>
                    <a:pt x="1297" y="194"/>
                    <a:pt x="1299" y="195"/>
                  </a:cubicBezTo>
                  <a:cubicBezTo>
                    <a:pt x="1301" y="201"/>
                    <a:pt x="1295" y="200"/>
                    <a:pt x="1293" y="204"/>
                  </a:cubicBezTo>
                  <a:cubicBezTo>
                    <a:pt x="1297" y="207"/>
                    <a:pt x="1302" y="203"/>
                    <a:pt x="1304" y="198"/>
                  </a:cubicBezTo>
                  <a:cubicBezTo>
                    <a:pt x="1307" y="201"/>
                    <a:pt x="1304" y="202"/>
                    <a:pt x="1307" y="205"/>
                  </a:cubicBezTo>
                  <a:cubicBezTo>
                    <a:pt x="1309" y="206"/>
                    <a:pt x="1309" y="204"/>
                    <a:pt x="1311" y="203"/>
                  </a:cubicBezTo>
                  <a:cubicBezTo>
                    <a:pt x="1314" y="207"/>
                    <a:pt x="1309" y="208"/>
                    <a:pt x="1307" y="210"/>
                  </a:cubicBezTo>
                  <a:cubicBezTo>
                    <a:pt x="1308" y="209"/>
                    <a:pt x="1306" y="204"/>
                    <a:pt x="1303" y="205"/>
                  </a:cubicBezTo>
                  <a:cubicBezTo>
                    <a:pt x="1303" y="211"/>
                    <a:pt x="1299" y="212"/>
                    <a:pt x="1298" y="218"/>
                  </a:cubicBezTo>
                  <a:cubicBezTo>
                    <a:pt x="1303" y="220"/>
                    <a:pt x="1301" y="212"/>
                    <a:pt x="1306" y="211"/>
                  </a:cubicBezTo>
                  <a:cubicBezTo>
                    <a:pt x="1306" y="215"/>
                    <a:pt x="1307" y="210"/>
                    <a:pt x="1310" y="213"/>
                  </a:cubicBezTo>
                  <a:cubicBezTo>
                    <a:pt x="1312" y="216"/>
                    <a:pt x="1313" y="219"/>
                    <a:pt x="1311" y="221"/>
                  </a:cubicBezTo>
                  <a:close/>
                  <a:moveTo>
                    <a:pt x="1327" y="217"/>
                  </a:moveTo>
                  <a:cubicBezTo>
                    <a:pt x="1325" y="212"/>
                    <a:pt x="1325" y="212"/>
                    <a:pt x="1325" y="212"/>
                  </a:cubicBezTo>
                  <a:cubicBezTo>
                    <a:pt x="1326" y="212"/>
                    <a:pt x="1326" y="211"/>
                    <a:pt x="1326" y="210"/>
                  </a:cubicBezTo>
                  <a:cubicBezTo>
                    <a:pt x="1328" y="210"/>
                    <a:pt x="1330" y="216"/>
                    <a:pt x="1327" y="217"/>
                  </a:cubicBezTo>
                  <a:close/>
                  <a:moveTo>
                    <a:pt x="1333" y="859"/>
                  </a:moveTo>
                  <a:cubicBezTo>
                    <a:pt x="1333" y="859"/>
                    <a:pt x="1333" y="859"/>
                    <a:pt x="1333" y="859"/>
                  </a:cubicBezTo>
                  <a:cubicBezTo>
                    <a:pt x="1336" y="857"/>
                    <a:pt x="1338" y="856"/>
                    <a:pt x="1340" y="855"/>
                  </a:cubicBezTo>
                  <a:cubicBezTo>
                    <a:pt x="1339" y="857"/>
                    <a:pt x="1336" y="858"/>
                    <a:pt x="1333" y="859"/>
                  </a:cubicBezTo>
                  <a:close/>
                  <a:moveTo>
                    <a:pt x="1358" y="196"/>
                  </a:moveTo>
                  <a:cubicBezTo>
                    <a:pt x="1353" y="187"/>
                    <a:pt x="1363" y="192"/>
                    <a:pt x="1358" y="196"/>
                  </a:cubicBezTo>
                  <a:close/>
                  <a:moveTo>
                    <a:pt x="1361" y="200"/>
                  </a:moveTo>
                  <a:cubicBezTo>
                    <a:pt x="1359" y="197"/>
                    <a:pt x="1364" y="194"/>
                    <a:pt x="1366" y="199"/>
                  </a:cubicBezTo>
                  <a:cubicBezTo>
                    <a:pt x="1364" y="200"/>
                    <a:pt x="1363" y="198"/>
                    <a:pt x="1361" y="200"/>
                  </a:cubicBezTo>
                  <a:close/>
                  <a:moveTo>
                    <a:pt x="1663" y="1061"/>
                  </a:moveTo>
                  <a:cubicBezTo>
                    <a:pt x="1665" y="1065"/>
                    <a:pt x="1665" y="1065"/>
                    <a:pt x="1665" y="1065"/>
                  </a:cubicBezTo>
                  <a:cubicBezTo>
                    <a:pt x="1662" y="1068"/>
                    <a:pt x="1662" y="1064"/>
                    <a:pt x="1660" y="1064"/>
                  </a:cubicBezTo>
                  <a:cubicBezTo>
                    <a:pt x="1659" y="1063"/>
                    <a:pt x="1662" y="1062"/>
                    <a:pt x="1663" y="1061"/>
                  </a:cubicBezTo>
                  <a:close/>
                  <a:moveTo>
                    <a:pt x="1644" y="1064"/>
                  </a:moveTo>
                  <a:cubicBezTo>
                    <a:pt x="1648" y="1064"/>
                    <a:pt x="1644" y="1067"/>
                    <a:pt x="1645" y="1068"/>
                  </a:cubicBezTo>
                  <a:cubicBezTo>
                    <a:pt x="1649" y="1070"/>
                    <a:pt x="1646" y="1061"/>
                    <a:pt x="1653" y="1060"/>
                  </a:cubicBezTo>
                  <a:cubicBezTo>
                    <a:pt x="1651" y="1066"/>
                    <a:pt x="1649" y="1074"/>
                    <a:pt x="1641" y="1071"/>
                  </a:cubicBezTo>
                  <a:cubicBezTo>
                    <a:pt x="1639" y="1067"/>
                    <a:pt x="1639" y="1067"/>
                    <a:pt x="1639" y="1067"/>
                  </a:cubicBezTo>
                  <a:cubicBezTo>
                    <a:pt x="1640" y="1065"/>
                    <a:pt x="1645" y="1068"/>
                    <a:pt x="1644" y="1064"/>
                  </a:cubicBezTo>
                  <a:close/>
                  <a:moveTo>
                    <a:pt x="1602" y="1085"/>
                  </a:moveTo>
                  <a:cubicBezTo>
                    <a:pt x="1601" y="1089"/>
                    <a:pt x="1592" y="1094"/>
                    <a:pt x="1588" y="1090"/>
                  </a:cubicBezTo>
                  <a:cubicBezTo>
                    <a:pt x="1593" y="1088"/>
                    <a:pt x="1598" y="1084"/>
                    <a:pt x="1602" y="1085"/>
                  </a:cubicBezTo>
                  <a:close/>
                  <a:moveTo>
                    <a:pt x="1591" y="1080"/>
                  </a:moveTo>
                  <a:cubicBezTo>
                    <a:pt x="1592" y="1083"/>
                    <a:pt x="1587" y="1085"/>
                    <a:pt x="1583" y="1086"/>
                  </a:cubicBezTo>
                  <a:cubicBezTo>
                    <a:pt x="1582" y="1081"/>
                    <a:pt x="1587" y="1081"/>
                    <a:pt x="1591" y="1080"/>
                  </a:cubicBezTo>
                  <a:close/>
                  <a:moveTo>
                    <a:pt x="1586" y="1091"/>
                  </a:moveTo>
                  <a:cubicBezTo>
                    <a:pt x="1586" y="1093"/>
                    <a:pt x="1583" y="1094"/>
                    <a:pt x="1581" y="1096"/>
                  </a:cubicBezTo>
                  <a:cubicBezTo>
                    <a:pt x="1578" y="1092"/>
                    <a:pt x="1584" y="1090"/>
                    <a:pt x="1586" y="1091"/>
                  </a:cubicBezTo>
                  <a:close/>
                  <a:moveTo>
                    <a:pt x="1577" y="1083"/>
                  </a:moveTo>
                  <a:cubicBezTo>
                    <a:pt x="1579" y="1086"/>
                    <a:pt x="1578" y="1088"/>
                    <a:pt x="1575" y="1089"/>
                  </a:cubicBezTo>
                  <a:cubicBezTo>
                    <a:pt x="1573" y="1086"/>
                    <a:pt x="1574" y="1084"/>
                    <a:pt x="1577" y="1083"/>
                  </a:cubicBezTo>
                  <a:close/>
                  <a:moveTo>
                    <a:pt x="1579" y="1094"/>
                  </a:moveTo>
                  <a:cubicBezTo>
                    <a:pt x="1580" y="1103"/>
                    <a:pt x="1564" y="1099"/>
                    <a:pt x="1565" y="1095"/>
                  </a:cubicBezTo>
                  <a:cubicBezTo>
                    <a:pt x="1570" y="1097"/>
                    <a:pt x="1574" y="1096"/>
                    <a:pt x="1579" y="1094"/>
                  </a:cubicBezTo>
                  <a:close/>
                  <a:moveTo>
                    <a:pt x="1571" y="1103"/>
                  </a:moveTo>
                  <a:cubicBezTo>
                    <a:pt x="1573" y="1104"/>
                    <a:pt x="1567" y="1106"/>
                    <a:pt x="1563" y="1108"/>
                  </a:cubicBezTo>
                  <a:cubicBezTo>
                    <a:pt x="1562" y="1103"/>
                    <a:pt x="1568" y="1102"/>
                    <a:pt x="1571" y="1103"/>
                  </a:cubicBezTo>
                  <a:close/>
                  <a:moveTo>
                    <a:pt x="1549" y="1103"/>
                  </a:moveTo>
                  <a:cubicBezTo>
                    <a:pt x="1549" y="1098"/>
                    <a:pt x="1554" y="1095"/>
                    <a:pt x="1561" y="1092"/>
                  </a:cubicBezTo>
                  <a:cubicBezTo>
                    <a:pt x="1563" y="1095"/>
                    <a:pt x="1560" y="1099"/>
                    <a:pt x="1564" y="1099"/>
                  </a:cubicBezTo>
                  <a:cubicBezTo>
                    <a:pt x="1559" y="1101"/>
                    <a:pt x="1557" y="1101"/>
                    <a:pt x="1549" y="1103"/>
                  </a:cubicBezTo>
                  <a:close/>
                  <a:moveTo>
                    <a:pt x="1876" y="926"/>
                  </a:moveTo>
                  <a:cubicBezTo>
                    <a:pt x="1877" y="931"/>
                    <a:pt x="1872" y="929"/>
                    <a:pt x="1870" y="929"/>
                  </a:cubicBezTo>
                  <a:cubicBezTo>
                    <a:pt x="1869" y="926"/>
                    <a:pt x="1875" y="926"/>
                    <a:pt x="1876" y="926"/>
                  </a:cubicBezTo>
                  <a:close/>
                  <a:moveTo>
                    <a:pt x="1706" y="1009"/>
                  </a:moveTo>
                  <a:cubicBezTo>
                    <a:pt x="1708" y="1009"/>
                    <a:pt x="1708" y="1011"/>
                    <a:pt x="1709" y="1010"/>
                  </a:cubicBezTo>
                  <a:cubicBezTo>
                    <a:pt x="1708" y="1012"/>
                    <a:pt x="1704" y="1015"/>
                    <a:pt x="1701" y="1018"/>
                  </a:cubicBezTo>
                  <a:cubicBezTo>
                    <a:pt x="1702" y="1017"/>
                    <a:pt x="1702" y="1016"/>
                    <a:pt x="1701" y="1014"/>
                  </a:cubicBezTo>
                  <a:cubicBezTo>
                    <a:pt x="1704" y="1013"/>
                    <a:pt x="1706" y="1012"/>
                    <a:pt x="1706" y="1009"/>
                  </a:cubicBezTo>
                  <a:close/>
                  <a:moveTo>
                    <a:pt x="1601" y="1047"/>
                  </a:moveTo>
                  <a:cubicBezTo>
                    <a:pt x="1597" y="1045"/>
                    <a:pt x="1596" y="1051"/>
                    <a:pt x="1593" y="1049"/>
                  </a:cubicBezTo>
                  <a:cubicBezTo>
                    <a:pt x="1591" y="1045"/>
                    <a:pt x="1601" y="1042"/>
                    <a:pt x="1601" y="1047"/>
                  </a:cubicBezTo>
                  <a:close/>
                  <a:moveTo>
                    <a:pt x="1486" y="1148"/>
                  </a:moveTo>
                  <a:cubicBezTo>
                    <a:pt x="1485" y="1148"/>
                    <a:pt x="1484" y="1147"/>
                    <a:pt x="1483" y="1146"/>
                  </a:cubicBezTo>
                  <a:cubicBezTo>
                    <a:pt x="1483" y="1146"/>
                    <a:pt x="1483" y="1146"/>
                    <a:pt x="1486" y="1148"/>
                  </a:cubicBezTo>
                  <a:close/>
                  <a:moveTo>
                    <a:pt x="1556" y="745"/>
                  </a:moveTo>
                  <a:cubicBezTo>
                    <a:pt x="1554" y="741"/>
                    <a:pt x="1554" y="741"/>
                    <a:pt x="1554" y="741"/>
                  </a:cubicBezTo>
                  <a:cubicBezTo>
                    <a:pt x="1559" y="739"/>
                    <a:pt x="1559" y="739"/>
                    <a:pt x="1559" y="739"/>
                  </a:cubicBezTo>
                  <a:cubicBezTo>
                    <a:pt x="1560" y="742"/>
                    <a:pt x="1559" y="744"/>
                    <a:pt x="1556" y="745"/>
                  </a:cubicBezTo>
                  <a:close/>
                  <a:moveTo>
                    <a:pt x="1728" y="649"/>
                  </a:moveTo>
                  <a:cubicBezTo>
                    <a:pt x="1725" y="661"/>
                    <a:pt x="1707" y="660"/>
                    <a:pt x="1697" y="668"/>
                  </a:cubicBezTo>
                  <a:cubicBezTo>
                    <a:pt x="1701" y="657"/>
                    <a:pt x="1720" y="654"/>
                    <a:pt x="1728" y="649"/>
                  </a:cubicBezTo>
                  <a:close/>
                  <a:moveTo>
                    <a:pt x="1575" y="481"/>
                  </a:moveTo>
                  <a:cubicBezTo>
                    <a:pt x="1575" y="482"/>
                    <a:pt x="1575" y="482"/>
                    <a:pt x="1575" y="482"/>
                  </a:cubicBezTo>
                  <a:cubicBezTo>
                    <a:pt x="1575" y="482"/>
                    <a:pt x="1575" y="482"/>
                    <a:pt x="1575" y="482"/>
                  </a:cubicBezTo>
                  <a:cubicBezTo>
                    <a:pt x="1575" y="482"/>
                    <a:pt x="1575" y="482"/>
                    <a:pt x="1575" y="481"/>
                  </a:cubicBezTo>
                  <a:close/>
                  <a:moveTo>
                    <a:pt x="1575" y="485"/>
                  </a:moveTo>
                  <a:cubicBezTo>
                    <a:pt x="1576" y="485"/>
                    <a:pt x="1576" y="485"/>
                    <a:pt x="1577" y="485"/>
                  </a:cubicBezTo>
                  <a:cubicBezTo>
                    <a:pt x="1577" y="487"/>
                    <a:pt x="1576" y="488"/>
                    <a:pt x="1575" y="489"/>
                  </a:cubicBezTo>
                  <a:cubicBezTo>
                    <a:pt x="1575" y="488"/>
                    <a:pt x="1575" y="487"/>
                    <a:pt x="1575" y="485"/>
                  </a:cubicBezTo>
                  <a:close/>
                  <a:moveTo>
                    <a:pt x="1541" y="445"/>
                  </a:moveTo>
                  <a:cubicBezTo>
                    <a:pt x="1542" y="447"/>
                    <a:pt x="1544" y="447"/>
                    <a:pt x="1545" y="448"/>
                  </a:cubicBezTo>
                  <a:cubicBezTo>
                    <a:pt x="1545" y="448"/>
                    <a:pt x="1545" y="448"/>
                    <a:pt x="1545" y="449"/>
                  </a:cubicBezTo>
                  <a:cubicBezTo>
                    <a:pt x="1546" y="449"/>
                    <a:pt x="1548" y="449"/>
                    <a:pt x="1549" y="449"/>
                  </a:cubicBezTo>
                  <a:cubicBezTo>
                    <a:pt x="1549" y="450"/>
                    <a:pt x="1549" y="450"/>
                    <a:pt x="1549" y="450"/>
                  </a:cubicBezTo>
                  <a:cubicBezTo>
                    <a:pt x="1547" y="451"/>
                    <a:pt x="1545" y="453"/>
                    <a:pt x="1545" y="455"/>
                  </a:cubicBezTo>
                  <a:cubicBezTo>
                    <a:pt x="1543" y="456"/>
                    <a:pt x="1542" y="456"/>
                    <a:pt x="1540" y="457"/>
                  </a:cubicBezTo>
                  <a:cubicBezTo>
                    <a:pt x="1540" y="455"/>
                    <a:pt x="1540" y="454"/>
                    <a:pt x="1540" y="452"/>
                  </a:cubicBezTo>
                  <a:cubicBezTo>
                    <a:pt x="1541" y="452"/>
                    <a:pt x="1541" y="452"/>
                    <a:pt x="1541" y="452"/>
                  </a:cubicBezTo>
                  <a:cubicBezTo>
                    <a:pt x="1541" y="452"/>
                    <a:pt x="1541" y="452"/>
                    <a:pt x="1541" y="452"/>
                  </a:cubicBezTo>
                  <a:cubicBezTo>
                    <a:pt x="1541" y="451"/>
                    <a:pt x="1541" y="450"/>
                    <a:pt x="1541" y="449"/>
                  </a:cubicBezTo>
                  <a:cubicBezTo>
                    <a:pt x="1538" y="445"/>
                    <a:pt x="1539" y="451"/>
                    <a:pt x="1538" y="450"/>
                  </a:cubicBezTo>
                  <a:cubicBezTo>
                    <a:pt x="1538" y="449"/>
                    <a:pt x="1539" y="447"/>
                    <a:pt x="1539" y="447"/>
                  </a:cubicBezTo>
                  <a:cubicBezTo>
                    <a:pt x="1538" y="447"/>
                    <a:pt x="1538" y="447"/>
                    <a:pt x="1537" y="447"/>
                  </a:cubicBezTo>
                  <a:cubicBezTo>
                    <a:pt x="1538" y="446"/>
                    <a:pt x="1540" y="446"/>
                    <a:pt x="1541" y="445"/>
                  </a:cubicBezTo>
                  <a:close/>
                  <a:moveTo>
                    <a:pt x="1546" y="457"/>
                  </a:moveTo>
                  <a:cubicBezTo>
                    <a:pt x="1544" y="459"/>
                    <a:pt x="1542" y="458"/>
                    <a:pt x="1541" y="459"/>
                  </a:cubicBezTo>
                  <a:cubicBezTo>
                    <a:pt x="1541" y="459"/>
                    <a:pt x="1541" y="458"/>
                    <a:pt x="1541" y="458"/>
                  </a:cubicBezTo>
                  <a:cubicBezTo>
                    <a:pt x="1542" y="457"/>
                    <a:pt x="1544" y="457"/>
                    <a:pt x="1545" y="456"/>
                  </a:cubicBezTo>
                  <a:cubicBezTo>
                    <a:pt x="1545" y="456"/>
                    <a:pt x="1545" y="457"/>
                    <a:pt x="1546" y="457"/>
                  </a:cubicBezTo>
                  <a:close/>
                  <a:moveTo>
                    <a:pt x="1534" y="722"/>
                  </a:moveTo>
                  <a:cubicBezTo>
                    <a:pt x="1539" y="721"/>
                    <a:pt x="1538" y="726"/>
                    <a:pt x="1539" y="730"/>
                  </a:cubicBezTo>
                  <a:cubicBezTo>
                    <a:pt x="1536" y="731"/>
                    <a:pt x="1534" y="724"/>
                    <a:pt x="1534" y="722"/>
                  </a:cubicBezTo>
                  <a:close/>
                  <a:moveTo>
                    <a:pt x="1533" y="733"/>
                  </a:moveTo>
                  <a:cubicBezTo>
                    <a:pt x="1532" y="729"/>
                    <a:pt x="1530" y="730"/>
                    <a:pt x="1529" y="727"/>
                  </a:cubicBezTo>
                  <a:cubicBezTo>
                    <a:pt x="1532" y="726"/>
                    <a:pt x="1533" y="729"/>
                    <a:pt x="1536" y="730"/>
                  </a:cubicBezTo>
                  <a:cubicBezTo>
                    <a:pt x="1536" y="731"/>
                    <a:pt x="1534" y="732"/>
                    <a:pt x="1533" y="733"/>
                  </a:cubicBezTo>
                  <a:close/>
                  <a:moveTo>
                    <a:pt x="1532" y="472"/>
                  </a:moveTo>
                  <a:cubicBezTo>
                    <a:pt x="1532" y="474"/>
                    <a:pt x="1531" y="476"/>
                    <a:pt x="1530" y="478"/>
                  </a:cubicBezTo>
                  <a:cubicBezTo>
                    <a:pt x="1529" y="477"/>
                    <a:pt x="1527" y="475"/>
                    <a:pt x="1526" y="473"/>
                  </a:cubicBezTo>
                  <a:cubicBezTo>
                    <a:pt x="1528" y="469"/>
                    <a:pt x="1530" y="473"/>
                    <a:pt x="1532" y="472"/>
                  </a:cubicBezTo>
                  <a:close/>
                  <a:moveTo>
                    <a:pt x="1513" y="364"/>
                  </a:moveTo>
                  <a:cubicBezTo>
                    <a:pt x="1521" y="369"/>
                    <a:pt x="1521" y="375"/>
                    <a:pt x="1529" y="380"/>
                  </a:cubicBezTo>
                  <a:cubicBezTo>
                    <a:pt x="1525" y="381"/>
                    <a:pt x="1530" y="386"/>
                    <a:pt x="1526" y="387"/>
                  </a:cubicBezTo>
                  <a:cubicBezTo>
                    <a:pt x="1525" y="383"/>
                    <a:pt x="1524" y="380"/>
                    <a:pt x="1521" y="378"/>
                  </a:cubicBezTo>
                  <a:cubicBezTo>
                    <a:pt x="1519" y="381"/>
                    <a:pt x="1519" y="383"/>
                    <a:pt x="1516" y="381"/>
                  </a:cubicBezTo>
                  <a:cubicBezTo>
                    <a:pt x="1513" y="376"/>
                    <a:pt x="1518" y="378"/>
                    <a:pt x="1519" y="375"/>
                  </a:cubicBezTo>
                  <a:cubicBezTo>
                    <a:pt x="1517" y="372"/>
                    <a:pt x="1515" y="374"/>
                    <a:pt x="1513" y="373"/>
                  </a:cubicBezTo>
                  <a:cubicBezTo>
                    <a:pt x="1511" y="370"/>
                    <a:pt x="1512" y="366"/>
                    <a:pt x="1513" y="364"/>
                  </a:cubicBezTo>
                  <a:close/>
                  <a:moveTo>
                    <a:pt x="1498" y="358"/>
                  </a:moveTo>
                  <a:cubicBezTo>
                    <a:pt x="1500" y="362"/>
                    <a:pt x="1502" y="366"/>
                    <a:pt x="1505" y="363"/>
                  </a:cubicBezTo>
                  <a:cubicBezTo>
                    <a:pt x="1506" y="368"/>
                    <a:pt x="1508" y="369"/>
                    <a:pt x="1511" y="373"/>
                  </a:cubicBezTo>
                  <a:cubicBezTo>
                    <a:pt x="1508" y="374"/>
                    <a:pt x="1506" y="371"/>
                    <a:pt x="1503" y="370"/>
                  </a:cubicBezTo>
                  <a:cubicBezTo>
                    <a:pt x="1503" y="377"/>
                    <a:pt x="1497" y="375"/>
                    <a:pt x="1497" y="379"/>
                  </a:cubicBezTo>
                  <a:cubicBezTo>
                    <a:pt x="1495" y="379"/>
                    <a:pt x="1492" y="376"/>
                    <a:pt x="1490" y="373"/>
                  </a:cubicBezTo>
                  <a:cubicBezTo>
                    <a:pt x="1489" y="377"/>
                    <a:pt x="1487" y="377"/>
                    <a:pt x="1483" y="373"/>
                  </a:cubicBezTo>
                  <a:cubicBezTo>
                    <a:pt x="1483" y="371"/>
                    <a:pt x="1485" y="370"/>
                    <a:pt x="1486" y="372"/>
                  </a:cubicBezTo>
                  <a:cubicBezTo>
                    <a:pt x="1487" y="368"/>
                    <a:pt x="1481" y="371"/>
                    <a:pt x="1479" y="366"/>
                  </a:cubicBezTo>
                  <a:cubicBezTo>
                    <a:pt x="1487" y="366"/>
                    <a:pt x="1489" y="356"/>
                    <a:pt x="1498" y="358"/>
                  </a:cubicBezTo>
                  <a:close/>
                  <a:moveTo>
                    <a:pt x="1466" y="387"/>
                  </a:moveTo>
                  <a:cubicBezTo>
                    <a:pt x="1465" y="385"/>
                    <a:pt x="1464" y="386"/>
                    <a:pt x="1463" y="387"/>
                  </a:cubicBezTo>
                  <a:cubicBezTo>
                    <a:pt x="1462" y="373"/>
                    <a:pt x="1472" y="382"/>
                    <a:pt x="1478" y="371"/>
                  </a:cubicBezTo>
                  <a:cubicBezTo>
                    <a:pt x="1480" y="373"/>
                    <a:pt x="1482" y="376"/>
                    <a:pt x="1485" y="379"/>
                  </a:cubicBezTo>
                  <a:cubicBezTo>
                    <a:pt x="1485" y="378"/>
                    <a:pt x="1484" y="376"/>
                    <a:pt x="1485" y="376"/>
                  </a:cubicBezTo>
                  <a:cubicBezTo>
                    <a:pt x="1486" y="383"/>
                    <a:pt x="1491" y="380"/>
                    <a:pt x="1494" y="385"/>
                  </a:cubicBezTo>
                  <a:cubicBezTo>
                    <a:pt x="1484" y="387"/>
                    <a:pt x="1474" y="402"/>
                    <a:pt x="1464" y="393"/>
                  </a:cubicBezTo>
                  <a:cubicBezTo>
                    <a:pt x="1462" y="396"/>
                    <a:pt x="1461" y="396"/>
                    <a:pt x="1458" y="395"/>
                  </a:cubicBezTo>
                  <a:cubicBezTo>
                    <a:pt x="1456" y="397"/>
                    <a:pt x="1460" y="397"/>
                    <a:pt x="1460" y="399"/>
                  </a:cubicBezTo>
                  <a:cubicBezTo>
                    <a:pt x="1457" y="399"/>
                    <a:pt x="1453" y="399"/>
                    <a:pt x="1450" y="395"/>
                  </a:cubicBezTo>
                  <a:cubicBezTo>
                    <a:pt x="1458" y="391"/>
                    <a:pt x="1460" y="388"/>
                    <a:pt x="1466" y="387"/>
                  </a:cubicBezTo>
                  <a:close/>
                  <a:moveTo>
                    <a:pt x="1431" y="186"/>
                  </a:moveTo>
                  <a:cubicBezTo>
                    <a:pt x="1431" y="190"/>
                    <a:pt x="1430" y="193"/>
                    <a:pt x="1426" y="191"/>
                  </a:cubicBezTo>
                  <a:cubicBezTo>
                    <a:pt x="1425" y="186"/>
                    <a:pt x="1428" y="189"/>
                    <a:pt x="1431" y="186"/>
                  </a:cubicBezTo>
                  <a:close/>
                  <a:moveTo>
                    <a:pt x="1415" y="198"/>
                  </a:moveTo>
                  <a:cubicBezTo>
                    <a:pt x="1416" y="198"/>
                    <a:pt x="1416" y="193"/>
                    <a:pt x="1414" y="194"/>
                  </a:cubicBezTo>
                  <a:cubicBezTo>
                    <a:pt x="1414" y="191"/>
                    <a:pt x="1419" y="192"/>
                    <a:pt x="1422" y="192"/>
                  </a:cubicBezTo>
                  <a:cubicBezTo>
                    <a:pt x="1424" y="197"/>
                    <a:pt x="1417" y="196"/>
                    <a:pt x="1416" y="196"/>
                  </a:cubicBezTo>
                  <a:cubicBezTo>
                    <a:pt x="1419" y="199"/>
                    <a:pt x="1421" y="197"/>
                    <a:pt x="1421" y="202"/>
                  </a:cubicBezTo>
                  <a:cubicBezTo>
                    <a:pt x="1425" y="203"/>
                    <a:pt x="1427" y="195"/>
                    <a:pt x="1432" y="203"/>
                  </a:cubicBezTo>
                  <a:cubicBezTo>
                    <a:pt x="1427" y="206"/>
                    <a:pt x="1423" y="212"/>
                    <a:pt x="1415" y="207"/>
                  </a:cubicBezTo>
                  <a:cubicBezTo>
                    <a:pt x="1414" y="207"/>
                    <a:pt x="1412" y="209"/>
                    <a:pt x="1410" y="206"/>
                  </a:cubicBezTo>
                  <a:cubicBezTo>
                    <a:pt x="1412" y="205"/>
                    <a:pt x="1414" y="202"/>
                    <a:pt x="1415" y="207"/>
                  </a:cubicBezTo>
                  <a:cubicBezTo>
                    <a:pt x="1414" y="204"/>
                    <a:pt x="1417" y="203"/>
                    <a:pt x="1418" y="201"/>
                  </a:cubicBezTo>
                  <a:cubicBezTo>
                    <a:pt x="1413" y="200"/>
                    <a:pt x="1408" y="200"/>
                    <a:pt x="1407" y="206"/>
                  </a:cubicBezTo>
                  <a:cubicBezTo>
                    <a:pt x="1402" y="200"/>
                    <a:pt x="1410" y="195"/>
                    <a:pt x="1415" y="198"/>
                  </a:cubicBezTo>
                  <a:close/>
                  <a:moveTo>
                    <a:pt x="1398" y="190"/>
                  </a:moveTo>
                  <a:cubicBezTo>
                    <a:pt x="1397" y="192"/>
                    <a:pt x="1396" y="192"/>
                    <a:pt x="1394" y="191"/>
                  </a:cubicBezTo>
                  <a:cubicBezTo>
                    <a:pt x="1392" y="188"/>
                    <a:pt x="1397" y="187"/>
                    <a:pt x="1398" y="190"/>
                  </a:cubicBezTo>
                  <a:close/>
                  <a:moveTo>
                    <a:pt x="1387" y="822"/>
                  </a:moveTo>
                  <a:cubicBezTo>
                    <a:pt x="1386" y="820"/>
                    <a:pt x="1386" y="819"/>
                    <a:pt x="1386" y="818"/>
                  </a:cubicBezTo>
                  <a:cubicBezTo>
                    <a:pt x="1386" y="818"/>
                    <a:pt x="1387" y="818"/>
                    <a:pt x="1387" y="818"/>
                  </a:cubicBezTo>
                  <a:cubicBezTo>
                    <a:pt x="1389" y="820"/>
                    <a:pt x="1389" y="822"/>
                    <a:pt x="1387" y="822"/>
                  </a:cubicBezTo>
                  <a:close/>
                  <a:moveTo>
                    <a:pt x="1386" y="830"/>
                  </a:moveTo>
                  <a:cubicBezTo>
                    <a:pt x="1385" y="827"/>
                    <a:pt x="1386" y="825"/>
                    <a:pt x="1387" y="823"/>
                  </a:cubicBezTo>
                  <a:cubicBezTo>
                    <a:pt x="1389" y="827"/>
                    <a:pt x="1388" y="828"/>
                    <a:pt x="1386" y="830"/>
                  </a:cubicBezTo>
                  <a:close/>
                  <a:moveTo>
                    <a:pt x="1385" y="814"/>
                  </a:moveTo>
                  <a:cubicBezTo>
                    <a:pt x="1385" y="815"/>
                    <a:pt x="1386" y="816"/>
                    <a:pt x="1387" y="817"/>
                  </a:cubicBezTo>
                  <a:cubicBezTo>
                    <a:pt x="1386" y="817"/>
                    <a:pt x="1386" y="817"/>
                    <a:pt x="1385" y="818"/>
                  </a:cubicBezTo>
                  <a:cubicBezTo>
                    <a:pt x="1385" y="817"/>
                    <a:pt x="1384" y="818"/>
                    <a:pt x="1381" y="818"/>
                  </a:cubicBezTo>
                  <a:cubicBezTo>
                    <a:pt x="1380" y="816"/>
                    <a:pt x="1380" y="815"/>
                    <a:pt x="1380" y="813"/>
                  </a:cubicBezTo>
                  <a:cubicBezTo>
                    <a:pt x="1383" y="812"/>
                    <a:pt x="1387" y="811"/>
                    <a:pt x="1390" y="810"/>
                  </a:cubicBezTo>
                  <a:cubicBezTo>
                    <a:pt x="1390" y="814"/>
                    <a:pt x="1388" y="815"/>
                    <a:pt x="1385" y="814"/>
                  </a:cubicBezTo>
                  <a:close/>
                  <a:moveTo>
                    <a:pt x="1377" y="815"/>
                  </a:moveTo>
                  <a:cubicBezTo>
                    <a:pt x="1377" y="815"/>
                    <a:pt x="1377" y="815"/>
                    <a:pt x="1377" y="816"/>
                  </a:cubicBezTo>
                  <a:cubicBezTo>
                    <a:pt x="1377" y="816"/>
                    <a:pt x="1377" y="815"/>
                    <a:pt x="1377" y="815"/>
                  </a:cubicBezTo>
                  <a:cubicBezTo>
                    <a:pt x="1377" y="815"/>
                    <a:pt x="1377" y="815"/>
                    <a:pt x="1377" y="815"/>
                  </a:cubicBezTo>
                  <a:close/>
                  <a:moveTo>
                    <a:pt x="1374" y="1226"/>
                  </a:moveTo>
                  <a:cubicBezTo>
                    <a:pt x="1377" y="1224"/>
                    <a:pt x="1377" y="1224"/>
                    <a:pt x="1377" y="1224"/>
                  </a:cubicBezTo>
                  <a:cubicBezTo>
                    <a:pt x="1378" y="1223"/>
                    <a:pt x="1380" y="1222"/>
                    <a:pt x="1377" y="1219"/>
                  </a:cubicBezTo>
                  <a:cubicBezTo>
                    <a:pt x="1387" y="1216"/>
                    <a:pt x="1398" y="1211"/>
                    <a:pt x="1408" y="1206"/>
                  </a:cubicBezTo>
                  <a:cubicBezTo>
                    <a:pt x="1412" y="1205"/>
                    <a:pt x="1415" y="1202"/>
                    <a:pt x="1418" y="1199"/>
                  </a:cubicBezTo>
                  <a:cubicBezTo>
                    <a:pt x="1425" y="1203"/>
                    <a:pt x="1433" y="1206"/>
                    <a:pt x="1441" y="1207"/>
                  </a:cubicBezTo>
                  <a:cubicBezTo>
                    <a:pt x="1430" y="1209"/>
                    <a:pt x="1419" y="1214"/>
                    <a:pt x="1409" y="1217"/>
                  </a:cubicBezTo>
                  <a:cubicBezTo>
                    <a:pt x="1397" y="1220"/>
                    <a:pt x="1385" y="1223"/>
                    <a:pt x="1374" y="1226"/>
                  </a:cubicBezTo>
                  <a:close/>
                  <a:moveTo>
                    <a:pt x="1392" y="817"/>
                  </a:moveTo>
                  <a:cubicBezTo>
                    <a:pt x="1393" y="816"/>
                    <a:pt x="1394" y="816"/>
                    <a:pt x="1395" y="816"/>
                  </a:cubicBezTo>
                  <a:cubicBezTo>
                    <a:pt x="1396" y="818"/>
                    <a:pt x="1397" y="818"/>
                    <a:pt x="1399" y="821"/>
                  </a:cubicBezTo>
                  <a:cubicBezTo>
                    <a:pt x="1396" y="822"/>
                    <a:pt x="1396" y="822"/>
                    <a:pt x="1396" y="822"/>
                  </a:cubicBezTo>
                  <a:cubicBezTo>
                    <a:pt x="1394" y="818"/>
                    <a:pt x="1393" y="822"/>
                    <a:pt x="1391" y="821"/>
                  </a:cubicBezTo>
                  <a:cubicBezTo>
                    <a:pt x="1393" y="820"/>
                    <a:pt x="1392" y="818"/>
                    <a:pt x="1392" y="817"/>
                  </a:cubicBezTo>
                  <a:close/>
                  <a:moveTo>
                    <a:pt x="1402" y="836"/>
                  </a:moveTo>
                  <a:cubicBezTo>
                    <a:pt x="1410" y="833"/>
                    <a:pt x="1413" y="829"/>
                    <a:pt x="1420" y="825"/>
                  </a:cubicBezTo>
                  <a:cubicBezTo>
                    <a:pt x="1413" y="834"/>
                    <a:pt x="1409" y="836"/>
                    <a:pt x="1401" y="842"/>
                  </a:cubicBezTo>
                  <a:cubicBezTo>
                    <a:pt x="1400" y="840"/>
                    <a:pt x="1406" y="840"/>
                    <a:pt x="1402" y="836"/>
                  </a:cubicBezTo>
                  <a:close/>
                  <a:moveTo>
                    <a:pt x="1417" y="1130"/>
                  </a:move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ubicBezTo>
                    <a:pt x="1417" y="1130"/>
                    <a:pt x="1417" y="1130"/>
                    <a:pt x="1417" y="1130"/>
                  </a:cubicBezTo>
                  <a:close/>
                  <a:moveTo>
                    <a:pt x="1455" y="1268"/>
                  </a:moveTo>
                  <a:cubicBezTo>
                    <a:pt x="1461" y="1266"/>
                    <a:pt x="1466" y="1264"/>
                    <a:pt x="1471" y="1262"/>
                  </a:cubicBezTo>
                  <a:cubicBezTo>
                    <a:pt x="1469" y="1266"/>
                    <a:pt x="1466" y="1272"/>
                    <a:pt x="1465" y="1277"/>
                  </a:cubicBezTo>
                  <a:cubicBezTo>
                    <a:pt x="1442" y="1281"/>
                    <a:pt x="1419" y="1283"/>
                    <a:pt x="1398" y="1291"/>
                  </a:cubicBezTo>
                  <a:cubicBezTo>
                    <a:pt x="1393" y="1292"/>
                    <a:pt x="1393" y="1292"/>
                    <a:pt x="1393" y="1292"/>
                  </a:cubicBezTo>
                  <a:cubicBezTo>
                    <a:pt x="1384" y="1288"/>
                    <a:pt x="1384" y="1288"/>
                    <a:pt x="1384" y="1288"/>
                  </a:cubicBezTo>
                  <a:cubicBezTo>
                    <a:pt x="1385" y="1288"/>
                    <a:pt x="1385" y="1288"/>
                    <a:pt x="1385" y="1288"/>
                  </a:cubicBezTo>
                  <a:cubicBezTo>
                    <a:pt x="1388" y="1287"/>
                    <a:pt x="1391" y="1287"/>
                    <a:pt x="1394" y="1286"/>
                  </a:cubicBezTo>
                  <a:cubicBezTo>
                    <a:pt x="1391" y="1285"/>
                    <a:pt x="1391" y="1285"/>
                    <a:pt x="1391" y="1285"/>
                  </a:cubicBezTo>
                  <a:cubicBezTo>
                    <a:pt x="1401" y="1282"/>
                    <a:pt x="1412" y="1278"/>
                    <a:pt x="1422" y="1275"/>
                  </a:cubicBezTo>
                  <a:cubicBezTo>
                    <a:pt x="1433" y="1273"/>
                    <a:pt x="1444" y="1271"/>
                    <a:pt x="1455" y="1268"/>
                  </a:cubicBezTo>
                  <a:close/>
                  <a:moveTo>
                    <a:pt x="1456" y="1086"/>
                  </a:moveTo>
                  <a:cubicBezTo>
                    <a:pt x="1459" y="1090"/>
                    <a:pt x="1461" y="1082"/>
                    <a:pt x="1465" y="1085"/>
                  </a:cubicBezTo>
                  <a:cubicBezTo>
                    <a:pt x="1466" y="1089"/>
                    <a:pt x="1460" y="1089"/>
                    <a:pt x="1456" y="1091"/>
                  </a:cubicBezTo>
                  <a:cubicBezTo>
                    <a:pt x="1452" y="1088"/>
                    <a:pt x="1455" y="1085"/>
                    <a:pt x="1451" y="1081"/>
                  </a:cubicBezTo>
                  <a:cubicBezTo>
                    <a:pt x="1465" y="1076"/>
                    <a:pt x="1472" y="1068"/>
                    <a:pt x="1486" y="1068"/>
                  </a:cubicBezTo>
                  <a:cubicBezTo>
                    <a:pt x="1479" y="1074"/>
                    <a:pt x="1468" y="1077"/>
                    <a:pt x="1456" y="1086"/>
                  </a:cubicBezTo>
                  <a:close/>
                  <a:moveTo>
                    <a:pt x="1479" y="781"/>
                  </a:moveTo>
                  <a:cubicBezTo>
                    <a:pt x="1477" y="789"/>
                    <a:pt x="1463" y="793"/>
                    <a:pt x="1458" y="794"/>
                  </a:cubicBezTo>
                  <a:cubicBezTo>
                    <a:pt x="1457" y="805"/>
                    <a:pt x="1435" y="810"/>
                    <a:pt x="1425" y="809"/>
                  </a:cubicBezTo>
                  <a:cubicBezTo>
                    <a:pt x="1417" y="813"/>
                    <a:pt x="1419" y="816"/>
                    <a:pt x="1412" y="819"/>
                  </a:cubicBezTo>
                  <a:cubicBezTo>
                    <a:pt x="1414" y="818"/>
                    <a:pt x="1420" y="820"/>
                    <a:pt x="1420" y="818"/>
                  </a:cubicBezTo>
                  <a:cubicBezTo>
                    <a:pt x="1422" y="822"/>
                    <a:pt x="1417" y="824"/>
                    <a:pt x="1409" y="827"/>
                  </a:cubicBezTo>
                  <a:cubicBezTo>
                    <a:pt x="1409" y="827"/>
                    <a:pt x="1409" y="825"/>
                    <a:pt x="1411" y="825"/>
                  </a:cubicBezTo>
                  <a:cubicBezTo>
                    <a:pt x="1407" y="826"/>
                    <a:pt x="1403" y="829"/>
                    <a:pt x="1399" y="832"/>
                  </a:cubicBezTo>
                  <a:cubicBezTo>
                    <a:pt x="1396" y="827"/>
                    <a:pt x="1396" y="827"/>
                    <a:pt x="1396" y="827"/>
                  </a:cubicBezTo>
                  <a:cubicBezTo>
                    <a:pt x="1400" y="825"/>
                    <a:pt x="1400" y="822"/>
                    <a:pt x="1398" y="818"/>
                  </a:cubicBezTo>
                  <a:cubicBezTo>
                    <a:pt x="1397" y="817"/>
                    <a:pt x="1396" y="816"/>
                    <a:pt x="1395" y="815"/>
                  </a:cubicBezTo>
                  <a:cubicBezTo>
                    <a:pt x="1397" y="814"/>
                    <a:pt x="1398" y="813"/>
                    <a:pt x="1397" y="811"/>
                  </a:cubicBezTo>
                  <a:cubicBezTo>
                    <a:pt x="1397" y="812"/>
                    <a:pt x="1396" y="813"/>
                    <a:pt x="1395" y="814"/>
                  </a:cubicBezTo>
                  <a:cubicBezTo>
                    <a:pt x="1393" y="812"/>
                    <a:pt x="1392" y="810"/>
                    <a:pt x="1391" y="809"/>
                  </a:cubicBezTo>
                  <a:cubicBezTo>
                    <a:pt x="1392" y="809"/>
                    <a:pt x="1393" y="809"/>
                    <a:pt x="1393" y="809"/>
                  </a:cubicBezTo>
                  <a:cubicBezTo>
                    <a:pt x="1391" y="803"/>
                    <a:pt x="1385" y="808"/>
                    <a:pt x="1382" y="804"/>
                  </a:cubicBezTo>
                  <a:cubicBezTo>
                    <a:pt x="1395" y="801"/>
                    <a:pt x="1399" y="791"/>
                    <a:pt x="1408" y="789"/>
                  </a:cubicBezTo>
                  <a:cubicBezTo>
                    <a:pt x="1409" y="792"/>
                    <a:pt x="1409" y="792"/>
                    <a:pt x="1409" y="792"/>
                  </a:cubicBezTo>
                  <a:cubicBezTo>
                    <a:pt x="1411" y="794"/>
                    <a:pt x="1408" y="795"/>
                    <a:pt x="1407" y="796"/>
                  </a:cubicBezTo>
                  <a:cubicBezTo>
                    <a:pt x="1410" y="798"/>
                    <a:pt x="1412" y="792"/>
                    <a:pt x="1409" y="789"/>
                  </a:cubicBezTo>
                  <a:cubicBezTo>
                    <a:pt x="1412" y="787"/>
                    <a:pt x="1413" y="785"/>
                    <a:pt x="1418" y="783"/>
                  </a:cubicBezTo>
                  <a:cubicBezTo>
                    <a:pt x="1419" y="786"/>
                    <a:pt x="1416" y="787"/>
                    <a:pt x="1414" y="788"/>
                  </a:cubicBezTo>
                  <a:cubicBezTo>
                    <a:pt x="1419" y="792"/>
                    <a:pt x="1424" y="782"/>
                    <a:pt x="1428" y="777"/>
                  </a:cubicBezTo>
                  <a:cubicBezTo>
                    <a:pt x="1431" y="774"/>
                    <a:pt x="1431" y="781"/>
                    <a:pt x="1433" y="779"/>
                  </a:cubicBezTo>
                  <a:cubicBezTo>
                    <a:pt x="1436" y="775"/>
                    <a:pt x="1459" y="764"/>
                    <a:pt x="1466" y="766"/>
                  </a:cubicBezTo>
                  <a:cubicBezTo>
                    <a:pt x="1468" y="763"/>
                    <a:pt x="1468" y="762"/>
                    <a:pt x="1465" y="759"/>
                  </a:cubicBezTo>
                  <a:cubicBezTo>
                    <a:pt x="1468" y="757"/>
                    <a:pt x="1471" y="757"/>
                    <a:pt x="1473" y="760"/>
                  </a:cubicBezTo>
                  <a:cubicBezTo>
                    <a:pt x="1474" y="752"/>
                    <a:pt x="1483" y="754"/>
                    <a:pt x="1490" y="754"/>
                  </a:cubicBezTo>
                  <a:cubicBezTo>
                    <a:pt x="1493" y="752"/>
                    <a:pt x="1486" y="751"/>
                    <a:pt x="1489" y="750"/>
                  </a:cubicBezTo>
                  <a:cubicBezTo>
                    <a:pt x="1492" y="748"/>
                    <a:pt x="1491" y="750"/>
                    <a:pt x="1491" y="752"/>
                  </a:cubicBezTo>
                  <a:cubicBezTo>
                    <a:pt x="1494" y="750"/>
                    <a:pt x="1493" y="747"/>
                    <a:pt x="1495" y="745"/>
                  </a:cubicBezTo>
                  <a:cubicBezTo>
                    <a:pt x="1496" y="746"/>
                    <a:pt x="1497" y="746"/>
                    <a:pt x="1499" y="746"/>
                  </a:cubicBezTo>
                  <a:cubicBezTo>
                    <a:pt x="1499" y="749"/>
                    <a:pt x="1500" y="752"/>
                    <a:pt x="1502" y="755"/>
                  </a:cubicBezTo>
                  <a:cubicBezTo>
                    <a:pt x="1504" y="754"/>
                    <a:pt x="1500" y="750"/>
                    <a:pt x="1500" y="748"/>
                  </a:cubicBezTo>
                  <a:cubicBezTo>
                    <a:pt x="1504" y="744"/>
                    <a:pt x="1506" y="749"/>
                    <a:pt x="1509" y="748"/>
                  </a:cubicBezTo>
                  <a:cubicBezTo>
                    <a:pt x="1507" y="746"/>
                    <a:pt x="1507" y="742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9" y="737"/>
                    <a:pt x="1512" y="735"/>
                    <a:pt x="1515" y="739"/>
                  </a:cubicBezTo>
                  <a:cubicBezTo>
                    <a:pt x="1512" y="742"/>
                    <a:pt x="1510" y="740"/>
                    <a:pt x="1508" y="740"/>
                  </a:cubicBezTo>
                  <a:cubicBezTo>
                    <a:pt x="1508" y="740"/>
                    <a:pt x="1508" y="740"/>
                    <a:pt x="1508" y="740"/>
                  </a:cubicBezTo>
                  <a:cubicBezTo>
                    <a:pt x="1509" y="743"/>
                    <a:pt x="1512" y="743"/>
                    <a:pt x="1511" y="746"/>
                  </a:cubicBezTo>
                  <a:cubicBezTo>
                    <a:pt x="1514" y="740"/>
                    <a:pt x="1516" y="743"/>
                    <a:pt x="1522" y="742"/>
                  </a:cubicBezTo>
                  <a:cubicBezTo>
                    <a:pt x="1521" y="739"/>
                    <a:pt x="1522" y="734"/>
                    <a:pt x="1517" y="731"/>
                  </a:cubicBezTo>
                  <a:cubicBezTo>
                    <a:pt x="1521" y="732"/>
                    <a:pt x="1526" y="731"/>
                    <a:pt x="1530" y="731"/>
                  </a:cubicBezTo>
                  <a:cubicBezTo>
                    <a:pt x="1531" y="734"/>
                    <a:pt x="1527" y="735"/>
                    <a:pt x="1524" y="736"/>
                  </a:cubicBezTo>
                  <a:cubicBezTo>
                    <a:pt x="1523" y="738"/>
                    <a:pt x="1528" y="740"/>
                    <a:pt x="1529" y="741"/>
                  </a:cubicBezTo>
                  <a:cubicBezTo>
                    <a:pt x="1532" y="740"/>
                    <a:pt x="1527" y="740"/>
                    <a:pt x="1529" y="737"/>
                  </a:cubicBezTo>
                  <a:cubicBezTo>
                    <a:pt x="1532" y="737"/>
                    <a:pt x="1534" y="737"/>
                    <a:pt x="1537" y="735"/>
                  </a:cubicBezTo>
                  <a:cubicBezTo>
                    <a:pt x="1540" y="737"/>
                    <a:pt x="1538" y="737"/>
                    <a:pt x="1539" y="740"/>
                  </a:cubicBezTo>
                  <a:cubicBezTo>
                    <a:pt x="1544" y="733"/>
                    <a:pt x="1537" y="727"/>
                    <a:pt x="1545" y="724"/>
                  </a:cubicBezTo>
                  <a:cubicBezTo>
                    <a:pt x="1544" y="723"/>
                    <a:pt x="1542" y="723"/>
                    <a:pt x="1540" y="724"/>
                  </a:cubicBezTo>
                  <a:cubicBezTo>
                    <a:pt x="1548" y="708"/>
                    <a:pt x="1572" y="714"/>
                    <a:pt x="1577" y="703"/>
                  </a:cubicBezTo>
                  <a:cubicBezTo>
                    <a:pt x="1582" y="704"/>
                    <a:pt x="1580" y="706"/>
                    <a:pt x="1583" y="701"/>
                  </a:cubicBezTo>
                  <a:cubicBezTo>
                    <a:pt x="1588" y="706"/>
                    <a:pt x="1585" y="710"/>
                    <a:pt x="1582" y="714"/>
                  </a:cubicBezTo>
                  <a:cubicBezTo>
                    <a:pt x="1584" y="714"/>
                    <a:pt x="1585" y="713"/>
                    <a:pt x="1586" y="713"/>
                  </a:cubicBezTo>
                  <a:cubicBezTo>
                    <a:pt x="1587" y="717"/>
                    <a:pt x="1587" y="716"/>
                    <a:pt x="1590" y="718"/>
                  </a:cubicBezTo>
                  <a:cubicBezTo>
                    <a:pt x="1593" y="715"/>
                    <a:pt x="1584" y="713"/>
                    <a:pt x="1587" y="709"/>
                  </a:cubicBezTo>
                  <a:cubicBezTo>
                    <a:pt x="1590" y="712"/>
                    <a:pt x="1595" y="703"/>
                    <a:pt x="1602" y="705"/>
                  </a:cubicBezTo>
                  <a:cubicBezTo>
                    <a:pt x="1603" y="704"/>
                    <a:pt x="1601" y="703"/>
                    <a:pt x="1600" y="704"/>
                  </a:cubicBezTo>
                  <a:cubicBezTo>
                    <a:pt x="1600" y="700"/>
                    <a:pt x="1606" y="705"/>
                    <a:pt x="1609" y="702"/>
                  </a:cubicBezTo>
                  <a:cubicBezTo>
                    <a:pt x="1607" y="702"/>
                    <a:pt x="1606" y="702"/>
                    <a:pt x="1604" y="702"/>
                  </a:cubicBezTo>
                  <a:cubicBezTo>
                    <a:pt x="1603" y="698"/>
                    <a:pt x="1607" y="702"/>
                    <a:pt x="1609" y="700"/>
                  </a:cubicBezTo>
                  <a:cubicBezTo>
                    <a:pt x="1608" y="699"/>
                    <a:pt x="1607" y="699"/>
                    <a:pt x="1606" y="699"/>
                  </a:cubicBezTo>
                  <a:cubicBezTo>
                    <a:pt x="1605" y="696"/>
                    <a:pt x="1611" y="696"/>
                    <a:pt x="1611" y="693"/>
                  </a:cubicBezTo>
                  <a:cubicBezTo>
                    <a:pt x="1613" y="695"/>
                    <a:pt x="1619" y="696"/>
                    <a:pt x="1619" y="691"/>
                  </a:cubicBezTo>
                  <a:cubicBezTo>
                    <a:pt x="1635" y="690"/>
                    <a:pt x="1651" y="683"/>
                    <a:pt x="1665" y="677"/>
                  </a:cubicBezTo>
                  <a:cubicBezTo>
                    <a:pt x="1667" y="680"/>
                    <a:pt x="1667" y="680"/>
                    <a:pt x="1667" y="680"/>
                  </a:cubicBezTo>
                  <a:cubicBezTo>
                    <a:pt x="1675" y="671"/>
                    <a:pt x="1686" y="669"/>
                    <a:pt x="1696" y="664"/>
                  </a:cubicBezTo>
                  <a:cubicBezTo>
                    <a:pt x="1692" y="676"/>
                    <a:pt x="1676" y="676"/>
                    <a:pt x="1665" y="682"/>
                  </a:cubicBezTo>
                  <a:cubicBezTo>
                    <a:pt x="1659" y="686"/>
                    <a:pt x="1656" y="693"/>
                    <a:pt x="1649" y="694"/>
                  </a:cubicBezTo>
                  <a:cubicBezTo>
                    <a:pt x="1646" y="690"/>
                    <a:pt x="1654" y="691"/>
                    <a:pt x="1654" y="688"/>
                  </a:cubicBezTo>
                  <a:cubicBezTo>
                    <a:pt x="1652" y="686"/>
                    <a:pt x="1651" y="689"/>
                    <a:pt x="1648" y="689"/>
                  </a:cubicBezTo>
                  <a:cubicBezTo>
                    <a:pt x="1643" y="706"/>
                    <a:pt x="1618" y="707"/>
                    <a:pt x="1603" y="715"/>
                  </a:cubicBezTo>
                  <a:cubicBezTo>
                    <a:pt x="1590" y="722"/>
                    <a:pt x="1582" y="732"/>
                    <a:pt x="1572" y="735"/>
                  </a:cubicBezTo>
                  <a:cubicBezTo>
                    <a:pt x="1571" y="734"/>
                    <a:pt x="1569" y="735"/>
                    <a:pt x="1568" y="732"/>
                  </a:cubicBezTo>
                  <a:cubicBezTo>
                    <a:pt x="1566" y="737"/>
                    <a:pt x="1560" y="735"/>
                    <a:pt x="1555" y="738"/>
                  </a:cubicBezTo>
                  <a:cubicBezTo>
                    <a:pt x="1552" y="735"/>
                    <a:pt x="1555" y="735"/>
                    <a:pt x="1550" y="738"/>
                  </a:cubicBezTo>
                  <a:cubicBezTo>
                    <a:pt x="1551" y="735"/>
                    <a:pt x="1549" y="735"/>
                    <a:pt x="1547" y="732"/>
                  </a:cubicBezTo>
                  <a:cubicBezTo>
                    <a:pt x="1550" y="730"/>
                    <a:pt x="1550" y="733"/>
                    <a:pt x="1552" y="734"/>
                  </a:cubicBezTo>
                  <a:cubicBezTo>
                    <a:pt x="1553" y="731"/>
                    <a:pt x="1554" y="729"/>
                    <a:pt x="1553" y="726"/>
                  </a:cubicBezTo>
                  <a:cubicBezTo>
                    <a:pt x="1556" y="726"/>
                    <a:pt x="1558" y="729"/>
                    <a:pt x="1560" y="729"/>
                  </a:cubicBezTo>
                  <a:cubicBezTo>
                    <a:pt x="1562" y="728"/>
                    <a:pt x="1561" y="725"/>
                    <a:pt x="1563" y="723"/>
                  </a:cubicBezTo>
                  <a:cubicBezTo>
                    <a:pt x="1559" y="721"/>
                    <a:pt x="1552" y="727"/>
                    <a:pt x="1547" y="724"/>
                  </a:cubicBezTo>
                  <a:cubicBezTo>
                    <a:pt x="1542" y="731"/>
                    <a:pt x="1547" y="741"/>
                    <a:pt x="1538" y="746"/>
                  </a:cubicBezTo>
                  <a:cubicBezTo>
                    <a:pt x="1540" y="748"/>
                    <a:pt x="1543" y="747"/>
                    <a:pt x="1546" y="746"/>
                  </a:cubicBezTo>
                  <a:cubicBezTo>
                    <a:pt x="1541" y="756"/>
                    <a:pt x="1530" y="752"/>
                    <a:pt x="1527" y="761"/>
                  </a:cubicBezTo>
                  <a:cubicBezTo>
                    <a:pt x="1525" y="760"/>
                    <a:pt x="1523" y="762"/>
                    <a:pt x="1521" y="759"/>
                  </a:cubicBezTo>
                  <a:cubicBezTo>
                    <a:pt x="1519" y="761"/>
                    <a:pt x="1514" y="769"/>
                    <a:pt x="1511" y="765"/>
                  </a:cubicBezTo>
                  <a:cubicBezTo>
                    <a:pt x="1509" y="766"/>
                    <a:pt x="1512" y="770"/>
                    <a:pt x="1509" y="770"/>
                  </a:cubicBezTo>
                  <a:cubicBezTo>
                    <a:pt x="1499" y="766"/>
                    <a:pt x="1489" y="783"/>
                    <a:pt x="1479" y="781"/>
                  </a:cubicBezTo>
                  <a:close/>
                  <a:moveTo>
                    <a:pt x="1524" y="1048"/>
                  </a:moveTo>
                  <a:cubicBezTo>
                    <a:pt x="1526" y="1049"/>
                    <a:pt x="1529" y="1048"/>
                    <a:pt x="1532" y="1048"/>
                  </a:cubicBezTo>
                  <a:cubicBezTo>
                    <a:pt x="1532" y="1051"/>
                    <a:pt x="1524" y="1054"/>
                    <a:pt x="1522" y="1053"/>
                  </a:cubicBezTo>
                  <a:cubicBezTo>
                    <a:pt x="1520" y="1050"/>
                    <a:pt x="1527" y="1051"/>
                    <a:pt x="1524" y="1048"/>
                  </a:cubicBezTo>
                  <a:close/>
                  <a:moveTo>
                    <a:pt x="1511" y="790"/>
                  </a:moveTo>
                  <a:cubicBezTo>
                    <a:pt x="1510" y="785"/>
                    <a:pt x="1515" y="787"/>
                    <a:pt x="1518" y="785"/>
                  </a:cubicBezTo>
                  <a:cubicBezTo>
                    <a:pt x="1519" y="789"/>
                    <a:pt x="1514" y="789"/>
                    <a:pt x="1511" y="790"/>
                  </a:cubicBezTo>
                  <a:close/>
                  <a:moveTo>
                    <a:pt x="1513" y="1056"/>
                  </a:moveTo>
                  <a:cubicBezTo>
                    <a:pt x="1513" y="1053"/>
                    <a:pt x="1513" y="1051"/>
                    <a:pt x="1517" y="1050"/>
                  </a:cubicBezTo>
                  <a:cubicBezTo>
                    <a:pt x="1518" y="1053"/>
                    <a:pt x="1516" y="1057"/>
                    <a:pt x="1513" y="1056"/>
                  </a:cubicBezTo>
                  <a:close/>
                  <a:moveTo>
                    <a:pt x="1506" y="1055"/>
                  </a:moveTo>
                  <a:cubicBezTo>
                    <a:pt x="1508" y="1053"/>
                    <a:pt x="1509" y="1054"/>
                    <a:pt x="1511" y="1054"/>
                  </a:cubicBezTo>
                  <a:cubicBezTo>
                    <a:pt x="1510" y="1056"/>
                    <a:pt x="1509" y="1060"/>
                    <a:pt x="1514" y="1057"/>
                  </a:cubicBezTo>
                  <a:cubicBezTo>
                    <a:pt x="1511" y="1060"/>
                    <a:pt x="1503" y="1062"/>
                    <a:pt x="1498" y="1065"/>
                  </a:cubicBezTo>
                  <a:cubicBezTo>
                    <a:pt x="1497" y="1058"/>
                    <a:pt x="1509" y="1062"/>
                    <a:pt x="1506" y="1055"/>
                  </a:cubicBezTo>
                  <a:close/>
                  <a:moveTo>
                    <a:pt x="1513" y="1063"/>
                  </a:moveTo>
                  <a:cubicBezTo>
                    <a:pt x="1518" y="1064"/>
                    <a:pt x="1522" y="1059"/>
                    <a:pt x="1527" y="1057"/>
                  </a:cubicBezTo>
                  <a:cubicBezTo>
                    <a:pt x="1525" y="1059"/>
                    <a:pt x="1518" y="1069"/>
                    <a:pt x="1513" y="1063"/>
                  </a:cubicBezTo>
                  <a:close/>
                  <a:moveTo>
                    <a:pt x="1529" y="1058"/>
                  </a:moveTo>
                  <a:cubicBezTo>
                    <a:pt x="1529" y="1053"/>
                    <a:pt x="1535" y="1055"/>
                    <a:pt x="1538" y="1051"/>
                  </a:cubicBezTo>
                  <a:cubicBezTo>
                    <a:pt x="1540" y="1057"/>
                    <a:pt x="1530" y="1055"/>
                    <a:pt x="1529" y="1058"/>
                  </a:cubicBezTo>
                  <a:close/>
                  <a:moveTo>
                    <a:pt x="1602" y="1014"/>
                  </a:moveTo>
                  <a:cubicBezTo>
                    <a:pt x="1603" y="1016"/>
                    <a:pt x="1601" y="1017"/>
                    <a:pt x="1601" y="1020"/>
                  </a:cubicBezTo>
                  <a:cubicBezTo>
                    <a:pt x="1600" y="1020"/>
                    <a:pt x="1599" y="1016"/>
                    <a:pt x="1596" y="1019"/>
                  </a:cubicBezTo>
                  <a:cubicBezTo>
                    <a:pt x="1595" y="1016"/>
                    <a:pt x="1599" y="1015"/>
                    <a:pt x="1602" y="1014"/>
                  </a:cubicBezTo>
                  <a:close/>
                  <a:moveTo>
                    <a:pt x="1563" y="1034"/>
                  </a:moveTo>
                  <a:cubicBezTo>
                    <a:pt x="1561" y="1032"/>
                    <a:pt x="1566" y="1032"/>
                    <a:pt x="1568" y="1031"/>
                  </a:cubicBezTo>
                  <a:cubicBezTo>
                    <a:pt x="1567" y="1028"/>
                    <a:pt x="1564" y="1032"/>
                    <a:pt x="1562" y="1032"/>
                  </a:cubicBezTo>
                  <a:cubicBezTo>
                    <a:pt x="1563" y="1027"/>
                    <a:pt x="1566" y="1029"/>
                    <a:pt x="1570" y="1028"/>
                  </a:cubicBezTo>
                  <a:cubicBezTo>
                    <a:pt x="1569" y="1032"/>
                    <a:pt x="1567" y="1035"/>
                    <a:pt x="1563" y="1034"/>
                  </a:cubicBezTo>
                  <a:close/>
                  <a:moveTo>
                    <a:pt x="1583" y="1027"/>
                  </a:moveTo>
                  <a:cubicBezTo>
                    <a:pt x="1583" y="1024"/>
                    <a:pt x="1585" y="1020"/>
                    <a:pt x="1588" y="1022"/>
                  </a:cubicBezTo>
                  <a:cubicBezTo>
                    <a:pt x="1589" y="1025"/>
                    <a:pt x="1586" y="1028"/>
                    <a:pt x="1583" y="1027"/>
                  </a:cubicBezTo>
                  <a:close/>
                  <a:moveTo>
                    <a:pt x="1577" y="1024"/>
                  </a:moveTo>
                  <a:cubicBezTo>
                    <a:pt x="1577" y="1018"/>
                    <a:pt x="1587" y="1017"/>
                    <a:pt x="1591" y="1016"/>
                  </a:cubicBezTo>
                  <a:cubicBezTo>
                    <a:pt x="1586" y="1019"/>
                    <a:pt x="1583" y="1023"/>
                    <a:pt x="1577" y="1024"/>
                  </a:cubicBezTo>
                  <a:close/>
                  <a:moveTo>
                    <a:pt x="1614" y="792"/>
                  </a:moveTo>
                  <a:cubicBezTo>
                    <a:pt x="1612" y="796"/>
                    <a:pt x="1600" y="803"/>
                    <a:pt x="1593" y="806"/>
                  </a:cubicBezTo>
                  <a:cubicBezTo>
                    <a:pt x="1593" y="806"/>
                    <a:pt x="1593" y="807"/>
                    <a:pt x="1591" y="807"/>
                  </a:cubicBezTo>
                  <a:cubicBezTo>
                    <a:pt x="1592" y="807"/>
                    <a:pt x="1593" y="806"/>
                    <a:pt x="1593" y="806"/>
                  </a:cubicBezTo>
                  <a:cubicBezTo>
                    <a:pt x="1595" y="805"/>
                    <a:pt x="1590" y="805"/>
                    <a:pt x="1589" y="804"/>
                  </a:cubicBezTo>
                  <a:cubicBezTo>
                    <a:pt x="1597" y="800"/>
                    <a:pt x="1605" y="799"/>
                    <a:pt x="1603" y="792"/>
                  </a:cubicBezTo>
                  <a:cubicBezTo>
                    <a:pt x="1605" y="792"/>
                    <a:pt x="1606" y="792"/>
                    <a:pt x="1608" y="792"/>
                  </a:cubicBezTo>
                  <a:cubicBezTo>
                    <a:pt x="1607" y="793"/>
                    <a:pt x="1606" y="793"/>
                    <a:pt x="1606" y="795"/>
                  </a:cubicBezTo>
                  <a:cubicBezTo>
                    <a:pt x="1614" y="793"/>
                    <a:pt x="1601" y="788"/>
                    <a:pt x="1607" y="784"/>
                  </a:cubicBezTo>
                  <a:cubicBezTo>
                    <a:pt x="1610" y="790"/>
                    <a:pt x="1613" y="780"/>
                    <a:pt x="1616" y="789"/>
                  </a:cubicBezTo>
                  <a:cubicBezTo>
                    <a:pt x="1613" y="791"/>
                    <a:pt x="1611" y="788"/>
                    <a:pt x="1612" y="792"/>
                  </a:cubicBezTo>
                  <a:cubicBezTo>
                    <a:pt x="1619" y="789"/>
                    <a:pt x="1626" y="785"/>
                    <a:pt x="1630" y="782"/>
                  </a:cubicBezTo>
                  <a:cubicBezTo>
                    <a:pt x="1631" y="784"/>
                    <a:pt x="1631" y="784"/>
                    <a:pt x="1631" y="784"/>
                  </a:cubicBezTo>
                  <a:cubicBezTo>
                    <a:pt x="1626" y="789"/>
                    <a:pt x="1619" y="793"/>
                    <a:pt x="1614" y="792"/>
                  </a:cubicBezTo>
                  <a:close/>
                  <a:moveTo>
                    <a:pt x="1920" y="823"/>
                  </a:moveTo>
                  <a:cubicBezTo>
                    <a:pt x="1922" y="826"/>
                    <a:pt x="1914" y="829"/>
                    <a:pt x="1912" y="828"/>
                  </a:cubicBezTo>
                  <a:cubicBezTo>
                    <a:pt x="1912" y="823"/>
                    <a:pt x="1918" y="823"/>
                    <a:pt x="1920" y="8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2" name="任意多边形: 形状 611">
              <a:extLst>
                <a:ext uri="{FF2B5EF4-FFF2-40B4-BE49-F238E27FC236}">
                  <a16:creationId xmlns:a16="http://schemas.microsoft.com/office/drawing/2014/main" id="{10AE8E46-CF0B-4D76-8787-FF8DE1087EE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627351" y="-7023090"/>
              <a:ext cx="42863" cy="12700"/>
            </a:xfrm>
            <a:custGeom>
              <a:avLst/>
              <a:gdLst>
                <a:gd name="T0" fmla="*/ 2 w 13"/>
                <a:gd name="T1" fmla="*/ 1 h 4"/>
                <a:gd name="T2" fmla="*/ 0 w 13"/>
                <a:gd name="T3" fmla="*/ 3 h 4"/>
                <a:gd name="T4" fmla="*/ 13 w 13"/>
                <a:gd name="T5" fmla="*/ 0 h 4"/>
                <a:gd name="T6" fmla="*/ 2 w 13"/>
                <a:gd name="T7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4">
                  <a:moveTo>
                    <a:pt x="2" y="1"/>
                  </a:moveTo>
                  <a:cubicBezTo>
                    <a:pt x="1" y="2"/>
                    <a:pt x="1" y="3"/>
                    <a:pt x="0" y="3"/>
                  </a:cubicBezTo>
                  <a:cubicBezTo>
                    <a:pt x="5" y="1"/>
                    <a:pt x="8" y="4"/>
                    <a:pt x="13" y="0"/>
                  </a:cubicBezTo>
                  <a:cubicBezTo>
                    <a:pt x="9" y="0"/>
                    <a:pt x="5" y="1"/>
                    <a:pt x="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3" name="任意多边形: 形状 612">
              <a:extLst>
                <a:ext uri="{FF2B5EF4-FFF2-40B4-BE49-F238E27FC236}">
                  <a16:creationId xmlns:a16="http://schemas.microsoft.com/office/drawing/2014/main" id="{E2FA5471-C548-43CD-A53E-B2D6593C6F8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614276" y="-6961177"/>
              <a:ext cx="3175" cy="3175"/>
            </a:xfrm>
            <a:custGeom>
              <a:avLst/>
              <a:gdLst>
                <a:gd name="T0" fmla="*/ 0 w 1"/>
                <a:gd name="T1" fmla="*/ 0 h 1"/>
                <a:gd name="T2" fmla="*/ 0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0" y="0"/>
                    <a:pt x="0" y="1"/>
                    <a:pt x="0" y="1"/>
                  </a:cubicBezTo>
                  <a:cubicBezTo>
                    <a:pt x="0" y="1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4" name="任意多边形: 形状 613">
              <a:extLst>
                <a:ext uri="{FF2B5EF4-FFF2-40B4-BE49-F238E27FC236}">
                  <a16:creationId xmlns:a16="http://schemas.microsoft.com/office/drawing/2014/main" id="{91C85256-B734-4AD9-A26F-561FED41B57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865727" y="-8410569"/>
              <a:ext cx="30163" cy="33338"/>
            </a:xfrm>
            <a:custGeom>
              <a:avLst/>
              <a:gdLst>
                <a:gd name="T0" fmla="*/ 9 w 9"/>
                <a:gd name="T1" fmla="*/ 0 h 10"/>
                <a:gd name="T2" fmla="*/ 0 w 9"/>
                <a:gd name="T3" fmla="*/ 5 h 10"/>
                <a:gd name="T4" fmla="*/ 9 w 9"/>
                <a:gd name="T5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cubicBezTo>
                    <a:pt x="5" y="3"/>
                    <a:pt x="5" y="4"/>
                    <a:pt x="0" y="5"/>
                  </a:cubicBezTo>
                  <a:cubicBezTo>
                    <a:pt x="3" y="10"/>
                    <a:pt x="8" y="2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5" name="任意多边形: 形状 614">
              <a:extLst>
                <a:ext uri="{FF2B5EF4-FFF2-40B4-BE49-F238E27FC236}">
                  <a16:creationId xmlns:a16="http://schemas.microsoft.com/office/drawing/2014/main" id="{EEF73C10-494D-446C-8EB7-9061AA8E51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399127" y="-7270740"/>
              <a:ext cx="66675" cy="30163"/>
            </a:xfrm>
            <a:custGeom>
              <a:avLst/>
              <a:gdLst>
                <a:gd name="T0" fmla="*/ 5 w 20"/>
                <a:gd name="T1" fmla="*/ 9 h 9"/>
                <a:gd name="T2" fmla="*/ 20 w 20"/>
                <a:gd name="T3" fmla="*/ 0 h 9"/>
                <a:gd name="T4" fmla="*/ 5 w 20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9">
                  <a:moveTo>
                    <a:pt x="5" y="9"/>
                  </a:moveTo>
                  <a:cubicBezTo>
                    <a:pt x="6" y="5"/>
                    <a:pt x="19" y="2"/>
                    <a:pt x="20" y="0"/>
                  </a:cubicBezTo>
                  <a:cubicBezTo>
                    <a:pt x="17" y="0"/>
                    <a:pt x="0" y="7"/>
                    <a:pt x="5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6" name="任意多边形: 形状 615">
              <a:extLst>
                <a:ext uri="{FF2B5EF4-FFF2-40B4-BE49-F238E27FC236}">
                  <a16:creationId xmlns:a16="http://schemas.microsoft.com/office/drawing/2014/main" id="{41103E1C-7F74-4EC4-9750-589A8B5B39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81577" y="-8081955"/>
              <a:ext cx="36513" cy="23813"/>
            </a:xfrm>
            <a:custGeom>
              <a:avLst/>
              <a:gdLst>
                <a:gd name="T0" fmla="*/ 6 w 11"/>
                <a:gd name="T1" fmla="*/ 7 h 7"/>
                <a:gd name="T2" fmla="*/ 11 w 11"/>
                <a:gd name="T3" fmla="*/ 0 h 7"/>
                <a:gd name="T4" fmla="*/ 0 w 11"/>
                <a:gd name="T5" fmla="*/ 3 h 7"/>
                <a:gd name="T6" fmla="*/ 6 w 11"/>
                <a:gd name="T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7">
                  <a:moveTo>
                    <a:pt x="6" y="7"/>
                  </a:moveTo>
                  <a:cubicBezTo>
                    <a:pt x="10" y="6"/>
                    <a:pt x="10" y="3"/>
                    <a:pt x="11" y="0"/>
                  </a:cubicBezTo>
                  <a:cubicBezTo>
                    <a:pt x="7" y="4"/>
                    <a:pt x="4" y="4"/>
                    <a:pt x="0" y="3"/>
                  </a:cubicBezTo>
                  <a:cubicBezTo>
                    <a:pt x="2" y="6"/>
                    <a:pt x="5" y="4"/>
                    <a:pt x="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7" name="任意多边形: 形状 616">
              <a:extLst>
                <a:ext uri="{FF2B5EF4-FFF2-40B4-BE49-F238E27FC236}">
                  <a16:creationId xmlns:a16="http://schemas.microsoft.com/office/drawing/2014/main" id="{11917CA1-3CA8-4121-AAE2-835930D72F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54589" y="-7785092"/>
              <a:ext cx="39688" cy="26988"/>
            </a:xfrm>
            <a:custGeom>
              <a:avLst/>
              <a:gdLst>
                <a:gd name="T0" fmla="*/ 11 w 12"/>
                <a:gd name="T1" fmla="*/ 3 h 8"/>
                <a:gd name="T2" fmla="*/ 3 w 12"/>
                <a:gd name="T3" fmla="*/ 2 h 8"/>
                <a:gd name="T4" fmla="*/ 5 w 12"/>
                <a:gd name="T5" fmla="*/ 7 h 8"/>
                <a:gd name="T6" fmla="*/ 5 w 12"/>
                <a:gd name="T7" fmla="*/ 3 h 8"/>
                <a:gd name="T8" fmla="*/ 11 w 12"/>
                <a:gd name="T9" fmla="*/ 3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11" y="3"/>
                  </a:moveTo>
                  <a:cubicBezTo>
                    <a:pt x="8" y="5"/>
                    <a:pt x="7" y="0"/>
                    <a:pt x="3" y="2"/>
                  </a:cubicBezTo>
                  <a:cubicBezTo>
                    <a:pt x="2" y="4"/>
                    <a:pt x="0" y="8"/>
                    <a:pt x="5" y="7"/>
                  </a:cubicBezTo>
                  <a:cubicBezTo>
                    <a:pt x="4" y="6"/>
                    <a:pt x="4" y="4"/>
                    <a:pt x="5" y="3"/>
                  </a:cubicBezTo>
                  <a:cubicBezTo>
                    <a:pt x="6" y="7"/>
                    <a:pt x="12" y="6"/>
                    <a:pt x="11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8" name="任意多边形: 形状 617">
              <a:extLst>
                <a:ext uri="{FF2B5EF4-FFF2-40B4-BE49-F238E27FC236}">
                  <a16:creationId xmlns:a16="http://schemas.microsoft.com/office/drawing/2014/main" id="{EC761E05-F0EB-4BAD-91F1-D9843B6E03B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48202" y="-7362816"/>
              <a:ext cx="65088" cy="39688"/>
            </a:xfrm>
            <a:custGeom>
              <a:avLst/>
              <a:gdLst>
                <a:gd name="T0" fmla="*/ 17 w 20"/>
                <a:gd name="T1" fmla="*/ 8 h 12"/>
                <a:gd name="T2" fmla="*/ 18 w 20"/>
                <a:gd name="T3" fmla="*/ 0 h 12"/>
                <a:gd name="T4" fmla="*/ 17 w 20"/>
                <a:gd name="T5" fmla="*/ 8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2">
                  <a:moveTo>
                    <a:pt x="17" y="8"/>
                  </a:moveTo>
                  <a:cubicBezTo>
                    <a:pt x="18" y="5"/>
                    <a:pt x="20" y="3"/>
                    <a:pt x="18" y="0"/>
                  </a:cubicBezTo>
                  <a:cubicBezTo>
                    <a:pt x="19" y="8"/>
                    <a:pt x="0" y="12"/>
                    <a:pt x="17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19" name="任意多边形: 形状 618">
              <a:extLst>
                <a:ext uri="{FF2B5EF4-FFF2-40B4-BE49-F238E27FC236}">
                  <a16:creationId xmlns:a16="http://schemas.microsoft.com/office/drawing/2014/main" id="{449D9B74-2876-4FB4-A520-ADBF82E210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413289" y="-7246928"/>
              <a:ext cx="39688" cy="19050"/>
            </a:xfrm>
            <a:custGeom>
              <a:avLst/>
              <a:gdLst>
                <a:gd name="T0" fmla="*/ 10 w 12"/>
                <a:gd name="T1" fmla="*/ 1 h 6"/>
                <a:gd name="T2" fmla="*/ 0 w 12"/>
                <a:gd name="T3" fmla="*/ 6 h 6"/>
                <a:gd name="T4" fmla="*/ 12 w 12"/>
                <a:gd name="T5" fmla="*/ 4 h 6"/>
                <a:gd name="T6" fmla="*/ 10 w 12"/>
                <a:gd name="T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6">
                  <a:moveTo>
                    <a:pt x="10" y="1"/>
                  </a:moveTo>
                  <a:cubicBezTo>
                    <a:pt x="10" y="6"/>
                    <a:pt x="0" y="1"/>
                    <a:pt x="0" y="6"/>
                  </a:cubicBezTo>
                  <a:cubicBezTo>
                    <a:pt x="4" y="6"/>
                    <a:pt x="8" y="5"/>
                    <a:pt x="12" y="4"/>
                  </a:cubicBezTo>
                  <a:cubicBezTo>
                    <a:pt x="11" y="2"/>
                    <a:pt x="12" y="0"/>
                    <a:pt x="1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0" name="任意多边形: 形状 619">
              <a:extLst>
                <a:ext uri="{FF2B5EF4-FFF2-40B4-BE49-F238E27FC236}">
                  <a16:creationId xmlns:a16="http://schemas.microsoft.com/office/drawing/2014/main" id="{8B7164FC-4C20-440A-B95E-66B0E5019FF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621252" y="-6596051"/>
              <a:ext cx="182563" cy="106363"/>
            </a:xfrm>
            <a:custGeom>
              <a:avLst/>
              <a:gdLst>
                <a:gd name="T0" fmla="*/ 42 w 55"/>
                <a:gd name="T1" fmla="*/ 6 h 32"/>
                <a:gd name="T2" fmla="*/ 50 w 55"/>
                <a:gd name="T3" fmla="*/ 5 h 32"/>
                <a:gd name="T4" fmla="*/ 29 w 55"/>
                <a:gd name="T5" fmla="*/ 10 h 32"/>
                <a:gd name="T6" fmla="*/ 30 w 55"/>
                <a:gd name="T7" fmla="*/ 14 h 32"/>
                <a:gd name="T8" fmla="*/ 25 w 55"/>
                <a:gd name="T9" fmla="*/ 11 h 32"/>
                <a:gd name="T10" fmla="*/ 0 w 55"/>
                <a:gd name="T11" fmla="*/ 29 h 32"/>
                <a:gd name="T12" fmla="*/ 6 w 55"/>
                <a:gd name="T13" fmla="*/ 32 h 32"/>
                <a:gd name="T14" fmla="*/ 7 w 55"/>
                <a:gd name="T15" fmla="*/ 25 h 32"/>
                <a:gd name="T16" fmla="*/ 10 w 55"/>
                <a:gd name="T17" fmla="*/ 25 h 32"/>
                <a:gd name="T18" fmla="*/ 23 w 55"/>
                <a:gd name="T19" fmla="*/ 24 h 32"/>
                <a:gd name="T20" fmla="*/ 21 w 55"/>
                <a:gd name="T21" fmla="*/ 18 h 32"/>
                <a:gd name="T22" fmla="*/ 28 w 55"/>
                <a:gd name="T23" fmla="*/ 15 h 32"/>
                <a:gd name="T24" fmla="*/ 35 w 55"/>
                <a:gd name="T25" fmla="*/ 16 h 32"/>
                <a:gd name="T26" fmla="*/ 55 w 55"/>
                <a:gd name="T27" fmla="*/ 7 h 32"/>
                <a:gd name="T28" fmla="*/ 50 w 55"/>
                <a:gd name="T29" fmla="*/ 0 h 32"/>
                <a:gd name="T30" fmla="*/ 42 w 55"/>
                <a:gd name="T31" fmla="*/ 6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5" h="32">
                  <a:moveTo>
                    <a:pt x="42" y="6"/>
                  </a:moveTo>
                  <a:cubicBezTo>
                    <a:pt x="44" y="8"/>
                    <a:pt x="48" y="2"/>
                    <a:pt x="50" y="5"/>
                  </a:cubicBezTo>
                  <a:cubicBezTo>
                    <a:pt x="45" y="12"/>
                    <a:pt x="36" y="6"/>
                    <a:pt x="29" y="10"/>
                  </a:cubicBezTo>
                  <a:cubicBezTo>
                    <a:pt x="30" y="12"/>
                    <a:pt x="31" y="13"/>
                    <a:pt x="30" y="14"/>
                  </a:cubicBezTo>
                  <a:cubicBezTo>
                    <a:pt x="28" y="13"/>
                    <a:pt x="27" y="12"/>
                    <a:pt x="25" y="11"/>
                  </a:cubicBezTo>
                  <a:cubicBezTo>
                    <a:pt x="19" y="18"/>
                    <a:pt x="2" y="19"/>
                    <a:pt x="0" y="29"/>
                  </a:cubicBezTo>
                  <a:cubicBezTo>
                    <a:pt x="2" y="30"/>
                    <a:pt x="8" y="26"/>
                    <a:pt x="6" y="32"/>
                  </a:cubicBezTo>
                  <a:cubicBezTo>
                    <a:pt x="12" y="29"/>
                    <a:pt x="5" y="28"/>
                    <a:pt x="7" y="25"/>
                  </a:cubicBezTo>
                  <a:cubicBezTo>
                    <a:pt x="8" y="26"/>
                    <a:pt x="9" y="26"/>
                    <a:pt x="10" y="25"/>
                  </a:cubicBezTo>
                  <a:cubicBezTo>
                    <a:pt x="11" y="31"/>
                    <a:pt x="18" y="23"/>
                    <a:pt x="23" y="24"/>
                  </a:cubicBezTo>
                  <a:cubicBezTo>
                    <a:pt x="25" y="21"/>
                    <a:pt x="19" y="21"/>
                    <a:pt x="21" y="18"/>
                  </a:cubicBezTo>
                  <a:cubicBezTo>
                    <a:pt x="26" y="21"/>
                    <a:pt x="31" y="20"/>
                    <a:pt x="28" y="15"/>
                  </a:cubicBezTo>
                  <a:cubicBezTo>
                    <a:pt x="28" y="17"/>
                    <a:pt x="36" y="11"/>
                    <a:pt x="35" y="16"/>
                  </a:cubicBezTo>
                  <a:cubicBezTo>
                    <a:pt x="47" y="10"/>
                    <a:pt x="46" y="12"/>
                    <a:pt x="55" y="7"/>
                  </a:cubicBezTo>
                  <a:cubicBezTo>
                    <a:pt x="52" y="3"/>
                    <a:pt x="53" y="4"/>
                    <a:pt x="50" y="0"/>
                  </a:cubicBezTo>
                  <a:cubicBezTo>
                    <a:pt x="47" y="5"/>
                    <a:pt x="44" y="2"/>
                    <a:pt x="4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1" name="任意多边形: 形状 620">
              <a:extLst>
                <a:ext uri="{FF2B5EF4-FFF2-40B4-BE49-F238E27FC236}">
                  <a16:creationId xmlns:a16="http://schemas.microsoft.com/office/drawing/2014/main" id="{F4E941FC-542E-4887-B74F-16CD0099EB9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526002" y="-7010390"/>
              <a:ext cx="49213" cy="15875"/>
            </a:xfrm>
            <a:custGeom>
              <a:avLst/>
              <a:gdLst>
                <a:gd name="T0" fmla="*/ 0 w 15"/>
                <a:gd name="T1" fmla="*/ 5 h 5"/>
                <a:gd name="T2" fmla="*/ 12 w 15"/>
                <a:gd name="T3" fmla="*/ 0 h 5"/>
                <a:gd name="T4" fmla="*/ 0 w 15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5">
                  <a:moveTo>
                    <a:pt x="0" y="5"/>
                  </a:moveTo>
                  <a:cubicBezTo>
                    <a:pt x="4" y="3"/>
                    <a:pt x="15" y="3"/>
                    <a:pt x="12" y="0"/>
                  </a:cubicBezTo>
                  <a:cubicBezTo>
                    <a:pt x="9" y="2"/>
                    <a:pt x="1" y="0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2" name="任意多边形: 形状 621">
              <a:extLst>
                <a:ext uri="{FF2B5EF4-FFF2-40B4-BE49-F238E27FC236}">
                  <a16:creationId xmlns:a16="http://schemas.microsoft.com/office/drawing/2014/main" id="{E249DC97-37D6-47CC-B9CA-4B0AA4815DA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338677" y="-7254865"/>
              <a:ext cx="42863" cy="17463"/>
            </a:xfrm>
            <a:custGeom>
              <a:avLst/>
              <a:gdLst>
                <a:gd name="T0" fmla="*/ 7 w 13"/>
                <a:gd name="T1" fmla="*/ 0 h 5"/>
                <a:gd name="T2" fmla="*/ 2 w 13"/>
                <a:gd name="T3" fmla="*/ 5 h 5"/>
                <a:gd name="T4" fmla="*/ 13 w 13"/>
                <a:gd name="T5" fmla="*/ 1 h 5"/>
                <a:gd name="T6" fmla="*/ 7 w 13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5">
                  <a:moveTo>
                    <a:pt x="7" y="0"/>
                  </a:moveTo>
                  <a:cubicBezTo>
                    <a:pt x="9" y="3"/>
                    <a:pt x="0" y="2"/>
                    <a:pt x="2" y="5"/>
                  </a:cubicBezTo>
                  <a:cubicBezTo>
                    <a:pt x="6" y="2"/>
                    <a:pt x="12" y="4"/>
                    <a:pt x="13" y="1"/>
                  </a:cubicBezTo>
                  <a:cubicBezTo>
                    <a:pt x="10" y="2"/>
                    <a:pt x="9" y="0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3" name="任意多边形: 形状 622">
              <a:extLst>
                <a:ext uri="{FF2B5EF4-FFF2-40B4-BE49-F238E27FC236}">
                  <a16:creationId xmlns:a16="http://schemas.microsoft.com/office/drawing/2014/main" id="{CBD39D9D-D8E6-4A81-8F62-A9C3EA567F9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962439" y="-7270740"/>
              <a:ext cx="39688" cy="19050"/>
            </a:xfrm>
            <a:custGeom>
              <a:avLst/>
              <a:gdLst>
                <a:gd name="T0" fmla="*/ 0 w 12"/>
                <a:gd name="T1" fmla="*/ 6 h 6"/>
                <a:gd name="T2" fmla="*/ 12 w 12"/>
                <a:gd name="T3" fmla="*/ 0 h 6"/>
                <a:gd name="T4" fmla="*/ 0 w 12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6"/>
                  </a:moveTo>
                  <a:cubicBezTo>
                    <a:pt x="5" y="4"/>
                    <a:pt x="9" y="2"/>
                    <a:pt x="12" y="0"/>
                  </a:cubicBezTo>
                  <a:cubicBezTo>
                    <a:pt x="7" y="0"/>
                    <a:pt x="2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4" name="任意多边形: 形状 623">
              <a:extLst>
                <a:ext uri="{FF2B5EF4-FFF2-40B4-BE49-F238E27FC236}">
                  <a16:creationId xmlns:a16="http://schemas.microsoft.com/office/drawing/2014/main" id="{B3A7B172-76C8-4513-8876-CB2D1189E41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70389" y="-6670664"/>
              <a:ext cx="30163" cy="19050"/>
            </a:xfrm>
            <a:custGeom>
              <a:avLst/>
              <a:gdLst>
                <a:gd name="T0" fmla="*/ 9 w 9"/>
                <a:gd name="T1" fmla="*/ 0 h 6"/>
                <a:gd name="T2" fmla="*/ 0 w 9"/>
                <a:gd name="T3" fmla="*/ 6 h 6"/>
                <a:gd name="T4" fmla="*/ 9 w 9"/>
                <a:gd name="T5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6">
                  <a:moveTo>
                    <a:pt x="9" y="0"/>
                  </a:moveTo>
                  <a:cubicBezTo>
                    <a:pt x="7" y="2"/>
                    <a:pt x="2" y="4"/>
                    <a:pt x="0" y="6"/>
                  </a:cubicBezTo>
                  <a:cubicBezTo>
                    <a:pt x="4" y="6"/>
                    <a:pt x="9" y="3"/>
                    <a:pt x="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5" name="任意多边形: 形状 624">
              <a:extLst>
                <a:ext uri="{FF2B5EF4-FFF2-40B4-BE49-F238E27FC236}">
                  <a16:creationId xmlns:a16="http://schemas.microsoft.com/office/drawing/2014/main" id="{BFFA76F8-7F94-492F-AFD8-FD688D0C3CC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14826" y="-6526201"/>
              <a:ext cx="30163" cy="33338"/>
            </a:xfrm>
            <a:custGeom>
              <a:avLst/>
              <a:gdLst>
                <a:gd name="T0" fmla="*/ 4 w 9"/>
                <a:gd name="T1" fmla="*/ 10 h 10"/>
                <a:gd name="T2" fmla="*/ 9 w 9"/>
                <a:gd name="T3" fmla="*/ 2 h 10"/>
                <a:gd name="T4" fmla="*/ 4 w 9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" h="10">
                  <a:moveTo>
                    <a:pt x="4" y="10"/>
                  </a:moveTo>
                  <a:cubicBezTo>
                    <a:pt x="2" y="6"/>
                    <a:pt x="8" y="5"/>
                    <a:pt x="9" y="2"/>
                  </a:cubicBezTo>
                  <a:cubicBezTo>
                    <a:pt x="6" y="0"/>
                    <a:pt x="0" y="9"/>
                    <a:pt x="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6" name="任意多边形: 形状 625">
              <a:extLst>
                <a:ext uri="{FF2B5EF4-FFF2-40B4-BE49-F238E27FC236}">
                  <a16:creationId xmlns:a16="http://schemas.microsoft.com/office/drawing/2014/main" id="{5EE461B4-A1B3-4686-A19F-FF85973CEC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7064039" y="-6269025"/>
              <a:ext cx="46038" cy="46038"/>
            </a:xfrm>
            <a:custGeom>
              <a:avLst/>
              <a:gdLst>
                <a:gd name="T0" fmla="*/ 3 w 14"/>
                <a:gd name="T1" fmla="*/ 0 h 14"/>
                <a:gd name="T2" fmla="*/ 1 w 14"/>
                <a:gd name="T3" fmla="*/ 4 h 14"/>
                <a:gd name="T4" fmla="*/ 4 w 14"/>
                <a:gd name="T5" fmla="*/ 8 h 14"/>
                <a:gd name="T6" fmla="*/ 1 w 14"/>
                <a:gd name="T7" fmla="*/ 14 h 14"/>
                <a:gd name="T8" fmla="*/ 14 w 14"/>
                <a:gd name="T9" fmla="*/ 1 h 14"/>
                <a:gd name="T10" fmla="*/ 3 w 14"/>
                <a:gd name="T11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4">
                  <a:moveTo>
                    <a:pt x="3" y="0"/>
                  </a:moveTo>
                  <a:cubicBezTo>
                    <a:pt x="4" y="2"/>
                    <a:pt x="0" y="2"/>
                    <a:pt x="1" y="4"/>
                  </a:cubicBezTo>
                  <a:cubicBezTo>
                    <a:pt x="2" y="2"/>
                    <a:pt x="6" y="6"/>
                    <a:pt x="4" y="8"/>
                  </a:cubicBezTo>
                  <a:cubicBezTo>
                    <a:pt x="1" y="7"/>
                    <a:pt x="2" y="11"/>
                    <a:pt x="1" y="14"/>
                  </a:cubicBezTo>
                  <a:cubicBezTo>
                    <a:pt x="5" y="9"/>
                    <a:pt x="14" y="5"/>
                    <a:pt x="14" y="1"/>
                  </a:cubicBezTo>
                  <a:cubicBezTo>
                    <a:pt x="11" y="5"/>
                    <a:pt x="4" y="5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7" name="任意多边形: 形状 626">
              <a:extLst>
                <a:ext uri="{FF2B5EF4-FFF2-40B4-BE49-F238E27FC236}">
                  <a16:creationId xmlns:a16="http://schemas.microsoft.com/office/drawing/2014/main" id="{932F9A60-1520-4D0B-B11F-FDF5BFA208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40089" y="-8045443"/>
              <a:ext cx="122238" cy="69850"/>
            </a:xfrm>
            <a:custGeom>
              <a:avLst/>
              <a:gdLst>
                <a:gd name="T0" fmla="*/ 8 w 37"/>
                <a:gd name="T1" fmla="*/ 20 h 21"/>
                <a:gd name="T2" fmla="*/ 37 w 37"/>
                <a:gd name="T3" fmla="*/ 0 h 21"/>
                <a:gd name="T4" fmla="*/ 23 w 37"/>
                <a:gd name="T5" fmla="*/ 8 h 21"/>
                <a:gd name="T6" fmla="*/ 0 w 37"/>
                <a:gd name="T7" fmla="*/ 17 h 21"/>
                <a:gd name="T8" fmla="*/ 8 w 37"/>
                <a:gd name="T9" fmla="*/ 2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21">
                  <a:moveTo>
                    <a:pt x="8" y="20"/>
                  </a:moveTo>
                  <a:cubicBezTo>
                    <a:pt x="12" y="8"/>
                    <a:pt x="30" y="9"/>
                    <a:pt x="37" y="0"/>
                  </a:cubicBezTo>
                  <a:cubicBezTo>
                    <a:pt x="33" y="1"/>
                    <a:pt x="24" y="2"/>
                    <a:pt x="23" y="8"/>
                  </a:cubicBezTo>
                  <a:cubicBezTo>
                    <a:pt x="13" y="7"/>
                    <a:pt x="12" y="15"/>
                    <a:pt x="0" y="17"/>
                  </a:cubicBezTo>
                  <a:cubicBezTo>
                    <a:pt x="2" y="21"/>
                    <a:pt x="6" y="18"/>
                    <a:pt x="8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8" name="任意多边形: 形状 627">
              <a:extLst>
                <a:ext uri="{FF2B5EF4-FFF2-40B4-BE49-F238E27FC236}">
                  <a16:creationId xmlns:a16="http://schemas.microsoft.com/office/drawing/2014/main" id="{557AA71A-2D3B-43B8-9861-4E56E73559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770351" y="-6532551"/>
              <a:ext cx="42863" cy="25400"/>
            </a:xfrm>
            <a:custGeom>
              <a:avLst/>
              <a:gdLst>
                <a:gd name="T0" fmla="*/ 13 w 13"/>
                <a:gd name="T1" fmla="*/ 4 h 8"/>
                <a:gd name="T2" fmla="*/ 5 w 13"/>
                <a:gd name="T3" fmla="*/ 3 h 8"/>
                <a:gd name="T4" fmla="*/ 5 w 13"/>
                <a:gd name="T5" fmla="*/ 8 h 8"/>
                <a:gd name="T6" fmla="*/ 10 w 13"/>
                <a:gd name="T7" fmla="*/ 7 h 8"/>
                <a:gd name="T8" fmla="*/ 11 w 13"/>
                <a:gd name="T9" fmla="*/ 8 h 8"/>
                <a:gd name="T10" fmla="*/ 11 w 13"/>
                <a:gd name="T11" fmla="*/ 3 h 8"/>
                <a:gd name="T12" fmla="*/ 13 w 13"/>
                <a:gd name="T1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8">
                  <a:moveTo>
                    <a:pt x="13" y="4"/>
                  </a:moveTo>
                  <a:cubicBezTo>
                    <a:pt x="11" y="0"/>
                    <a:pt x="8" y="1"/>
                    <a:pt x="5" y="3"/>
                  </a:cubicBezTo>
                  <a:cubicBezTo>
                    <a:pt x="10" y="6"/>
                    <a:pt x="0" y="8"/>
                    <a:pt x="5" y="8"/>
                  </a:cubicBezTo>
                  <a:cubicBezTo>
                    <a:pt x="8" y="6"/>
                    <a:pt x="7" y="4"/>
                    <a:pt x="10" y="7"/>
                  </a:cubicBezTo>
                  <a:cubicBezTo>
                    <a:pt x="9" y="7"/>
                    <a:pt x="9" y="8"/>
                    <a:pt x="11" y="8"/>
                  </a:cubicBezTo>
                  <a:cubicBezTo>
                    <a:pt x="10" y="6"/>
                    <a:pt x="10" y="5"/>
                    <a:pt x="11" y="3"/>
                  </a:cubicBezTo>
                  <a:cubicBezTo>
                    <a:pt x="11" y="4"/>
                    <a:pt x="12" y="5"/>
                    <a:pt x="1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29" name="任意多边形: 形状 628">
              <a:extLst>
                <a:ext uri="{FF2B5EF4-FFF2-40B4-BE49-F238E27FC236}">
                  <a16:creationId xmlns:a16="http://schemas.microsoft.com/office/drawing/2014/main" id="{C5C0396C-CAE1-427D-B517-3EEA958AE57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675101" y="-6513501"/>
              <a:ext cx="100013" cy="63500"/>
            </a:xfrm>
            <a:custGeom>
              <a:avLst/>
              <a:gdLst>
                <a:gd name="T0" fmla="*/ 0 w 30"/>
                <a:gd name="T1" fmla="*/ 16 h 19"/>
                <a:gd name="T2" fmla="*/ 6 w 30"/>
                <a:gd name="T3" fmla="*/ 18 h 19"/>
                <a:gd name="T4" fmla="*/ 29 w 30"/>
                <a:gd name="T5" fmla="*/ 7 h 19"/>
                <a:gd name="T6" fmla="*/ 30 w 30"/>
                <a:gd name="T7" fmla="*/ 1 h 19"/>
                <a:gd name="T8" fmla="*/ 5 w 30"/>
                <a:gd name="T9" fmla="*/ 10 h 19"/>
                <a:gd name="T10" fmla="*/ 7 w 30"/>
                <a:gd name="T11" fmla="*/ 10 h 19"/>
                <a:gd name="T12" fmla="*/ 0 w 30"/>
                <a:gd name="T13" fmla="*/ 1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19">
                  <a:moveTo>
                    <a:pt x="0" y="16"/>
                  </a:moveTo>
                  <a:cubicBezTo>
                    <a:pt x="1" y="19"/>
                    <a:pt x="4" y="18"/>
                    <a:pt x="6" y="18"/>
                  </a:cubicBezTo>
                  <a:cubicBezTo>
                    <a:pt x="9" y="13"/>
                    <a:pt x="24" y="0"/>
                    <a:pt x="29" y="7"/>
                  </a:cubicBezTo>
                  <a:cubicBezTo>
                    <a:pt x="29" y="5"/>
                    <a:pt x="30" y="3"/>
                    <a:pt x="30" y="1"/>
                  </a:cubicBezTo>
                  <a:cubicBezTo>
                    <a:pt x="20" y="1"/>
                    <a:pt x="7" y="1"/>
                    <a:pt x="5" y="10"/>
                  </a:cubicBezTo>
                  <a:cubicBezTo>
                    <a:pt x="6" y="9"/>
                    <a:pt x="7" y="9"/>
                    <a:pt x="7" y="10"/>
                  </a:cubicBezTo>
                  <a:cubicBezTo>
                    <a:pt x="4" y="12"/>
                    <a:pt x="5" y="15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0" name="任意多边形: 形状 629">
              <a:extLst>
                <a:ext uri="{FF2B5EF4-FFF2-40B4-BE49-F238E27FC236}">
                  <a16:creationId xmlns:a16="http://schemas.microsoft.com/office/drawing/2014/main" id="{D389F627-74ED-4C7F-B466-F779CBEE0C3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6506826" y="-6219813"/>
              <a:ext cx="333375" cy="193676"/>
            </a:xfrm>
            <a:custGeom>
              <a:avLst/>
              <a:gdLst>
                <a:gd name="T0" fmla="*/ 81 w 101"/>
                <a:gd name="T1" fmla="*/ 7 h 59"/>
                <a:gd name="T2" fmla="*/ 75 w 101"/>
                <a:gd name="T3" fmla="*/ 11 h 59"/>
                <a:gd name="T4" fmla="*/ 75 w 101"/>
                <a:gd name="T5" fmla="*/ 6 h 59"/>
                <a:gd name="T6" fmla="*/ 18 w 101"/>
                <a:gd name="T7" fmla="*/ 36 h 59"/>
                <a:gd name="T8" fmla="*/ 1 w 101"/>
                <a:gd name="T9" fmla="*/ 41 h 59"/>
                <a:gd name="T10" fmla="*/ 4 w 101"/>
                <a:gd name="T11" fmla="*/ 47 h 59"/>
                <a:gd name="T12" fmla="*/ 25 w 101"/>
                <a:gd name="T13" fmla="*/ 42 h 59"/>
                <a:gd name="T14" fmla="*/ 26 w 101"/>
                <a:gd name="T15" fmla="*/ 44 h 59"/>
                <a:gd name="T16" fmla="*/ 25 w 101"/>
                <a:gd name="T17" fmla="*/ 42 h 59"/>
                <a:gd name="T18" fmla="*/ 21 w 101"/>
                <a:gd name="T19" fmla="*/ 47 h 59"/>
                <a:gd name="T20" fmla="*/ 24 w 101"/>
                <a:gd name="T21" fmla="*/ 52 h 59"/>
                <a:gd name="T22" fmla="*/ 15 w 101"/>
                <a:gd name="T23" fmla="*/ 49 h 59"/>
                <a:gd name="T24" fmla="*/ 10 w 101"/>
                <a:gd name="T25" fmla="*/ 54 h 59"/>
                <a:gd name="T26" fmla="*/ 7 w 101"/>
                <a:gd name="T27" fmla="*/ 51 h 59"/>
                <a:gd name="T28" fmla="*/ 0 w 101"/>
                <a:gd name="T29" fmla="*/ 56 h 59"/>
                <a:gd name="T30" fmla="*/ 14 w 101"/>
                <a:gd name="T31" fmla="*/ 59 h 59"/>
                <a:gd name="T32" fmla="*/ 19 w 101"/>
                <a:gd name="T33" fmla="*/ 56 h 59"/>
                <a:gd name="T34" fmla="*/ 22 w 101"/>
                <a:gd name="T35" fmla="*/ 59 h 59"/>
                <a:gd name="T36" fmla="*/ 29 w 101"/>
                <a:gd name="T37" fmla="*/ 54 h 59"/>
                <a:gd name="T38" fmla="*/ 26 w 101"/>
                <a:gd name="T39" fmla="*/ 51 h 59"/>
                <a:gd name="T40" fmla="*/ 45 w 101"/>
                <a:gd name="T41" fmla="*/ 47 h 59"/>
                <a:gd name="T42" fmla="*/ 52 w 101"/>
                <a:gd name="T43" fmla="*/ 40 h 59"/>
                <a:gd name="T44" fmla="*/ 51 w 101"/>
                <a:gd name="T45" fmla="*/ 35 h 59"/>
                <a:gd name="T46" fmla="*/ 57 w 101"/>
                <a:gd name="T47" fmla="*/ 38 h 59"/>
                <a:gd name="T48" fmla="*/ 55 w 101"/>
                <a:gd name="T49" fmla="*/ 43 h 59"/>
                <a:gd name="T50" fmla="*/ 61 w 101"/>
                <a:gd name="T51" fmla="*/ 38 h 59"/>
                <a:gd name="T52" fmla="*/ 57 w 101"/>
                <a:gd name="T53" fmla="*/ 36 h 59"/>
                <a:gd name="T54" fmla="*/ 62 w 101"/>
                <a:gd name="T55" fmla="*/ 31 h 59"/>
                <a:gd name="T56" fmla="*/ 61 w 101"/>
                <a:gd name="T57" fmla="*/ 22 h 59"/>
                <a:gd name="T58" fmla="*/ 69 w 101"/>
                <a:gd name="T59" fmla="*/ 16 h 59"/>
                <a:gd name="T60" fmla="*/ 81 w 101"/>
                <a:gd name="T61" fmla="*/ 23 h 59"/>
                <a:gd name="T62" fmla="*/ 86 w 101"/>
                <a:gd name="T63" fmla="*/ 19 h 59"/>
                <a:gd name="T64" fmla="*/ 80 w 101"/>
                <a:gd name="T65" fmla="*/ 16 h 59"/>
                <a:gd name="T66" fmla="*/ 96 w 101"/>
                <a:gd name="T67" fmla="*/ 9 h 59"/>
                <a:gd name="T68" fmla="*/ 101 w 101"/>
                <a:gd name="T69" fmla="*/ 2 h 59"/>
                <a:gd name="T70" fmla="*/ 81 w 101"/>
                <a:gd name="T71" fmla="*/ 7 h 59"/>
                <a:gd name="T72" fmla="*/ 38 w 101"/>
                <a:gd name="T73" fmla="*/ 35 h 59"/>
                <a:gd name="T74" fmla="*/ 40 w 101"/>
                <a:gd name="T75" fmla="*/ 29 h 59"/>
                <a:gd name="T76" fmla="*/ 43 w 101"/>
                <a:gd name="T77" fmla="*/ 32 h 59"/>
                <a:gd name="T78" fmla="*/ 38 w 101"/>
                <a:gd name="T79" fmla="*/ 3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1" h="59">
                  <a:moveTo>
                    <a:pt x="81" y="7"/>
                  </a:moveTo>
                  <a:cubicBezTo>
                    <a:pt x="78" y="8"/>
                    <a:pt x="79" y="11"/>
                    <a:pt x="75" y="11"/>
                  </a:cubicBezTo>
                  <a:cubicBezTo>
                    <a:pt x="75" y="9"/>
                    <a:pt x="75" y="8"/>
                    <a:pt x="75" y="6"/>
                  </a:cubicBezTo>
                  <a:cubicBezTo>
                    <a:pt x="61" y="19"/>
                    <a:pt x="31" y="19"/>
                    <a:pt x="18" y="36"/>
                  </a:cubicBezTo>
                  <a:cubicBezTo>
                    <a:pt x="9" y="31"/>
                    <a:pt x="8" y="47"/>
                    <a:pt x="1" y="41"/>
                  </a:cubicBezTo>
                  <a:cubicBezTo>
                    <a:pt x="4" y="44"/>
                    <a:pt x="3" y="43"/>
                    <a:pt x="4" y="47"/>
                  </a:cubicBezTo>
                  <a:cubicBezTo>
                    <a:pt x="9" y="40"/>
                    <a:pt x="20" y="38"/>
                    <a:pt x="25" y="42"/>
                  </a:cubicBezTo>
                  <a:cubicBezTo>
                    <a:pt x="25" y="42"/>
                    <a:pt x="25" y="42"/>
                    <a:pt x="26" y="44"/>
                  </a:cubicBezTo>
                  <a:cubicBezTo>
                    <a:pt x="26" y="43"/>
                    <a:pt x="25" y="43"/>
                    <a:pt x="25" y="42"/>
                  </a:cubicBezTo>
                  <a:cubicBezTo>
                    <a:pt x="24" y="43"/>
                    <a:pt x="26" y="51"/>
                    <a:pt x="21" y="47"/>
                  </a:cubicBezTo>
                  <a:cubicBezTo>
                    <a:pt x="21" y="51"/>
                    <a:pt x="26" y="50"/>
                    <a:pt x="24" y="52"/>
                  </a:cubicBezTo>
                  <a:cubicBezTo>
                    <a:pt x="21" y="51"/>
                    <a:pt x="18" y="50"/>
                    <a:pt x="15" y="49"/>
                  </a:cubicBezTo>
                  <a:cubicBezTo>
                    <a:pt x="13" y="50"/>
                    <a:pt x="12" y="52"/>
                    <a:pt x="10" y="54"/>
                  </a:cubicBezTo>
                  <a:cubicBezTo>
                    <a:pt x="9" y="53"/>
                    <a:pt x="9" y="51"/>
                    <a:pt x="7" y="51"/>
                  </a:cubicBezTo>
                  <a:cubicBezTo>
                    <a:pt x="11" y="57"/>
                    <a:pt x="2" y="55"/>
                    <a:pt x="0" y="56"/>
                  </a:cubicBezTo>
                  <a:cubicBezTo>
                    <a:pt x="4" y="59"/>
                    <a:pt x="10" y="55"/>
                    <a:pt x="14" y="59"/>
                  </a:cubicBezTo>
                  <a:cubicBezTo>
                    <a:pt x="13" y="55"/>
                    <a:pt x="16" y="58"/>
                    <a:pt x="19" y="56"/>
                  </a:cubicBezTo>
                  <a:cubicBezTo>
                    <a:pt x="20" y="57"/>
                    <a:pt x="20" y="59"/>
                    <a:pt x="22" y="59"/>
                  </a:cubicBezTo>
                  <a:cubicBezTo>
                    <a:pt x="22" y="57"/>
                    <a:pt x="28" y="59"/>
                    <a:pt x="29" y="54"/>
                  </a:cubicBezTo>
                  <a:cubicBezTo>
                    <a:pt x="26" y="54"/>
                    <a:pt x="25" y="53"/>
                    <a:pt x="26" y="51"/>
                  </a:cubicBezTo>
                  <a:cubicBezTo>
                    <a:pt x="32" y="50"/>
                    <a:pt x="37" y="44"/>
                    <a:pt x="45" y="47"/>
                  </a:cubicBezTo>
                  <a:cubicBezTo>
                    <a:pt x="42" y="40"/>
                    <a:pt x="48" y="41"/>
                    <a:pt x="52" y="40"/>
                  </a:cubicBezTo>
                  <a:cubicBezTo>
                    <a:pt x="52" y="39"/>
                    <a:pt x="50" y="36"/>
                    <a:pt x="51" y="35"/>
                  </a:cubicBezTo>
                  <a:cubicBezTo>
                    <a:pt x="53" y="35"/>
                    <a:pt x="55" y="37"/>
                    <a:pt x="57" y="38"/>
                  </a:cubicBezTo>
                  <a:cubicBezTo>
                    <a:pt x="55" y="39"/>
                    <a:pt x="51" y="43"/>
                    <a:pt x="55" y="43"/>
                  </a:cubicBezTo>
                  <a:cubicBezTo>
                    <a:pt x="54" y="40"/>
                    <a:pt x="63" y="41"/>
                    <a:pt x="61" y="38"/>
                  </a:cubicBezTo>
                  <a:cubicBezTo>
                    <a:pt x="59" y="39"/>
                    <a:pt x="58" y="38"/>
                    <a:pt x="57" y="36"/>
                  </a:cubicBezTo>
                  <a:cubicBezTo>
                    <a:pt x="61" y="37"/>
                    <a:pt x="58" y="32"/>
                    <a:pt x="62" y="31"/>
                  </a:cubicBezTo>
                  <a:cubicBezTo>
                    <a:pt x="61" y="28"/>
                    <a:pt x="60" y="25"/>
                    <a:pt x="61" y="22"/>
                  </a:cubicBezTo>
                  <a:cubicBezTo>
                    <a:pt x="66" y="27"/>
                    <a:pt x="65" y="17"/>
                    <a:pt x="69" y="16"/>
                  </a:cubicBezTo>
                  <a:cubicBezTo>
                    <a:pt x="73" y="17"/>
                    <a:pt x="77" y="19"/>
                    <a:pt x="81" y="23"/>
                  </a:cubicBezTo>
                  <a:cubicBezTo>
                    <a:pt x="84" y="21"/>
                    <a:pt x="85" y="21"/>
                    <a:pt x="86" y="19"/>
                  </a:cubicBezTo>
                  <a:cubicBezTo>
                    <a:pt x="83" y="20"/>
                    <a:pt x="82" y="17"/>
                    <a:pt x="80" y="16"/>
                  </a:cubicBezTo>
                  <a:cubicBezTo>
                    <a:pt x="86" y="11"/>
                    <a:pt x="89" y="11"/>
                    <a:pt x="96" y="9"/>
                  </a:cubicBezTo>
                  <a:cubicBezTo>
                    <a:pt x="96" y="5"/>
                    <a:pt x="98" y="2"/>
                    <a:pt x="101" y="2"/>
                  </a:cubicBezTo>
                  <a:cubicBezTo>
                    <a:pt x="96" y="0"/>
                    <a:pt x="87" y="12"/>
                    <a:pt x="81" y="7"/>
                  </a:cubicBezTo>
                  <a:close/>
                  <a:moveTo>
                    <a:pt x="38" y="35"/>
                  </a:moveTo>
                  <a:cubicBezTo>
                    <a:pt x="34" y="31"/>
                    <a:pt x="44" y="33"/>
                    <a:pt x="40" y="29"/>
                  </a:cubicBezTo>
                  <a:cubicBezTo>
                    <a:pt x="41" y="28"/>
                    <a:pt x="42" y="31"/>
                    <a:pt x="43" y="32"/>
                  </a:cubicBezTo>
                  <a:cubicBezTo>
                    <a:pt x="42" y="33"/>
                    <a:pt x="41" y="35"/>
                    <a:pt x="38" y="3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1" name="任意多边形: 形状 630">
              <a:extLst>
                <a:ext uri="{FF2B5EF4-FFF2-40B4-BE49-F238E27FC236}">
                  <a16:creationId xmlns:a16="http://schemas.microsoft.com/office/drawing/2014/main" id="{69178CAF-715A-4132-A8DA-22EF04005A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03576" y="-7985117"/>
              <a:ext cx="39688" cy="25400"/>
            </a:xfrm>
            <a:custGeom>
              <a:avLst/>
              <a:gdLst>
                <a:gd name="T0" fmla="*/ 0 w 12"/>
                <a:gd name="T1" fmla="*/ 8 h 8"/>
                <a:gd name="T2" fmla="*/ 9 w 12"/>
                <a:gd name="T3" fmla="*/ 5 h 8"/>
                <a:gd name="T4" fmla="*/ 8 w 12"/>
                <a:gd name="T5" fmla="*/ 0 h 8"/>
                <a:gd name="T6" fmla="*/ 0 w 12"/>
                <a:gd name="T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0" y="8"/>
                  </a:moveTo>
                  <a:cubicBezTo>
                    <a:pt x="3" y="6"/>
                    <a:pt x="12" y="8"/>
                    <a:pt x="9" y="5"/>
                  </a:cubicBezTo>
                  <a:cubicBezTo>
                    <a:pt x="4" y="6"/>
                    <a:pt x="7" y="3"/>
                    <a:pt x="8" y="0"/>
                  </a:cubicBezTo>
                  <a:cubicBezTo>
                    <a:pt x="4" y="3"/>
                    <a:pt x="0" y="4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2" name="任意多边形: 形状 631">
              <a:extLst>
                <a:ext uri="{FF2B5EF4-FFF2-40B4-BE49-F238E27FC236}">
                  <a16:creationId xmlns:a16="http://schemas.microsoft.com/office/drawing/2014/main" id="{D4C00D69-1634-4B91-AC9D-17E5E868B12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70326" y="-6440476"/>
              <a:ext cx="49213" cy="30163"/>
            </a:xfrm>
            <a:custGeom>
              <a:avLst/>
              <a:gdLst>
                <a:gd name="T0" fmla="*/ 14 w 15"/>
                <a:gd name="T1" fmla="*/ 4 h 9"/>
                <a:gd name="T2" fmla="*/ 7 w 15"/>
                <a:gd name="T3" fmla="*/ 0 h 9"/>
                <a:gd name="T4" fmla="*/ 4 w 15"/>
                <a:gd name="T5" fmla="*/ 4 h 9"/>
                <a:gd name="T6" fmla="*/ 0 w 15"/>
                <a:gd name="T7" fmla="*/ 2 h 9"/>
                <a:gd name="T8" fmla="*/ 13 w 15"/>
                <a:gd name="T9" fmla="*/ 7 h 9"/>
                <a:gd name="T10" fmla="*/ 14 w 15"/>
                <a:gd name="T11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9">
                  <a:moveTo>
                    <a:pt x="14" y="4"/>
                  </a:moveTo>
                  <a:cubicBezTo>
                    <a:pt x="11" y="4"/>
                    <a:pt x="9" y="2"/>
                    <a:pt x="7" y="0"/>
                  </a:cubicBezTo>
                  <a:cubicBezTo>
                    <a:pt x="4" y="0"/>
                    <a:pt x="6" y="3"/>
                    <a:pt x="4" y="4"/>
                  </a:cubicBezTo>
                  <a:cubicBezTo>
                    <a:pt x="3" y="2"/>
                    <a:pt x="2" y="2"/>
                    <a:pt x="0" y="2"/>
                  </a:cubicBezTo>
                  <a:cubicBezTo>
                    <a:pt x="5" y="9"/>
                    <a:pt x="8" y="2"/>
                    <a:pt x="13" y="7"/>
                  </a:cubicBezTo>
                  <a:cubicBezTo>
                    <a:pt x="12" y="5"/>
                    <a:pt x="15" y="5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3" name="任意多边形: 形状 632">
              <a:extLst>
                <a:ext uri="{FF2B5EF4-FFF2-40B4-BE49-F238E27FC236}">
                  <a16:creationId xmlns:a16="http://schemas.microsoft.com/office/drawing/2014/main" id="{62102C67-7FBC-4123-A88C-3B412281DF3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546514" y="-6430951"/>
              <a:ext cx="33338" cy="20638"/>
            </a:xfrm>
            <a:custGeom>
              <a:avLst/>
              <a:gdLst>
                <a:gd name="T0" fmla="*/ 8 w 10"/>
                <a:gd name="T1" fmla="*/ 3 h 6"/>
                <a:gd name="T2" fmla="*/ 4 w 10"/>
                <a:gd name="T3" fmla="*/ 0 h 6"/>
                <a:gd name="T4" fmla="*/ 3 w 10"/>
                <a:gd name="T5" fmla="*/ 6 h 6"/>
                <a:gd name="T6" fmla="*/ 5 w 10"/>
                <a:gd name="T7" fmla="*/ 4 h 6"/>
                <a:gd name="T8" fmla="*/ 8 w 10"/>
                <a:gd name="T9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8" y="3"/>
                  </a:moveTo>
                  <a:cubicBezTo>
                    <a:pt x="6" y="4"/>
                    <a:pt x="5" y="3"/>
                    <a:pt x="4" y="0"/>
                  </a:cubicBezTo>
                  <a:cubicBezTo>
                    <a:pt x="2" y="1"/>
                    <a:pt x="0" y="6"/>
                    <a:pt x="3" y="6"/>
                  </a:cubicBezTo>
                  <a:cubicBezTo>
                    <a:pt x="2" y="5"/>
                    <a:pt x="4" y="4"/>
                    <a:pt x="5" y="4"/>
                  </a:cubicBezTo>
                  <a:cubicBezTo>
                    <a:pt x="6" y="5"/>
                    <a:pt x="10" y="6"/>
                    <a:pt x="8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4" name="任意多边形: 形状 633">
              <a:extLst>
                <a:ext uri="{FF2B5EF4-FFF2-40B4-BE49-F238E27FC236}">
                  <a16:creationId xmlns:a16="http://schemas.microsoft.com/office/drawing/2014/main" id="{4EEE3589-926C-4BE5-B975-A5CB1325438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759114" y="-8002580"/>
              <a:ext cx="46038" cy="53975"/>
            </a:xfrm>
            <a:custGeom>
              <a:avLst/>
              <a:gdLst>
                <a:gd name="T0" fmla="*/ 14 w 14"/>
                <a:gd name="T1" fmla="*/ 7 h 16"/>
                <a:gd name="T2" fmla="*/ 0 w 14"/>
                <a:gd name="T3" fmla="*/ 16 h 16"/>
                <a:gd name="T4" fmla="*/ 12 w 14"/>
                <a:gd name="T5" fmla="*/ 8 h 16"/>
                <a:gd name="T6" fmla="*/ 11 w 14"/>
                <a:gd name="T7" fmla="*/ 7 h 16"/>
                <a:gd name="T8" fmla="*/ 14 w 14"/>
                <a:gd name="T9" fmla="*/ 7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" h="16">
                  <a:moveTo>
                    <a:pt x="14" y="7"/>
                  </a:moveTo>
                  <a:cubicBezTo>
                    <a:pt x="10" y="0"/>
                    <a:pt x="0" y="16"/>
                    <a:pt x="0" y="16"/>
                  </a:cubicBezTo>
                  <a:cubicBezTo>
                    <a:pt x="2" y="13"/>
                    <a:pt x="11" y="12"/>
                    <a:pt x="12" y="8"/>
                  </a:cubicBezTo>
                  <a:cubicBezTo>
                    <a:pt x="11" y="8"/>
                    <a:pt x="10" y="8"/>
                    <a:pt x="11" y="7"/>
                  </a:cubicBezTo>
                  <a:cubicBezTo>
                    <a:pt x="12" y="8"/>
                    <a:pt x="13" y="8"/>
                    <a:pt x="1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5" name="任意多边形: 形状 634">
              <a:extLst>
                <a:ext uri="{FF2B5EF4-FFF2-40B4-BE49-F238E27FC236}">
                  <a16:creationId xmlns:a16="http://schemas.microsoft.com/office/drawing/2014/main" id="{59D2B30A-38F9-447F-B2BB-A2D7D4C8DC2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59189" y="-6357925"/>
              <a:ext cx="88900" cy="39688"/>
            </a:xfrm>
            <a:custGeom>
              <a:avLst/>
              <a:gdLst>
                <a:gd name="T0" fmla="*/ 21 w 27"/>
                <a:gd name="T1" fmla="*/ 0 h 12"/>
                <a:gd name="T2" fmla="*/ 10 w 27"/>
                <a:gd name="T3" fmla="*/ 3 h 12"/>
                <a:gd name="T4" fmla="*/ 12 w 27"/>
                <a:gd name="T5" fmla="*/ 0 h 12"/>
                <a:gd name="T6" fmla="*/ 7 w 27"/>
                <a:gd name="T7" fmla="*/ 1 h 12"/>
                <a:gd name="T8" fmla="*/ 7 w 27"/>
                <a:gd name="T9" fmla="*/ 8 h 12"/>
                <a:gd name="T10" fmla="*/ 0 w 27"/>
                <a:gd name="T11" fmla="*/ 11 h 12"/>
                <a:gd name="T12" fmla="*/ 12 w 27"/>
                <a:gd name="T13" fmla="*/ 6 h 12"/>
                <a:gd name="T14" fmla="*/ 12 w 27"/>
                <a:gd name="T15" fmla="*/ 10 h 12"/>
                <a:gd name="T16" fmla="*/ 15 w 27"/>
                <a:gd name="T17" fmla="*/ 3 h 12"/>
                <a:gd name="T18" fmla="*/ 18 w 27"/>
                <a:gd name="T19" fmla="*/ 7 h 12"/>
                <a:gd name="T20" fmla="*/ 24 w 27"/>
                <a:gd name="T21" fmla="*/ 5 h 12"/>
                <a:gd name="T22" fmla="*/ 21 w 27"/>
                <a:gd name="T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" h="12">
                  <a:moveTo>
                    <a:pt x="21" y="0"/>
                  </a:moveTo>
                  <a:cubicBezTo>
                    <a:pt x="22" y="5"/>
                    <a:pt x="12" y="2"/>
                    <a:pt x="10" y="3"/>
                  </a:cubicBezTo>
                  <a:cubicBezTo>
                    <a:pt x="11" y="2"/>
                    <a:pt x="13" y="2"/>
                    <a:pt x="12" y="0"/>
                  </a:cubicBezTo>
                  <a:cubicBezTo>
                    <a:pt x="10" y="1"/>
                    <a:pt x="9" y="2"/>
                    <a:pt x="7" y="1"/>
                  </a:cubicBezTo>
                  <a:cubicBezTo>
                    <a:pt x="8" y="4"/>
                    <a:pt x="7" y="6"/>
                    <a:pt x="7" y="8"/>
                  </a:cubicBezTo>
                  <a:cubicBezTo>
                    <a:pt x="4" y="8"/>
                    <a:pt x="1" y="7"/>
                    <a:pt x="0" y="11"/>
                  </a:cubicBezTo>
                  <a:cubicBezTo>
                    <a:pt x="6" y="12"/>
                    <a:pt x="10" y="10"/>
                    <a:pt x="12" y="6"/>
                  </a:cubicBezTo>
                  <a:cubicBezTo>
                    <a:pt x="13" y="8"/>
                    <a:pt x="10" y="8"/>
                    <a:pt x="12" y="10"/>
                  </a:cubicBezTo>
                  <a:cubicBezTo>
                    <a:pt x="18" y="10"/>
                    <a:pt x="12" y="5"/>
                    <a:pt x="15" y="3"/>
                  </a:cubicBezTo>
                  <a:cubicBezTo>
                    <a:pt x="17" y="5"/>
                    <a:pt x="19" y="4"/>
                    <a:pt x="18" y="7"/>
                  </a:cubicBezTo>
                  <a:cubicBezTo>
                    <a:pt x="24" y="5"/>
                    <a:pt x="24" y="5"/>
                    <a:pt x="24" y="5"/>
                  </a:cubicBezTo>
                  <a:cubicBezTo>
                    <a:pt x="22" y="2"/>
                    <a:pt x="27" y="0"/>
                    <a:pt x="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6" name="任意多边形: 形状 635">
              <a:extLst>
                <a:ext uri="{FF2B5EF4-FFF2-40B4-BE49-F238E27FC236}">
                  <a16:creationId xmlns:a16="http://schemas.microsoft.com/office/drawing/2014/main" id="{B4326B47-A32D-4489-BF49-92A5F9E167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303626" y="-6324588"/>
              <a:ext cx="46038" cy="34925"/>
            </a:xfrm>
            <a:custGeom>
              <a:avLst/>
              <a:gdLst>
                <a:gd name="T0" fmla="*/ 14 w 14"/>
                <a:gd name="T1" fmla="*/ 4 h 11"/>
                <a:gd name="T2" fmla="*/ 0 w 14"/>
                <a:gd name="T3" fmla="*/ 6 h 11"/>
                <a:gd name="T4" fmla="*/ 5 w 14"/>
                <a:gd name="T5" fmla="*/ 11 h 11"/>
                <a:gd name="T6" fmla="*/ 10 w 14"/>
                <a:gd name="T7" fmla="*/ 9 h 11"/>
                <a:gd name="T8" fmla="*/ 8 w 14"/>
                <a:gd name="T9" fmla="*/ 4 h 11"/>
                <a:gd name="T10" fmla="*/ 14 w 14"/>
                <a:gd name="T11" fmla="*/ 4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11">
                  <a:moveTo>
                    <a:pt x="14" y="4"/>
                  </a:moveTo>
                  <a:cubicBezTo>
                    <a:pt x="9" y="0"/>
                    <a:pt x="6" y="6"/>
                    <a:pt x="0" y="6"/>
                  </a:cubicBezTo>
                  <a:cubicBezTo>
                    <a:pt x="2" y="10"/>
                    <a:pt x="9" y="5"/>
                    <a:pt x="5" y="11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8" y="6"/>
                    <a:pt x="6" y="7"/>
                    <a:pt x="8" y="4"/>
                  </a:cubicBezTo>
                  <a:cubicBezTo>
                    <a:pt x="10" y="6"/>
                    <a:pt x="11" y="6"/>
                    <a:pt x="1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7" name="任意多边形: 形状 636">
              <a:extLst>
                <a:ext uri="{FF2B5EF4-FFF2-40B4-BE49-F238E27FC236}">
                  <a16:creationId xmlns:a16="http://schemas.microsoft.com/office/drawing/2014/main" id="{CF66CEA8-32AA-4410-A30C-17468B88CA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249651" y="-6286488"/>
              <a:ext cx="39688" cy="23813"/>
            </a:xfrm>
            <a:custGeom>
              <a:avLst/>
              <a:gdLst>
                <a:gd name="T0" fmla="*/ 11 w 12"/>
                <a:gd name="T1" fmla="*/ 1 h 7"/>
                <a:gd name="T2" fmla="*/ 3 w 12"/>
                <a:gd name="T3" fmla="*/ 5 h 7"/>
                <a:gd name="T4" fmla="*/ 1 w 12"/>
                <a:gd name="T5" fmla="*/ 1 h 7"/>
                <a:gd name="T6" fmla="*/ 11 w 12"/>
                <a:gd name="T7" fmla="*/ 5 h 7"/>
                <a:gd name="T8" fmla="*/ 11 w 12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7">
                  <a:moveTo>
                    <a:pt x="11" y="1"/>
                  </a:moveTo>
                  <a:cubicBezTo>
                    <a:pt x="9" y="0"/>
                    <a:pt x="7" y="4"/>
                    <a:pt x="3" y="5"/>
                  </a:cubicBezTo>
                  <a:cubicBezTo>
                    <a:pt x="1" y="3"/>
                    <a:pt x="3" y="1"/>
                    <a:pt x="1" y="1"/>
                  </a:cubicBezTo>
                  <a:cubicBezTo>
                    <a:pt x="0" y="7"/>
                    <a:pt x="8" y="5"/>
                    <a:pt x="11" y="5"/>
                  </a:cubicBezTo>
                  <a:cubicBezTo>
                    <a:pt x="10" y="4"/>
                    <a:pt x="12" y="3"/>
                    <a:pt x="11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8" name="任意多边形: 形状 637">
              <a:extLst>
                <a:ext uri="{FF2B5EF4-FFF2-40B4-BE49-F238E27FC236}">
                  <a16:creationId xmlns:a16="http://schemas.microsoft.com/office/drawing/2014/main" id="{2EFDCFCD-680E-4FC9-9CA5-E59C4165F90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17864" y="-6915139"/>
              <a:ext cx="42863" cy="33338"/>
            </a:xfrm>
            <a:custGeom>
              <a:avLst/>
              <a:gdLst>
                <a:gd name="T0" fmla="*/ 2 w 13"/>
                <a:gd name="T1" fmla="*/ 10 h 10"/>
                <a:gd name="T2" fmla="*/ 8 w 13"/>
                <a:gd name="T3" fmla="*/ 5 h 10"/>
                <a:gd name="T4" fmla="*/ 2 w 13"/>
                <a:gd name="T5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0">
                  <a:moveTo>
                    <a:pt x="2" y="10"/>
                  </a:moveTo>
                  <a:cubicBezTo>
                    <a:pt x="7" y="10"/>
                    <a:pt x="5" y="6"/>
                    <a:pt x="8" y="5"/>
                  </a:cubicBezTo>
                  <a:cubicBezTo>
                    <a:pt x="13" y="0"/>
                    <a:pt x="0" y="7"/>
                    <a:pt x="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39" name="任意多边形: 形状 638">
              <a:extLst>
                <a:ext uri="{FF2B5EF4-FFF2-40B4-BE49-F238E27FC236}">
                  <a16:creationId xmlns:a16="http://schemas.microsoft.com/office/drawing/2014/main" id="{E5823E2A-0890-4195-9AEF-4E9CB8B704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81351" y="-6894502"/>
              <a:ext cx="36513" cy="15875"/>
            </a:xfrm>
            <a:custGeom>
              <a:avLst/>
              <a:gdLst>
                <a:gd name="T0" fmla="*/ 0 w 11"/>
                <a:gd name="T1" fmla="*/ 5 h 5"/>
                <a:gd name="T2" fmla="*/ 11 w 11"/>
                <a:gd name="T3" fmla="*/ 0 h 5"/>
                <a:gd name="T4" fmla="*/ 0 w 11"/>
                <a:gd name="T5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5">
                  <a:moveTo>
                    <a:pt x="0" y="5"/>
                  </a:moveTo>
                  <a:cubicBezTo>
                    <a:pt x="3" y="3"/>
                    <a:pt x="10" y="4"/>
                    <a:pt x="11" y="0"/>
                  </a:cubicBezTo>
                  <a:cubicBezTo>
                    <a:pt x="7" y="3"/>
                    <a:pt x="1" y="1"/>
                    <a:pt x="0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0" name="任意多边形: 形状 639">
              <a:extLst>
                <a:ext uri="{FF2B5EF4-FFF2-40B4-BE49-F238E27FC236}">
                  <a16:creationId xmlns:a16="http://schemas.microsoft.com/office/drawing/2014/main" id="{3E8FB283-BF3C-4989-A64D-5CC5114724F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02014" y="-6265850"/>
              <a:ext cx="52388" cy="39688"/>
            </a:xfrm>
            <a:custGeom>
              <a:avLst/>
              <a:gdLst>
                <a:gd name="T0" fmla="*/ 10 w 16"/>
                <a:gd name="T1" fmla="*/ 0 h 12"/>
                <a:gd name="T2" fmla="*/ 0 w 16"/>
                <a:gd name="T3" fmla="*/ 6 h 12"/>
                <a:gd name="T4" fmla="*/ 3 w 16"/>
                <a:gd name="T5" fmla="*/ 4 h 12"/>
                <a:gd name="T6" fmla="*/ 0 w 16"/>
                <a:gd name="T7" fmla="*/ 5 h 12"/>
                <a:gd name="T8" fmla="*/ 0 w 16"/>
                <a:gd name="T9" fmla="*/ 12 h 12"/>
                <a:gd name="T10" fmla="*/ 16 w 16"/>
                <a:gd name="T11" fmla="*/ 3 h 12"/>
                <a:gd name="T12" fmla="*/ 10 w 16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12">
                  <a:moveTo>
                    <a:pt x="10" y="0"/>
                  </a:moveTo>
                  <a:cubicBezTo>
                    <a:pt x="12" y="4"/>
                    <a:pt x="3" y="10"/>
                    <a:pt x="0" y="6"/>
                  </a:cubicBezTo>
                  <a:cubicBezTo>
                    <a:pt x="1" y="6"/>
                    <a:pt x="3" y="5"/>
                    <a:pt x="3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8"/>
                    <a:pt x="1" y="8"/>
                    <a:pt x="0" y="12"/>
                  </a:cubicBezTo>
                  <a:cubicBezTo>
                    <a:pt x="5" y="8"/>
                    <a:pt x="8" y="7"/>
                    <a:pt x="16" y="3"/>
                  </a:cubicBezTo>
                  <a:cubicBezTo>
                    <a:pt x="15" y="0"/>
                    <a:pt x="12" y="2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1" name="任意多边形: 形状 640">
              <a:extLst>
                <a:ext uri="{FF2B5EF4-FFF2-40B4-BE49-F238E27FC236}">
                  <a16:creationId xmlns:a16="http://schemas.microsoft.com/office/drawing/2014/main" id="{107C02D2-FB3F-40AE-A3E9-D3BCE3AB2B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92489" y="-6127737"/>
              <a:ext cx="39688" cy="20638"/>
            </a:xfrm>
            <a:custGeom>
              <a:avLst/>
              <a:gdLst>
                <a:gd name="T0" fmla="*/ 0 w 12"/>
                <a:gd name="T1" fmla="*/ 6 h 6"/>
                <a:gd name="T2" fmla="*/ 12 w 12"/>
                <a:gd name="T3" fmla="*/ 0 h 6"/>
                <a:gd name="T4" fmla="*/ 0 w 12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6"/>
                  </a:moveTo>
                  <a:cubicBezTo>
                    <a:pt x="4" y="1"/>
                    <a:pt x="10" y="3"/>
                    <a:pt x="12" y="0"/>
                  </a:cubicBezTo>
                  <a:cubicBezTo>
                    <a:pt x="7" y="0"/>
                    <a:pt x="1" y="1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2" name="任意多边形: 形状 641">
              <a:extLst>
                <a:ext uri="{FF2B5EF4-FFF2-40B4-BE49-F238E27FC236}">
                  <a16:creationId xmlns:a16="http://schemas.microsoft.com/office/drawing/2014/main" id="{87324152-51AA-447C-879B-6B9C7C47CA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167101" y="-5959462"/>
              <a:ext cx="26988" cy="36513"/>
            </a:xfrm>
            <a:custGeom>
              <a:avLst/>
              <a:gdLst>
                <a:gd name="T0" fmla="*/ 1 w 8"/>
                <a:gd name="T1" fmla="*/ 2 h 11"/>
                <a:gd name="T2" fmla="*/ 5 w 8"/>
                <a:gd name="T3" fmla="*/ 11 h 11"/>
                <a:gd name="T4" fmla="*/ 7 w 8"/>
                <a:gd name="T5" fmla="*/ 2 h 11"/>
                <a:gd name="T6" fmla="*/ 1 w 8"/>
                <a:gd name="T7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1">
                  <a:moveTo>
                    <a:pt x="1" y="2"/>
                  </a:moveTo>
                  <a:cubicBezTo>
                    <a:pt x="8" y="4"/>
                    <a:pt x="0" y="9"/>
                    <a:pt x="5" y="11"/>
                  </a:cubicBezTo>
                  <a:cubicBezTo>
                    <a:pt x="3" y="7"/>
                    <a:pt x="8" y="6"/>
                    <a:pt x="7" y="2"/>
                  </a:cubicBezTo>
                  <a:cubicBezTo>
                    <a:pt x="4" y="5"/>
                    <a:pt x="4" y="0"/>
                    <a:pt x="1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3" name="任意多边形: 形状 642">
              <a:extLst>
                <a:ext uri="{FF2B5EF4-FFF2-40B4-BE49-F238E27FC236}">
                  <a16:creationId xmlns:a16="http://schemas.microsoft.com/office/drawing/2014/main" id="{5491FA93-2D9B-4055-B987-E13730DF95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22639" y="-6161075"/>
              <a:ext cx="55563" cy="30163"/>
            </a:xfrm>
            <a:custGeom>
              <a:avLst/>
              <a:gdLst>
                <a:gd name="T0" fmla="*/ 7 w 17"/>
                <a:gd name="T1" fmla="*/ 9 h 9"/>
                <a:gd name="T2" fmla="*/ 6 w 17"/>
                <a:gd name="T3" fmla="*/ 7 h 9"/>
                <a:gd name="T4" fmla="*/ 17 w 17"/>
                <a:gd name="T5" fmla="*/ 6 h 9"/>
                <a:gd name="T6" fmla="*/ 7 w 17"/>
                <a:gd name="T7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9">
                  <a:moveTo>
                    <a:pt x="7" y="9"/>
                  </a:moveTo>
                  <a:cubicBezTo>
                    <a:pt x="6" y="7"/>
                    <a:pt x="6" y="7"/>
                    <a:pt x="6" y="7"/>
                  </a:cubicBezTo>
                  <a:cubicBezTo>
                    <a:pt x="9" y="7"/>
                    <a:pt x="14" y="5"/>
                    <a:pt x="17" y="6"/>
                  </a:cubicBezTo>
                  <a:cubicBezTo>
                    <a:pt x="15" y="0"/>
                    <a:pt x="0" y="7"/>
                    <a:pt x="7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4" name="任意多边形: 形状 643">
              <a:extLst>
                <a:ext uri="{FF2B5EF4-FFF2-40B4-BE49-F238E27FC236}">
                  <a16:creationId xmlns:a16="http://schemas.microsoft.com/office/drawing/2014/main" id="{C36BBE3D-5F46-446F-A3DC-2807A587BD0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49626" y="-5989624"/>
              <a:ext cx="42863" cy="26988"/>
            </a:xfrm>
            <a:custGeom>
              <a:avLst/>
              <a:gdLst>
                <a:gd name="T0" fmla="*/ 12 w 13"/>
                <a:gd name="T1" fmla="*/ 2 h 8"/>
                <a:gd name="T2" fmla="*/ 5 w 13"/>
                <a:gd name="T3" fmla="*/ 1 h 8"/>
                <a:gd name="T4" fmla="*/ 4 w 13"/>
                <a:gd name="T5" fmla="*/ 6 h 8"/>
                <a:gd name="T6" fmla="*/ 13 w 13"/>
                <a:gd name="T7" fmla="*/ 8 h 8"/>
                <a:gd name="T8" fmla="*/ 12 w 13"/>
                <a:gd name="T9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8">
                  <a:moveTo>
                    <a:pt x="12" y="2"/>
                  </a:moveTo>
                  <a:cubicBezTo>
                    <a:pt x="9" y="4"/>
                    <a:pt x="7" y="2"/>
                    <a:pt x="5" y="1"/>
                  </a:cubicBezTo>
                  <a:cubicBezTo>
                    <a:pt x="6" y="3"/>
                    <a:pt x="0" y="6"/>
                    <a:pt x="4" y="6"/>
                  </a:cubicBezTo>
                  <a:cubicBezTo>
                    <a:pt x="7" y="0"/>
                    <a:pt x="10" y="8"/>
                    <a:pt x="13" y="8"/>
                  </a:cubicBezTo>
                  <a:cubicBezTo>
                    <a:pt x="12" y="6"/>
                    <a:pt x="13" y="5"/>
                    <a:pt x="12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5" name="任意多边形: 形状 644">
              <a:extLst>
                <a:ext uri="{FF2B5EF4-FFF2-40B4-BE49-F238E27FC236}">
                  <a16:creationId xmlns:a16="http://schemas.microsoft.com/office/drawing/2014/main" id="{D78C558D-0340-4E56-99FE-B01B08A58B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924214" y="-6164250"/>
              <a:ext cx="88900" cy="60325"/>
            </a:xfrm>
            <a:custGeom>
              <a:avLst/>
              <a:gdLst>
                <a:gd name="T0" fmla="*/ 26 w 27"/>
                <a:gd name="T1" fmla="*/ 12 h 18"/>
                <a:gd name="T2" fmla="*/ 17 w 27"/>
                <a:gd name="T3" fmla="*/ 12 h 18"/>
                <a:gd name="T4" fmla="*/ 22 w 27"/>
                <a:gd name="T5" fmla="*/ 10 h 18"/>
                <a:gd name="T6" fmla="*/ 19 w 27"/>
                <a:gd name="T7" fmla="*/ 1 h 18"/>
                <a:gd name="T8" fmla="*/ 11 w 27"/>
                <a:gd name="T9" fmla="*/ 0 h 18"/>
                <a:gd name="T10" fmla="*/ 16 w 27"/>
                <a:gd name="T11" fmla="*/ 3 h 18"/>
                <a:gd name="T12" fmla="*/ 18 w 27"/>
                <a:gd name="T13" fmla="*/ 9 h 18"/>
                <a:gd name="T14" fmla="*/ 12 w 27"/>
                <a:gd name="T15" fmla="*/ 10 h 18"/>
                <a:gd name="T16" fmla="*/ 10 w 27"/>
                <a:gd name="T17" fmla="*/ 7 h 18"/>
                <a:gd name="T18" fmla="*/ 0 w 27"/>
                <a:gd name="T19" fmla="*/ 11 h 18"/>
                <a:gd name="T20" fmla="*/ 6 w 27"/>
                <a:gd name="T21" fmla="*/ 14 h 18"/>
                <a:gd name="T22" fmla="*/ 7 w 27"/>
                <a:gd name="T23" fmla="*/ 11 h 18"/>
                <a:gd name="T24" fmla="*/ 15 w 27"/>
                <a:gd name="T25" fmla="*/ 11 h 18"/>
                <a:gd name="T26" fmla="*/ 16 w 27"/>
                <a:gd name="T27" fmla="*/ 15 h 18"/>
                <a:gd name="T28" fmla="*/ 26 w 27"/>
                <a:gd name="T29" fmla="*/ 1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7" h="18">
                  <a:moveTo>
                    <a:pt x="26" y="12"/>
                  </a:moveTo>
                  <a:cubicBezTo>
                    <a:pt x="23" y="14"/>
                    <a:pt x="18" y="17"/>
                    <a:pt x="17" y="12"/>
                  </a:cubicBezTo>
                  <a:cubicBezTo>
                    <a:pt x="20" y="11"/>
                    <a:pt x="19" y="8"/>
                    <a:pt x="22" y="10"/>
                  </a:cubicBezTo>
                  <a:cubicBezTo>
                    <a:pt x="19" y="6"/>
                    <a:pt x="15" y="5"/>
                    <a:pt x="19" y="1"/>
                  </a:cubicBezTo>
                  <a:cubicBezTo>
                    <a:pt x="17" y="1"/>
                    <a:pt x="14" y="1"/>
                    <a:pt x="11" y="0"/>
                  </a:cubicBezTo>
                  <a:cubicBezTo>
                    <a:pt x="12" y="5"/>
                    <a:pt x="15" y="0"/>
                    <a:pt x="16" y="3"/>
                  </a:cubicBezTo>
                  <a:cubicBezTo>
                    <a:pt x="15" y="5"/>
                    <a:pt x="16" y="6"/>
                    <a:pt x="18" y="9"/>
                  </a:cubicBezTo>
                  <a:cubicBezTo>
                    <a:pt x="16" y="8"/>
                    <a:pt x="14" y="9"/>
                    <a:pt x="12" y="10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5" y="11"/>
                    <a:pt x="6" y="11"/>
                    <a:pt x="0" y="11"/>
                  </a:cubicBezTo>
                  <a:cubicBezTo>
                    <a:pt x="1" y="15"/>
                    <a:pt x="3" y="16"/>
                    <a:pt x="6" y="14"/>
                  </a:cubicBezTo>
                  <a:cubicBezTo>
                    <a:pt x="8" y="14"/>
                    <a:pt x="6" y="12"/>
                    <a:pt x="7" y="11"/>
                  </a:cubicBezTo>
                  <a:cubicBezTo>
                    <a:pt x="11" y="10"/>
                    <a:pt x="12" y="16"/>
                    <a:pt x="15" y="11"/>
                  </a:cubicBezTo>
                  <a:cubicBezTo>
                    <a:pt x="16" y="13"/>
                    <a:pt x="16" y="14"/>
                    <a:pt x="16" y="15"/>
                  </a:cubicBezTo>
                  <a:cubicBezTo>
                    <a:pt x="19" y="15"/>
                    <a:pt x="27" y="18"/>
                    <a:pt x="2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6" name="任意多边形: 形状 645">
              <a:extLst>
                <a:ext uri="{FF2B5EF4-FFF2-40B4-BE49-F238E27FC236}">
                  <a16:creationId xmlns:a16="http://schemas.microsoft.com/office/drawing/2014/main" id="{E694DA12-105D-4713-B88E-2CAA273641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38514" y="-5968987"/>
              <a:ext cx="33338" cy="19050"/>
            </a:xfrm>
            <a:custGeom>
              <a:avLst/>
              <a:gdLst>
                <a:gd name="T0" fmla="*/ 0 w 10"/>
                <a:gd name="T1" fmla="*/ 3 h 6"/>
                <a:gd name="T2" fmla="*/ 3 w 10"/>
                <a:gd name="T3" fmla="*/ 6 h 6"/>
                <a:gd name="T4" fmla="*/ 10 w 10"/>
                <a:gd name="T5" fmla="*/ 4 h 6"/>
                <a:gd name="T6" fmla="*/ 0 w 10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6">
                  <a:moveTo>
                    <a:pt x="0" y="3"/>
                  </a:moveTo>
                  <a:cubicBezTo>
                    <a:pt x="1" y="3"/>
                    <a:pt x="3" y="4"/>
                    <a:pt x="3" y="6"/>
                  </a:cubicBezTo>
                  <a:cubicBezTo>
                    <a:pt x="6" y="3"/>
                    <a:pt x="7" y="4"/>
                    <a:pt x="10" y="4"/>
                  </a:cubicBezTo>
                  <a:cubicBezTo>
                    <a:pt x="9" y="0"/>
                    <a:pt x="0" y="3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7" name="任意多边形: 形状 646">
              <a:extLst>
                <a:ext uri="{FF2B5EF4-FFF2-40B4-BE49-F238E27FC236}">
                  <a16:creationId xmlns:a16="http://schemas.microsoft.com/office/drawing/2014/main" id="{1E511699-4C6E-4ED4-9530-76BC265F4EF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894051" y="-6130912"/>
              <a:ext cx="39688" cy="39688"/>
            </a:xfrm>
            <a:custGeom>
              <a:avLst/>
              <a:gdLst>
                <a:gd name="T0" fmla="*/ 2 w 12"/>
                <a:gd name="T1" fmla="*/ 9 h 12"/>
                <a:gd name="T2" fmla="*/ 4 w 12"/>
                <a:gd name="T3" fmla="*/ 5 h 12"/>
                <a:gd name="T4" fmla="*/ 12 w 12"/>
                <a:gd name="T5" fmla="*/ 7 h 12"/>
                <a:gd name="T6" fmla="*/ 2 w 12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2">
                  <a:moveTo>
                    <a:pt x="2" y="9"/>
                  </a:moveTo>
                  <a:cubicBezTo>
                    <a:pt x="4" y="8"/>
                    <a:pt x="3" y="6"/>
                    <a:pt x="4" y="5"/>
                  </a:cubicBezTo>
                  <a:cubicBezTo>
                    <a:pt x="6" y="7"/>
                    <a:pt x="11" y="12"/>
                    <a:pt x="12" y="7"/>
                  </a:cubicBezTo>
                  <a:cubicBezTo>
                    <a:pt x="8" y="8"/>
                    <a:pt x="0" y="0"/>
                    <a:pt x="2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8" name="任意多边形: 形状 647">
              <a:extLst>
                <a:ext uri="{FF2B5EF4-FFF2-40B4-BE49-F238E27FC236}">
                  <a16:creationId xmlns:a16="http://schemas.microsoft.com/office/drawing/2014/main" id="{39DAC955-6193-44FE-8DE0-BE93151BAB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278101" y="-6826239"/>
              <a:ext cx="28575" cy="30163"/>
            </a:xfrm>
            <a:custGeom>
              <a:avLst/>
              <a:gdLst>
                <a:gd name="T0" fmla="*/ 2 w 9"/>
                <a:gd name="T1" fmla="*/ 4 h 9"/>
                <a:gd name="T2" fmla="*/ 0 w 9"/>
                <a:gd name="T3" fmla="*/ 6 h 9"/>
                <a:gd name="T4" fmla="*/ 2 w 9"/>
                <a:gd name="T5" fmla="*/ 9 h 9"/>
                <a:gd name="T6" fmla="*/ 6 w 9"/>
                <a:gd name="T7" fmla="*/ 9 h 9"/>
                <a:gd name="T8" fmla="*/ 2 w 9"/>
                <a:gd name="T9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" h="9">
                  <a:moveTo>
                    <a:pt x="2" y="4"/>
                  </a:moveTo>
                  <a:cubicBezTo>
                    <a:pt x="4" y="3"/>
                    <a:pt x="2" y="5"/>
                    <a:pt x="0" y="6"/>
                  </a:cubicBezTo>
                  <a:cubicBezTo>
                    <a:pt x="2" y="7"/>
                    <a:pt x="0" y="9"/>
                    <a:pt x="2" y="9"/>
                  </a:cubicBezTo>
                  <a:cubicBezTo>
                    <a:pt x="1" y="5"/>
                    <a:pt x="5" y="9"/>
                    <a:pt x="6" y="9"/>
                  </a:cubicBezTo>
                  <a:cubicBezTo>
                    <a:pt x="9" y="3"/>
                    <a:pt x="7" y="0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49" name="任意多边形: 形状 648">
              <a:extLst>
                <a:ext uri="{FF2B5EF4-FFF2-40B4-BE49-F238E27FC236}">
                  <a16:creationId xmlns:a16="http://schemas.microsoft.com/office/drawing/2014/main" id="{82F3D8F4-7435-4B40-AC92-15105F7AB1F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138401" y="-6756389"/>
              <a:ext cx="20638" cy="19050"/>
            </a:xfrm>
            <a:custGeom>
              <a:avLst/>
              <a:gdLst>
                <a:gd name="T0" fmla="*/ 0 w 6"/>
                <a:gd name="T1" fmla="*/ 6 h 6"/>
                <a:gd name="T2" fmla="*/ 5 w 6"/>
                <a:gd name="T3" fmla="*/ 2 h 6"/>
                <a:gd name="T4" fmla="*/ 6 w 6"/>
                <a:gd name="T5" fmla="*/ 1 h 6"/>
                <a:gd name="T6" fmla="*/ 0 w 6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6">
                  <a:moveTo>
                    <a:pt x="0" y="6"/>
                  </a:moveTo>
                  <a:cubicBezTo>
                    <a:pt x="4" y="6"/>
                    <a:pt x="4" y="4"/>
                    <a:pt x="5" y="2"/>
                  </a:cubicBezTo>
                  <a:cubicBezTo>
                    <a:pt x="5" y="2"/>
                    <a:pt x="6" y="3"/>
                    <a:pt x="6" y="1"/>
                  </a:cubicBezTo>
                  <a:cubicBezTo>
                    <a:pt x="2" y="0"/>
                    <a:pt x="0" y="3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0" name="任意多边形: 形状 649">
              <a:extLst>
                <a:ext uri="{FF2B5EF4-FFF2-40B4-BE49-F238E27FC236}">
                  <a16:creationId xmlns:a16="http://schemas.microsoft.com/office/drawing/2014/main" id="{167024AD-8EDF-436A-BD4A-2E603578EB2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4770101" y="-4849796"/>
              <a:ext cx="30163" cy="42863"/>
            </a:xfrm>
            <a:custGeom>
              <a:avLst/>
              <a:gdLst>
                <a:gd name="T0" fmla="*/ 2 w 9"/>
                <a:gd name="T1" fmla="*/ 4 h 13"/>
                <a:gd name="T2" fmla="*/ 1 w 9"/>
                <a:gd name="T3" fmla="*/ 13 h 13"/>
                <a:gd name="T4" fmla="*/ 6 w 9"/>
                <a:gd name="T5" fmla="*/ 0 h 13"/>
                <a:gd name="T6" fmla="*/ 2 w 9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13">
                  <a:moveTo>
                    <a:pt x="2" y="4"/>
                  </a:moveTo>
                  <a:cubicBezTo>
                    <a:pt x="2" y="6"/>
                    <a:pt x="2" y="6"/>
                    <a:pt x="1" y="13"/>
                  </a:cubicBezTo>
                  <a:cubicBezTo>
                    <a:pt x="5" y="10"/>
                    <a:pt x="9" y="6"/>
                    <a:pt x="6" y="0"/>
                  </a:cubicBezTo>
                  <a:cubicBezTo>
                    <a:pt x="5" y="2"/>
                    <a:pt x="0" y="2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1" name="任意多边形: 形状 650">
              <a:extLst>
                <a:ext uri="{FF2B5EF4-FFF2-40B4-BE49-F238E27FC236}">
                  <a16:creationId xmlns:a16="http://schemas.microsoft.com/office/drawing/2014/main" id="{C072A2F7-298A-4537-A1DF-39455420C44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588750" y="-6743689"/>
              <a:ext cx="55563" cy="23813"/>
            </a:xfrm>
            <a:custGeom>
              <a:avLst/>
              <a:gdLst>
                <a:gd name="T0" fmla="*/ 8 w 17"/>
                <a:gd name="T1" fmla="*/ 0 h 7"/>
                <a:gd name="T2" fmla="*/ 2 w 17"/>
                <a:gd name="T3" fmla="*/ 5 h 7"/>
                <a:gd name="T4" fmla="*/ 6 w 17"/>
                <a:gd name="T5" fmla="*/ 7 h 7"/>
                <a:gd name="T6" fmla="*/ 17 w 17"/>
                <a:gd name="T7" fmla="*/ 5 h 7"/>
                <a:gd name="T8" fmla="*/ 15 w 17"/>
                <a:gd name="T9" fmla="*/ 0 h 7"/>
                <a:gd name="T10" fmla="*/ 8 w 17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7">
                  <a:moveTo>
                    <a:pt x="8" y="0"/>
                  </a:moveTo>
                  <a:cubicBezTo>
                    <a:pt x="4" y="3"/>
                    <a:pt x="0" y="0"/>
                    <a:pt x="2" y="5"/>
                  </a:cubicBezTo>
                  <a:cubicBezTo>
                    <a:pt x="3" y="4"/>
                    <a:pt x="4" y="6"/>
                    <a:pt x="6" y="7"/>
                  </a:cubicBezTo>
                  <a:cubicBezTo>
                    <a:pt x="9" y="2"/>
                    <a:pt x="13" y="2"/>
                    <a:pt x="17" y="5"/>
                  </a:cubicBezTo>
                  <a:cubicBezTo>
                    <a:pt x="15" y="3"/>
                    <a:pt x="15" y="2"/>
                    <a:pt x="15" y="0"/>
                  </a:cubicBezTo>
                  <a:cubicBezTo>
                    <a:pt x="12" y="2"/>
                    <a:pt x="9" y="4"/>
                    <a:pt x="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2" name="任意多边形: 形状 651">
              <a:extLst>
                <a:ext uri="{FF2B5EF4-FFF2-40B4-BE49-F238E27FC236}">
                  <a16:creationId xmlns:a16="http://schemas.microsoft.com/office/drawing/2014/main" id="{55CAB277-4AD7-4626-93EB-2F54DB19477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749213" y="-4457683"/>
              <a:ext cx="52388" cy="36513"/>
            </a:xfrm>
            <a:custGeom>
              <a:avLst/>
              <a:gdLst>
                <a:gd name="T0" fmla="*/ 15 w 16"/>
                <a:gd name="T1" fmla="*/ 1 h 11"/>
                <a:gd name="T2" fmla="*/ 4 w 16"/>
                <a:gd name="T3" fmla="*/ 5 h 11"/>
                <a:gd name="T4" fmla="*/ 0 w 16"/>
                <a:gd name="T5" fmla="*/ 3 h 11"/>
                <a:gd name="T6" fmla="*/ 16 w 16"/>
                <a:gd name="T7" fmla="*/ 5 h 11"/>
                <a:gd name="T8" fmla="*/ 14 w 16"/>
                <a:gd name="T9" fmla="*/ 3 h 11"/>
                <a:gd name="T10" fmla="*/ 15 w 16"/>
                <a:gd name="T11" fmla="*/ 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" h="11">
                  <a:moveTo>
                    <a:pt x="15" y="1"/>
                  </a:moveTo>
                  <a:cubicBezTo>
                    <a:pt x="12" y="2"/>
                    <a:pt x="9" y="4"/>
                    <a:pt x="4" y="5"/>
                  </a:cubicBezTo>
                  <a:cubicBezTo>
                    <a:pt x="3" y="4"/>
                    <a:pt x="2" y="1"/>
                    <a:pt x="0" y="3"/>
                  </a:cubicBezTo>
                  <a:cubicBezTo>
                    <a:pt x="4" y="11"/>
                    <a:pt x="11" y="0"/>
                    <a:pt x="16" y="5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5" y="2"/>
                    <a:pt x="15" y="2"/>
                    <a:pt x="1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3" name="任意多边形: 形状 652">
              <a:extLst>
                <a:ext uri="{FF2B5EF4-FFF2-40B4-BE49-F238E27FC236}">
                  <a16:creationId xmlns:a16="http://schemas.microsoft.com/office/drawing/2014/main" id="{A6F62395-6801-4ADA-9D3A-872C2B8F2A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811126" y="-4197332"/>
              <a:ext cx="52388" cy="82550"/>
            </a:xfrm>
            <a:custGeom>
              <a:avLst/>
              <a:gdLst>
                <a:gd name="T0" fmla="*/ 0 w 16"/>
                <a:gd name="T1" fmla="*/ 24 h 25"/>
                <a:gd name="T2" fmla="*/ 7 w 16"/>
                <a:gd name="T3" fmla="*/ 23 h 25"/>
                <a:gd name="T4" fmla="*/ 16 w 16"/>
                <a:gd name="T5" fmla="*/ 12 h 25"/>
                <a:gd name="T6" fmla="*/ 16 w 16"/>
                <a:gd name="T7" fmla="*/ 7 h 25"/>
                <a:gd name="T8" fmla="*/ 9 w 16"/>
                <a:gd name="T9" fmla="*/ 7 h 25"/>
                <a:gd name="T10" fmla="*/ 7 w 16"/>
                <a:gd name="T11" fmla="*/ 1 h 25"/>
                <a:gd name="T12" fmla="*/ 5 w 16"/>
                <a:gd name="T13" fmla="*/ 8 h 25"/>
                <a:gd name="T14" fmla="*/ 9 w 16"/>
                <a:gd name="T15" fmla="*/ 8 h 25"/>
                <a:gd name="T16" fmla="*/ 2 w 16"/>
                <a:gd name="T17" fmla="*/ 12 h 25"/>
                <a:gd name="T18" fmla="*/ 6 w 16"/>
                <a:gd name="T19" fmla="*/ 16 h 25"/>
                <a:gd name="T20" fmla="*/ 0 w 16"/>
                <a:gd name="T21" fmla="*/ 2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" h="25">
                  <a:moveTo>
                    <a:pt x="0" y="24"/>
                  </a:moveTo>
                  <a:cubicBezTo>
                    <a:pt x="3" y="22"/>
                    <a:pt x="5" y="25"/>
                    <a:pt x="7" y="23"/>
                  </a:cubicBezTo>
                  <a:cubicBezTo>
                    <a:pt x="7" y="17"/>
                    <a:pt x="11" y="17"/>
                    <a:pt x="16" y="12"/>
                  </a:cubicBezTo>
                  <a:cubicBezTo>
                    <a:pt x="14" y="10"/>
                    <a:pt x="16" y="9"/>
                    <a:pt x="16" y="7"/>
                  </a:cubicBezTo>
                  <a:cubicBezTo>
                    <a:pt x="13" y="9"/>
                    <a:pt x="11" y="7"/>
                    <a:pt x="9" y="7"/>
                  </a:cubicBezTo>
                  <a:cubicBezTo>
                    <a:pt x="9" y="6"/>
                    <a:pt x="9" y="0"/>
                    <a:pt x="7" y="1"/>
                  </a:cubicBezTo>
                  <a:cubicBezTo>
                    <a:pt x="7" y="6"/>
                    <a:pt x="4" y="4"/>
                    <a:pt x="5" y="8"/>
                  </a:cubicBezTo>
                  <a:cubicBezTo>
                    <a:pt x="6" y="7"/>
                    <a:pt x="8" y="7"/>
                    <a:pt x="9" y="8"/>
                  </a:cubicBezTo>
                  <a:cubicBezTo>
                    <a:pt x="7" y="12"/>
                    <a:pt x="6" y="11"/>
                    <a:pt x="2" y="12"/>
                  </a:cubicBezTo>
                  <a:cubicBezTo>
                    <a:pt x="3" y="15"/>
                    <a:pt x="5" y="14"/>
                    <a:pt x="6" y="16"/>
                  </a:cubicBezTo>
                  <a:cubicBezTo>
                    <a:pt x="2" y="16"/>
                    <a:pt x="2" y="22"/>
                    <a:pt x="0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4" name="任意多边形: 形状 653">
              <a:extLst>
                <a:ext uri="{FF2B5EF4-FFF2-40B4-BE49-F238E27FC236}">
                  <a16:creationId xmlns:a16="http://schemas.microsoft.com/office/drawing/2014/main" id="{A4CF4687-CC70-4F15-BBB3-319A797E0E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66626" y="-4918059"/>
              <a:ext cx="49213" cy="15875"/>
            </a:xfrm>
            <a:custGeom>
              <a:avLst/>
              <a:gdLst>
                <a:gd name="T0" fmla="*/ 5 w 15"/>
                <a:gd name="T1" fmla="*/ 3 h 5"/>
                <a:gd name="T2" fmla="*/ 15 w 15"/>
                <a:gd name="T3" fmla="*/ 4 h 5"/>
                <a:gd name="T4" fmla="*/ 11 w 15"/>
                <a:gd name="T5" fmla="*/ 2 h 5"/>
                <a:gd name="T6" fmla="*/ 10 w 15"/>
                <a:gd name="T7" fmla="*/ 1 h 5"/>
                <a:gd name="T8" fmla="*/ 5 w 15"/>
                <a:gd name="T9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5">
                  <a:moveTo>
                    <a:pt x="5" y="3"/>
                  </a:moveTo>
                  <a:cubicBezTo>
                    <a:pt x="9" y="3"/>
                    <a:pt x="11" y="5"/>
                    <a:pt x="15" y="4"/>
                  </a:cubicBezTo>
                  <a:cubicBezTo>
                    <a:pt x="14" y="2"/>
                    <a:pt x="12" y="2"/>
                    <a:pt x="11" y="2"/>
                  </a:cubicBezTo>
                  <a:cubicBezTo>
                    <a:pt x="11" y="1"/>
                    <a:pt x="11" y="0"/>
                    <a:pt x="10" y="1"/>
                  </a:cubicBezTo>
                  <a:cubicBezTo>
                    <a:pt x="12" y="3"/>
                    <a:pt x="0" y="2"/>
                    <a:pt x="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5" name="任意多边形: 形状 654">
              <a:extLst>
                <a:ext uri="{FF2B5EF4-FFF2-40B4-BE49-F238E27FC236}">
                  <a16:creationId xmlns:a16="http://schemas.microsoft.com/office/drawing/2014/main" id="{E611ACF4-CFD9-4E95-BB35-435EBB4EE1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71363" y="-4813284"/>
              <a:ext cx="254000" cy="128588"/>
            </a:xfrm>
            <a:custGeom>
              <a:avLst/>
              <a:gdLst>
                <a:gd name="T0" fmla="*/ 25 w 77"/>
                <a:gd name="T1" fmla="*/ 32 h 39"/>
                <a:gd name="T2" fmla="*/ 29 w 77"/>
                <a:gd name="T3" fmla="*/ 35 h 39"/>
                <a:gd name="T4" fmla="*/ 35 w 77"/>
                <a:gd name="T5" fmla="*/ 25 h 39"/>
                <a:gd name="T6" fmla="*/ 65 w 77"/>
                <a:gd name="T7" fmla="*/ 17 h 39"/>
                <a:gd name="T8" fmla="*/ 63 w 77"/>
                <a:gd name="T9" fmla="*/ 12 h 39"/>
                <a:gd name="T10" fmla="*/ 73 w 77"/>
                <a:gd name="T11" fmla="*/ 8 h 39"/>
                <a:gd name="T12" fmla="*/ 76 w 77"/>
                <a:gd name="T13" fmla="*/ 0 h 39"/>
                <a:gd name="T14" fmla="*/ 58 w 77"/>
                <a:gd name="T15" fmla="*/ 17 h 39"/>
                <a:gd name="T16" fmla="*/ 34 w 77"/>
                <a:gd name="T17" fmla="*/ 19 h 39"/>
                <a:gd name="T18" fmla="*/ 23 w 77"/>
                <a:gd name="T19" fmla="*/ 25 h 39"/>
                <a:gd name="T20" fmla="*/ 24 w 77"/>
                <a:gd name="T21" fmla="*/ 30 h 39"/>
                <a:gd name="T22" fmla="*/ 12 w 77"/>
                <a:gd name="T23" fmla="*/ 35 h 39"/>
                <a:gd name="T24" fmla="*/ 4 w 77"/>
                <a:gd name="T25" fmla="*/ 36 h 39"/>
                <a:gd name="T26" fmla="*/ 10 w 77"/>
                <a:gd name="T27" fmla="*/ 38 h 39"/>
                <a:gd name="T28" fmla="*/ 25 w 77"/>
                <a:gd name="T29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7" h="39">
                  <a:moveTo>
                    <a:pt x="25" y="32"/>
                  </a:moveTo>
                  <a:cubicBezTo>
                    <a:pt x="26" y="31"/>
                    <a:pt x="27" y="36"/>
                    <a:pt x="29" y="35"/>
                  </a:cubicBezTo>
                  <a:cubicBezTo>
                    <a:pt x="27" y="27"/>
                    <a:pt x="38" y="34"/>
                    <a:pt x="35" y="25"/>
                  </a:cubicBezTo>
                  <a:cubicBezTo>
                    <a:pt x="44" y="27"/>
                    <a:pt x="59" y="18"/>
                    <a:pt x="65" y="17"/>
                  </a:cubicBezTo>
                  <a:cubicBezTo>
                    <a:pt x="64" y="17"/>
                    <a:pt x="63" y="13"/>
                    <a:pt x="63" y="12"/>
                  </a:cubicBezTo>
                  <a:cubicBezTo>
                    <a:pt x="68" y="13"/>
                    <a:pt x="73" y="0"/>
                    <a:pt x="73" y="8"/>
                  </a:cubicBezTo>
                  <a:cubicBezTo>
                    <a:pt x="77" y="7"/>
                    <a:pt x="76" y="3"/>
                    <a:pt x="76" y="0"/>
                  </a:cubicBezTo>
                  <a:cubicBezTo>
                    <a:pt x="70" y="7"/>
                    <a:pt x="61" y="10"/>
                    <a:pt x="58" y="17"/>
                  </a:cubicBezTo>
                  <a:cubicBezTo>
                    <a:pt x="48" y="11"/>
                    <a:pt x="39" y="32"/>
                    <a:pt x="34" y="19"/>
                  </a:cubicBezTo>
                  <a:cubicBezTo>
                    <a:pt x="31" y="24"/>
                    <a:pt x="29" y="22"/>
                    <a:pt x="23" y="25"/>
                  </a:cubicBezTo>
                  <a:cubicBezTo>
                    <a:pt x="25" y="27"/>
                    <a:pt x="25" y="29"/>
                    <a:pt x="24" y="30"/>
                  </a:cubicBezTo>
                  <a:cubicBezTo>
                    <a:pt x="19" y="31"/>
                    <a:pt x="16" y="31"/>
                    <a:pt x="12" y="35"/>
                  </a:cubicBezTo>
                  <a:cubicBezTo>
                    <a:pt x="8" y="30"/>
                    <a:pt x="0" y="32"/>
                    <a:pt x="4" y="36"/>
                  </a:cubicBezTo>
                  <a:cubicBezTo>
                    <a:pt x="6" y="29"/>
                    <a:pt x="8" y="39"/>
                    <a:pt x="10" y="38"/>
                  </a:cubicBezTo>
                  <a:cubicBezTo>
                    <a:pt x="13" y="35"/>
                    <a:pt x="22" y="38"/>
                    <a:pt x="25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6" name="任意多边形: 形状 655">
              <a:extLst>
                <a:ext uri="{FF2B5EF4-FFF2-40B4-BE49-F238E27FC236}">
                  <a16:creationId xmlns:a16="http://schemas.microsoft.com/office/drawing/2014/main" id="{2B01BD83-2914-4640-B5B5-F6FBD8D42A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41213" y="-4635483"/>
              <a:ext cx="293688" cy="220663"/>
            </a:xfrm>
            <a:custGeom>
              <a:avLst/>
              <a:gdLst>
                <a:gd name="T0" fmla="*/ 45 w 89"/>
                <a:gd name="T1" fmla="*/ 59 h 67"/>
                <a:gd name="T2" fmla="*/ 74 w 89"/>
                <a:gd name="T3" fmla="*/ 60 h 67"/>
                <a:gd name="T4" fmla="*/ 83 w 89"/>
                <a:gd name="T5" fmla="*/ 49 h 67"/>
                <a:gd name="T6" fmla="*/ 79 w 89"/>
                <a:gd name="T7" fmla="*/ 44 h 67"/>
                <a:gd name="T8" fmla="*/ 83 w 89"/>
                <a:gd name="T9" fmla="*/ 38 h 67"/>
                <a:gd name="T10" fmla="*/ 75 w 89"/>
                <a:gd name="T11" fmla="*/ 50 h 67"/>
                <a:gd name="T12" fmla="*/ 69 w 89"/>
                <a:gd name="T13" fmla="*/ 49 h 67"/>
                <a:gd name="T14" fmla="*/ 74 w 89"/>
                <a:gd name="T15" fmla="*/ 51 h 67"/>
                <a:gd name="T16" fmla="*/ 72 w 89"/>
                <a:gd name="T17" fmla="*/ 55 h 67"/>
                <a:gd name="T18" fmla="*/ 59 w 89"/>
                <a:gd name="T19" fmla="*/ 56 h 67"/>
                <a:gd name="T20" fmla="*/ 58 w 89"/>
                <a:gd name="T21" fmla="*/ 51 h 67"/>
                <a:gd name="T22" fmla="*/ 62 w 89"/>
                <a:gd name="T23" fmla="*/ 43 h 67"/>
                <a:gd name="T24" fmla="*/ 69 w 89"/>
                <a:gd name="T25" fmla="*/ 43 h 67"/>
                <a:gd name="T26" fmla="*/ 76 w 89"/>
                <a:gd name="T27" fmla="*/ 33 h 67"/>
                <a:gd name="T28" fmla="*/ 89 w 89"/>
                <a:gd name="T29" fmla="*/ 5 h 67"/>
                <a:gd name="T30" fmla="*/ 68 w 89"/>
                <a:gd name="T31" fmla="*/ 11 h 67"/>
                <a:gd name="T32" fmla="*/ 77 w 89"/>
                <a:gd name="T33" fmla="*/ 6 h 67"/>
                <a:gd name="T34" fmla="*/ 76 w 89"/>
                <a:gd name="T35" fmla="*/ 0 h 67"/>
                <a:gd name="T36" fmla="*/ 60 w 89"/>
                <a:gd name="T37" fmla="*/ 2 h 67"/>
                <a:gd name="T38" fmla="*/ 53 w 89"/>
                <a:gd name="T39" fmla="*/ 6 h 67"/>
                <a:gd name="T40" fmla="*/ 60 w 89"/>
                <a:gd name="T41" fmla="*/ 7 h 67"/>
                <a:gd name="T42" fmla="*/ 54 w 89"/>
                <a:gd name="T43" fmla="*/ 25 h 67"/>
                <a:gd name="T44" fmla="*/ 65 w 89"/>
                <a:gd name="T45" fmla="*/ 14 h 67"/>
                <a:gd name="T46" fmla="*/ 6 w 89"/>
                <a:gd name="T47" fmla="*/ 51 h 67"/>
                <a:gd name="T48" fmla="*/ 0 w 89"/>
                <a:gd name="T49" fmla="*/ 56 h 67"/>
                <a:gd name="T50" fmla="*/ 29 w 89"/>
                <a:gd name="T51" fmla="*/ 62 h 67"/>
                <a:gd name="T52" fmla="*/ 41 w 89"/>
                <a:gd name="T53" fmla="*/ 62 h 67"/>
                <a:gd name="T54" fmla="*/ 45 w 89"/>
                <a:gd name="T55" fmla="*/ 59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9" h="67">
                  <a:moveTo>
                    <a:pt x="45" y="59"/>
                  </a:moveTo>
                  <a:cubicBezTo>
                    <a:pt x="52" y="67"/>
                    <a:pt x="72" y="52"/>
                    <a:pt x="74" y="60"/>
                  </a:cubicBezTo>
                  <a:cubicBezTo>
                    <a:pt x="76" y="56"/>
                    <a:pt x="78" y="52"/>
                    <a:pt x="83" y="49"/>
                  </a:cubicBezTo>
                  <a:cubicBezTo>
                    <a:pt x="82" y="46"/>
                    <a:pt x="80" y="47"/>
                    <a:pt x="79" y="44"/>
                  </a:cubicBezTo>
                  <a:cubicBezTo>
                    <a:pt x="82" y="42"/>
                    <a:pt x="83" y="41"/>
                    <a:pt x="83" y="38"/>
                  </a:cubicBezTo>
                  <a:cubicBezTo>
                    <a:pt x="77" y="41"/>
                    <a:pt x="79" y="47"/>
                    <a:pt x="75" y="50"/>
                  </a:cubicBezTo>
                  <a:cubicBezTo>
                    <a:pt x="73" y="46"/>
                    <a:pt x="69" y="46"/>
                    <a:pt x="69" y="49"/>
                  </a:cubicBezTo>
                  <a:cubicBezTo>
                    <a:pt x="70" y="54"/>
                    <a:pt x="73" y="48"/>
                    <a:pt x="74" y="51"/>
                  </a:cubicBezTo>
                  <a:cubicBezTo>
                    <a:pt x="72" y="52"/>
                    <a:pt x="75" y="54"/>
                    <a:pt x="72" y="55"/>
                  </a:cubicBezTo>
                  <a:cubicBezTo>
                    <a:pt x="71" y="48"/>
                    <a:pt x="64" y="60"/>
                    <a:pt x="59" y="56"/>
                  </a:cubicBezTo>
                  <a:cubicBezTo>
                    <a:pt x="58" y="54"/>
                    <a:pt x="57" y="52"/>
                    <a:pt x="58" y="51"/>
                  </a:cubicBezTo>
                  <a:cubicBezTo>
                    <a:pt x="66" y="48"/>
                    <a:pt x="60" y="47"/>
                    <a:pt x="62" y="43"/>
                  </a:cubicBezTo>
                  <a:cubicBezTo>
                    <a:pt x="65" y="40"/>
                    <a:pt x="67" y="44"/>
                    <a:pt x="69" y="43"/>
                  </a:cubicBezTo>
                  <a:cubicBezTo>
                    <a:pt x="66" y="37"/>
                    <a:pt x="72" y="34"/>
                    <a:pt x="76" y="33"/>
                  </a:cubicBezTo>
                  <a:cubicBezTo>
                    <a:pt x="82" y="25"/>
                    <a:pt x="83" y="10"/>
                    <a:pt x="89" y="5"/>
                  </a:cubicBezTo>
                  <a:cubicBezTo>
                    <a:pt x="81" y="7"/>
                    <a:pt x="77" y="16"/>
                    <a:pt x="68" y="11"/>
                  </a:cubicBezTo>
                  <a:cubicBezTo>
                    <a:pt x="69" y="7"/>
                    <a:pt x="73" y="9"/>
                    <a:pt x="77" y="6"/>
                  </a:cubicBezTo>
                  <a:cubicBezTo>
                    <a:pt x="74" y="3"/>
                    <a:pt x="77" y="3"/>
                    <a:pt x="76" y="0"/>
                  </a:cubicBezTo>
                  <a:cubicBezTo>
                    <a:pt x="73" y="3"/>
                    <a:pt x="60" y="12"/>
                    <a:pt x="60" y="2"/>
                  </a:cubicBezTo>
                  <a:cubicBezTo>
                    <a:pt x="57" y="5"/>
                    <a:pt x="53" y="3"/>
                    <a:pt x="53" y="6"/>
                  </a:cubicBezTo>
                  <a:cubicBezTo>
                    <a:pt x="54" y="12"/>
                    <a:pt x="58" y="3"/>
                    <a:pt x="60" y="7"/>
                  </a:cubicBezTo>
                  <a:cubicBezTo>
                    <a:pt x="55" y="13"/>
                    <a:pt x="57" y="19"/>
                    <a:pt x="54" y="25"/>
                  </a:cubicBezTo>
                  <a:cubicBezTo>
                    <a:pt x="62" y="23"/>
                    <a:pt x="60" y="15"/>
                    <a:pt x="65" y="14"/>
                  </a:cubicBezTo>
                  <a:cubicBezTo>
                    <a:pt x="60" y="36"/>
                    <a:pt x="22" y="38"/>
                    <a:pt x="6" y="51"/>
                  </a:cubicBezTo>
                  <a:cubicBezTo>
                    <a:pt x="8" y="50"/>
                    <a:pt x="4" y="56"/>
                    <a:pt x="0" y="56"/>
                  </a:cubicBezTo>
                  <a:cubicBezTo>
                    <a:pt x="7" y="61"/>
                    <a:pt x="20" y="56"/>
                    <a:pt x="29" y="62"/>
                  </a:cubicBezTo>
                  <a:cubicBezTo>
                    <a:pt x="34" y="60"/>
                    <a:pt x="38" y="60"/>
                    <a:pt x="41" y="62"/>
                  </a:cubicBezTo>
                  <a:cubicBezTo>
                    <a:pt x="43" y="61"/>
                    <a:pt x="44" y="60"/>
                    <a:pt x="45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7" name="任意多边形: 形状 656">
              <a:extLst>
                <a:ext uri="{FF2B5EF4-FFF2-40B4-BE49-F238E27FC236}">
                  <a16:creationId xmlns:a16="http://schemas.microsoft.com/office/drawing/2014/main" id="{5CC0856D-FDFD-4051-B158-2A3D0E7BDF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339638" y="-4829159"/>
              <a:ext cx="30163" cy="19050"/>
            </a:xfrm>
            <a:custGeom>
              <a:avLst/>
              <a:gdLst>
                <a:gd name="T0" fmla="*/ 3 w 9"/>
                <a:gd name="T1" fmla="*/ 6 h 6"/>
                <a:gd name="T2" fmla="*/ 8 w 9"/>
                <a:gd name="T3" fmla="*/ 3 h 6"/>
                <a:gd name="T4" fmla="*/ 1 w 9"/>
                <a:gd name="T5" fmla="*/ 0 h 6"/>
                <a:gd name="T6" fmla="*/ 3 w 9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9" h="6">
                  <a:moveTo>
                    <a:pt x="3" y="6"/>
                  </a:moveTo>
                  <a:cubicBezTo>
                    <a:pt x="5" y="3"/>
                    <a:pt x="9" y="6"/>
                    <a:pt x="8" y="3"/>
                  </a:cubicBezTo>
                  <a:cubicBezTo>
                    <a:pt x="3" y="5"/>
                    <a:pt x="3" y="2"/>
                    <a:pt x="1" y="0"/>
                  </a:cubicBezTo>
                  <a:cubicBezTo>
                    <a:pt x="1" y="4"/>
                    <a:pt x="0" y="3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8" name="任意多边形: 形状 657">
              <a:extLst>
                <a:ext uri="{FF2B5EF4-FFF2-40B4-BE49-F238E27FC236}">
                  <a16:creationId xmlns:a16="http://schemas.microsoft.com/office/drawing/2014/main" id="{D7A1C3AF-5F36-41A6-8D46-B4D76BE849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188826" y="-4743434"/>
              <a:ext cx="46038" cy="28575"/>
            </a:xfrm>
            <a:custGeom>
              <a:avLst/>
              <a:gdLst>
                <a:gd name="T0" fmla="*/ 0 w 14"/>
                <a:gd name="T1" fmla="*/ 9 h 9"/>
                <a:gd name="T2" fmla="*/ 14 w 14"/>
                <a:gd name="T3" fmla="*/ 3 h 9"/>
                <a:gd name="T4" fmla="*/ 0 w 14"/>
                <a:gd name="T5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9">
                  <a:moveTo>
                    <a:pt x="0" y="9"/>
                  </a:moveTo>
                  <a:cubicBezTo>
                    <a:pt x="5" y="8"/>
                    <a:pt x="10" y="5"/>
                    <a:pt x="14" y="3"/>
                  </a:cubicBezTo>
                  <a:cubicBezTo>
                    <a:pt x="11" y="0"/>
                    <a:pt x="1" y="8"/>
                    <a:pt x="0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59" name="任意多边形: 形状 658">
              <a:extLst>
                <a:ext uri="{FF2B5EF4-FFF2-40B4-BE49-F238E27FC236}">
                  <a16:creationId xmlns:a16="http://schemas.microsoft.com/office/drawing/2014/main" id="{73FEAC73-C8AF-4699-B731-FB2EEF2FD1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2257088" y="-4583096"/>
              <a:ext cx="76200" cy="36513"/>
            </a:xfrm>
            <a:custGeom>
              <a:avLst/>
              <a:gdLst>
                <a:gd name="T0" fmla="*/ 5 w 23"/>
                <a:gd name="T1" fmla="*/ 10 h 11"/>
                <a:gd name="T2" fmla="*/ 23 w 23"/>
                <a:gd name="T3" fmla="*/ 3 h 11"/>
                <a:gd name="T4" fmla="*/ 5 w 23"/>
                <a:gd name="T5" fmla="*/ 1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" h="11">
                  <a:moveTo>
                    <a:pt x="5" y="10"/>
                  </a:moveTo>
                  <a:cubicBezTo>
                    <a:pt x="10" y="11"/>
                    <a:pt x="17" y="7"/>
                    <a:pt x="23" y="3"/>
                  </a:cubicBezTo>
                  <a:cubicBezTo>
                    <a:pt x="17" y="4"/>
                    <a:pt x="0" y="0"/>
                    <a:pt x="5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0" name="任意多边形: 形状 659">
              <a:extLst>
                <a:ext uri="{FF2B5EF4-FFF2-40B4-BE49-F238E27FC236}">
                  <a16:creationId xmlns:a16="http://schemas.microsoft.com/office/drawing/2014/main" id="{21EE33A9-6CA1-4B1C-8008-5CF7A80939E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641138" y="-5386373"/>
              <a:ext cx="42863" cy="26988"/>
            </a:xfrm>
            <a:custGeom>
              <a:avLst/>
              <a:gdLst>
                <a:gd name="T0" fmla="*/ 3 w 13"/>
                <a:gd name="T1" fmla="*/ 4 h 8"/>
                <a:gd name="T2" fmla="*/ 13 w 13"/>
                <a:gd name="T3" fmla="*/ 6 h 8"/>
                <a:gd name="T4" fmla="*/ 3 w 13"/>
                <a:gd name="T5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8">
                  <a:moveTo>
                    <a:pt x="3" y="4"/>
                  </a:moveTo>
                  <a:cubicBezTo>
                    <a:pt x="7" y="3"/>
                    <a:pt x="9" y="8"/>
                    <a:pt x="13" y="6"/>
                  </a:cubicBezTo>
                  <a:cubicBezTo>
                    <a:pt x="11" y="0"/>
                    <a:pt x="0" y="3"/>
                    <a:pt x="3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1" name="任意多边形: 形状 660">
              <a:extLst>
                <a:ext uri="{FF2B5EF4-FFF2-40B4-BE49-F238E27FC236}">
                  <a16:creationId xmlns:a16="http://schemas.microsoft.com/office/drawing/2014/main" id="{8E9694F2-A454-4CB1-82CC-A340B0C632D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783888" y="-6081700"/>
              <a:ext cx="36513" cy="20638"/>
            </a:xfrm>
            <a:custGeom>
              <a:avLst/>
              <a:gdLst>
                <a:gd name="T0" fmla="*/ 11 w 11"/>
                <a:gd name="T1" fmla="*/ 4 h 6"/>
                <a:gd name="T2" fmla="*/ 0 w 11"/>
                <a:gd name="T3" fmla="*/ 1 h 6"/>
                <a:gd name="T4" fmla="*/ 11 w 11"/>
                <a:gd name="T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1" h="6">
                  <a:moveTo>
                    <a:pt x="11" y="4"/>
                  </a:moveTo>
                  <a:cubicBezTo>
                    <a:pt x="8" y="0"/>
                    <a:pt x="0" y="0"/>
                    <a:pt x="0" y="1"/>
                  </a:cubicBezTo>
                  <a:cubicBezTo>
                    <a:pt x="4" y="1"/>
                    <a:pt x="7" y="6"/>
                    <a:pt x="11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2" name="任意多边形: 形状 661">
              <a:extLst>
                <a:ext uri="{FF2B5EF4-FFF2-40B4-BE49-F238E27FC236}">
                  <a16:creationId xmlns:a16="http://schemas.microsoft.com/office/drawing/2014/main" id="{424176D9-F462-43FF-9DBD-400DE82251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1047413" y="-5583223"/>
              <a:ext cx="26988" cy="22225"/>
            </a:xfrm>
            <a:custGeom>
              <a:avLst/>
              <a:gdLst>
                <a:gd name="T0" fmla="*/ 4 w 8"/>
                <a:gd name="T1" fmla="*/ 0 h 7"/>
                <a:gd name="T2" fmla="*/ 1 w 8"/>
                <a:gd name="T3" fmla="*/ 6 h 7"/>
                <a:gd name="T4" fmla="*/ 7 w 8"/>
                <a:gd name="T5" fmla="*/ 4 h 7"/>
                <a:gd name="T6" fmla="*/ 4 w 8"/>
                <a:gd name="T7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7">
                  <a:moveTo>
                    <a:pt x="4" y="0"/>
                  </a:moveTo>
                  <a:cubicBezTo>
                    <a:pt x="2" y="1"/>
                    <a:pt x="0" y="3"/>
                    <a:pt x="1" y="6"/>
                  </a:cubicBezTo>
                  <a:cubicBezTo>
                    <a:pt x="3" y="4"/>
                    <a:pt x="8" y="7"/>
                    <a:pt x="7" y="4"/>
                  </a:cubicBezTo>
                  <a:cubicBezTo>
                    <a:pt x="3" y="5"/>
                    <a:pt x="5" y="2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3" name="任意多边形: 形状 662">
              <a:extLst>
                <a:ext uri="{FF2B5EF4-FFF2-40B4-BE49-F238E27FC236}">
                  <a16:creationId xmlns:a16="http://schemas.microsoft.com/office/drawing/2014/main" id="{F6CC2D2C-471E-4F18-9ED3-79B482890E6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645775" y="-6042012"/>
              <a:ext cx="39688" cy="19050"/>
            </a:xfrm>
            <a:custGeom>
              <a:avLst/>
              <a:gdLst>
                <a:gd name="T0" fmla="*/ 0 w 12"/>
                <a:gd name="T1" fmla="*/ 3 h 6"/>
                <a:gd name="T2" fmla="*/ 12 w 12"/>
                <a:gd name="T3" fmla="*/ 1 h 6"/>
                <a:gd name="T4" fmla="*/ 0 w 12"/>
                <a:gd name="T5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2" h="6">
                  <a:moveTo>
                    <a:pt x="0" y="3"/>
                  </a:moveTo>
                  <a:cubicBezTo>
                    <a:pt x="4" y="6"/>
                    <a:pt x="10" y="2"/>
                    <a:pt x="12" y="1"/>
                  </a:cubicBezTo>
                  <a:cubicBezTo>
                    <a:pt x="6" y="0"/>
                    <a:pt x="6" y="2"/>
                    <a:pt x="0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4" name="任意多边形: 形状 663">
              <a:extLst>
                <a:ext uri="{FF2B5EF4-FFF2-40B4-BE49-F238E27FC236}">
                  <a16:creationId xmlns:a16="http://schemas.microsoft.com/office/drawing/2014/main" id="{DA4C463C-897D-4AE0-B589-A77C52FE4E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6563" y="-6072175"/>
              <a:ext cx="55563" cy="23813"/>
            </a:xfrm>
            <a:custGeom>
              <a:avLst/>
              <a:gdLst>
                <a:gd name="T0" fmla="*/ 9 w 17"/>
                <a:gd name="T1" fmla="*/ 3 h 7"/>
                <a:gd name="T2" fmla="*/ 17 w 17"/>
                <a:gd name="T3" fmla="*/ 2 h 7"/>
                <a:gd name="T4" fmla="*/ 9 w 17"/>
                <a:gd name="T5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" h="7">
                  <a:moveTo>
                    <a:pt x="9" y="3"/>
                  </a:moveTo>
                  <a:cubicBezTo>
                    <a:pt x="11" y="3"/>
                    <a:pt x="17" y="7"/>
                    <a:pt x="17" y="2"/>
                  </a:cubicBezTo>
                  <a:cubicBezTo>
                    <a:pt x="14" y="0"/>
                    <a:pt x="0" y="6"/>
                    <a:pt x="9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5" name="任意多边形: 形状 664">
              <a:extLst>
                <a:ext uri="{FF2B5EF4-FFF2-40B4-BE49-F238E27FC236}">
                  <a16:creationId xmlns:a16="http://schemas.microsoft.com/office/drawing/2014/main" id="{4AA7AB26-F2D1-47B0-9859-808DCFA62E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596563" y="-5583223"/>
              <a:ext cx="65088" cy="71438"/>
            </a:xfrm>
            <a:custGeom>
              <a:avLst/>
              <a:gdLst>
                <a:gd name="T0" fmla="*/ 6 w 20"/>
                <a:gd name="T1" fmla="*/ 6 h 22"/>
                <a:gd name="T2" fmla="*/ 5 w 20"/>
                <a:gd name="T3" fmla="*/ 20 h 22"/>
                <a:gd name="T4" fmla="*/ 20 w 20"/>
                <a:gd name="T5" fmla="*/ 19 h 22"/>
                <a:gd name="T6" fmla="*/ 17 w 20"/>
                <a:gd name="T7" fmla="*/ 8 h 22"/>
                <a:gd name="T8" fmla="*/ 10 w 20"/>
                <a:gd name="T9" fmla="*/ 0 h 22"/>
                <a:gd name="T10" fmla="*/ 3 w 20"/>
                <a:gd name="T11" fmla="*/ 10 h 22"/>
                <a:gd name="T12" fmla="*/ 6 w 20"/>
                <a:gd name="T13" fmla="*/ 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22">
                  <a:moveTo>
                    <a:pt x="6" y="6"/>
                  </a:moveTo>
                  <a:cubicBezTo>
                    <a:pt x="16" y="14"/>
                    <a:pt x="10" y="17"/>
                    <a:pt x="5" y="20"/>
                  </a:cubicBezTo>
                  <a:cubicBezTo>
                    <a:pt x="10" y="22"/>
                    <a:pt x="15" y="20"/>
                    <a:pt x="20" y="19"/>
                  </a:cubicBezTo>
                  <a:cubicBezTo>
                    <a:pt x="15" y="18"/>
                    <a:pt x="17" y="13"/>
                    <a:pt x="17" y="8"/>
                  </a:cubicBezTo>
                  <a:cubicBezTo>
                    <a:pt x="14" y="5"/>
                    <a:pt x="7" y="6"/>
                    <a:pt x="10" y="0"/>
                  </a:cubicBezTo>
                  <a:cubicBezTo>
                    <a:pt x="8" y="1"/>
                    <a:pt x="0" y="6"/>
                    <a:pt x="3" y="10"/>
                  </a:cubicBezTo>
                  <a:cubicBezTo>
                    <a:pt x="5" y="9"/>
                    <a:pt x="4" y="7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6" name="任意多边形: 形状 665">
              <a:extLst>
                <a:ext uri="{FF2B5EF4-FFF2-40B4-BE49-F238E27FC236}">
                  <a16:creationId xmlns:a16="http://schemas.microsoft.com/office/drawing/2014/main" id="{2E3D2D34-6536-4BC7-B17E-7549FFFB6D5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210800" y="-5410185"/>
              <a:ext cx="431800" cy="231776"/>
            </a:xfrm>
            <a:custGeom>
              <a:avLst/>
              <a:gdLst>
                <a:gd name="T0" fmla="*/ 111 w 131"/>
                <a:gd name="T1" fmla="*/ 7 h 70"/>
                <a:gd name="T2" fmla="*/ 96 w 131"/>
                <a:gd name="T3" fmla="*/ 3 h 70"/>
                <a:gd name="T4" fmla="*/ 93 w 131"/>
                <a:gd name="T5" fmla="*/ 8 h 70"/>
                <a:gd name="T6" fmla="*/ 85 w 131"/>
                <a:gd name="T7" fmla="*/ 5 h 70"/>
                <a:gd name="T8" fmla="*/ 83 w 131"/>
                <a:gd name="T9" fmla="*/ 10 h 70"/>
                <a:gd name="T10" fmla="*/ 74 w 131"/>
                <a:gd name="T11" fmla="*/ 11 h 70"/>
                <a:gd name="T12" fmla="*/ 69 w 131"/>
                <a:gd name="T13" fmla="*/ 7 h 70"/>
                <a:gd name="T14" fmla="*/ 65 w 131"/>
                <a:gd name="T15" fmla="*/ 11 h 70"/>
                <a:gd name="T16" fmla="*/ 33 w 131"/>
                <a:gd name="T17" fmla="*/ 6 h 70"/>
                <a:gd name="T18" fmla="*/ 30 w 131"/>
                <a:gd name="T19" fmla="*/ 0 h 70"/>
                <a:gd name="T20" fmla="*/ 3 w 131"/>
                <a:gd name="T21" fmla="*/ 18 h 70"/>
                <a:gd name="T22" fmla="*/ 11 w 131"/>
                <a:gd name="T23" fmla="*/ 21 h 70"/>
                <a:gd name="T24" fmla="*/ 32 w 131"/>
                <a:gd name="T25" fmla="*/ 10 h 70"/>
                <a:gd name="T26" fmla="*/ 10 w 131"/>
                <a:gd name="T27" fmla="*/ 36 h 70"/>
                <a:gd name="T28" fmla="*/ 3 w 131"/>
                <a:gd name="T29" fmla="*/ 47 h 70"/>
                <a:gd name="T30" fmla="*/ 9 w 131"/>
                <a:gd name="T31" fmla="*/ 52 h 70"/>
                <a:gd name="T32" fmla="*/ 20 w 131"/>
                <a:gd name="T33" fmla="*/ 40 h 70"/>
                <a:gd name="T34" fmla="*/ 21 w 131"/>
                <a:gd name="T35" fmla="*/ 44 h 70"/>
                <a:gd name="T36" fmla="*/ 27 w 131"/>
                <a:gd name="T37" fmla="*/ 51 h 70"/>
                <a:gd name="T38" fmla="*/ 25 w 131"/>
                <a:gd name="T39" fmla="*/ 70 h 70"/>
                <a:gd name="T40" fmla="*/ 32 w 131"/>
                <a:gd name="T41" fmla="*/ 69 h 70"/>
                <a:gd name="T42" fmla="*/ 54 w 131"/>
                <a:gd name="T43" fmla="*/ 30 h 70"/>
                <a:gd name="T44" fmla="*/ 64 w 131"/>
                <a:gd name="T45" fmla="*/ 24 h 70"/>
                <a:gd name="T46" fmla="*/ 70 w 131"/>
                <a:gd name="T47" fmla="*/ 29 h 70"/>
                <a:gd name="T48" fmla="*/ 86 w 131"/>
                <a:gd name="T49" fmla="*/ 28 h 70"/>
                <a:gd name="T50" fmla="*/ 131 w 131"/>
                <a:gd name="T51" fmla="*/ 7 h 70"/>
                <a:gd name="T52" fmla="*/ 111 w 131"/>
                <a:gd name="T53" fmla="*/ 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1" h="70">
                  <a:moveTo>
                    <a:pt x="111" y="7"/>
                  </a:moveTo>
                  <a:cubicBezTo>
                    <a:pt x="107" y="2"/>
                    <a:pt x="100" y="7"/>
                    <a:pt x="96" y="3"/>
                  </a:cubicBezTo>
                  <a:cubicBezTo>
                    <a:pt x="92" y="4"/>
                    <a:pt x="97" y="7"/>
                    <a:pt x="93" y="8"/>
                  </a:cubicBezTo>
                  <a:cubicBezTo>
                    <a:pt x="90" y="8"/>
                    <a:pt x="88" y="5"/>
                    <a:pt x="85" y="5"/>
                  </a:cubicBezTo>
                  <a:cubicBezTo>
                    <a:pt x="89" y="8"/>
                    <a:pt x="84" y="9"/>
                    <a:pt x="83" y="10"/>
                  </a:cubicBezTo>
                  <a:cubicBezTo>
                    <a:pt x="80" y="2"/>
                    <a:pt x="76" y="7"/>
                    <a:pt x="74" y="11"/>
                  </a:cubicBezTo>
                  <a:cubicBezTo>
                    <a:pt x="72" y="11"/>
                    <a:pt x="71" y="9"/>
                    <a:pt x="69" y="7"/>
                  </a:cubicBezTo>
                  <a:cubicBezTo>
                    <a:pt x="66" y="8"/>
                    <a:pt x="68" y="10"/>
                    <a:pt x="65" y="11"/>
                  </a:cubicBezTo>
                  <a:cubicBezTo>
                    <a:pt x="55" y="5"/>
                    <a:pt x="44" y="9"/>
                    <a:pt x="33" y="6"/>
                  </a:cubicBezTo>
                  <a:cubicBezTo>
                    <a:pt x="35" y="2"/>
                    <a:pt x="29" y="3"/>
                    <a:pt x="30" y="0"/>
                  </a:cubicBezTo>
                  <a:cubicBezTo>
                    <a:pt x="20" y="3"/>
                    <a:pt x="0" y="3"/>
                    <a:pt x="3" y="18"/>
                  </a:cubicBezTo>
                  <a:cubicBezTo>
                    <a:pt x="6" y="19"/>
                    <a:pt x="9" y="16"/>
                    <a:pt x="11" y="21"/>
                  </a:cubicBezTo>
                  <a:cubicBezTo>
                    <a:pt x="17" y="11"/>
                    <a:pt x="20" y="2"/>
                    <a:pt x="32" y="10"/>
                  </a:cubicBezTo>
                  <a:cubicBezTo>
                    <a:pt x="29" y="20"/>
                    <a:pt x="15" y="27"/>
                    <a:pt x="10" y="36"/>
                  </a:cubicBezTo>
                  <a:cubicBezTo>
                    <a:pt x="17" y="42"/>
                    <a:pt x="6" y="44"/>
                    <a:pt x="3" y="47"/>
                  </a:cubicBezTo>
                  <a:cubicBezTo>
                    <a:pt x="5" y="50"/>
                    <a:pt x="7" y="50"/>
                    <a:pt x="9" y="52"/>
                  </a:cubicBezTo>
                  <a:cubicBezTo>
                    <a:pt x="14" y="46"/>
                    <a:pt x="23" y="45"/>
                    <a:pt x="20" y="40"/>
                  </a:cubicBezTo>
                  <a:cubicBezTo>
                    <a:pt x="23" y="41"/>
                    <a:pt x="27" y="43"/>
                    <a:pt x="21" y="44"/>
                  </a:cubicBezTo>
                  <a:cubicBezTo>
                    <a:pt x="23" y="47"/>
                    <a:pt x="25" y="50"/>
                    <a:pt x="27" y="51"/>
                  </a:cubicBezTo>
                  <a:cubicBezTo>
                    <a:pt x="26" y="57"/>
                    <a:pt x="27" y="64"/>
                    <a:pt x="25" y="70"/>
                  </a:cubicBezTo>
                  <a:cubicBezTo>
                    <a:pt x="29" y="69"/>
                    <a:pt x="28" y="67"/>
                    <a:pt x="32" y="69"/>
                  </a:cubicBezTo>
                  <a:cubicBezTo>
                    <a:pt x="48" y="57"/>
                    <a:pt x="48" y="42"/>
                    <a:pt x="54" y="30"/>
                  </a:cubicBezTo>
                  <a:cubicBezTo>
                    <a:pt x="57" y="29"/>
                    <a:pt x="60" y="27"/>
                    <a:pt x="64" y="24"/>
                  </a:cubicBezTo>
                  <a:cubicBezTo>
                    <a:pt x="66" y="28"/>
                    <a:pt x="68" y="30"/>
                    <a:pt x="70" y="29"/>
                  </a:cubicBezTo>
                  <a:cubicBezTo>
                    <a:pt x="75" y="24"/>
                    <a:pt x="82" y="21"/>
                    <a:pt x="86" y="28"/>
                  </a:cubicBezTo>
                  <a:cubicBezTo>
                    <a:pt x="105" y="16"/>
                    <a:pt x="124" y="26"/>
                    <a:pt x="131" y="7"/>
                  </a:cubicBezTo>
                  <a:cubicBezTo>
                    <a:pt x="125" y="4"/>
                    <a:pt x="113" y="0"/>
                    <a:pt x="11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7" name="任意多边形: 形状 666">
              <a:extLst>
                <a:ext uri="{FF2B5EF4-FFF2-40B4-BE49-F238E27FC236}">
                  <a16:creationId xmlns:a16="http://schemas.microsoft.com/office/drawing/2014/main" id="{D80B2696-6FBA-4556-B6AA-5AD029E09B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845214" y="-8683619"/>
              <a:ext cx="76200" cy="52388"/>
            </a:xfrm>
            <a:custGeom>
              <a:avLst/>
              <a:gdLst>
                <a:gd name="T0" fmla="*/ 5 w 23"/>
                <a:gd name="T1" fmla="*/ 0 h 16"/>
                <a:gd name="T2" fmla="*/ 3 w 23"/>
                <a:gd name="T3" fmla="*/ 10 h 16"/>
                <a:gd name="T4" fmla="*/ 8 w 23"/>
                <a:gd name="T5" fmla="*/ 12 h 16"/>
                <a:gd name="T6" fmla="*/ 13 w 23"/>
                <a:gd name="T7" fmla="*/ 16 h 16"/>
                <a:gd name="T8" fmla="*/ 23 w 23"/>
                <a:gd name="T9" fmla="*/ 9 h 16"/>
                <a:gd name="T10" fmla="*/ 21 w 23"/>
                <a:gd name="T11" fmla="*/ 4 h 16"/>
                <a:gd name="T12" fmla="*/ 5 w 23"/>
                <a:gd name="T1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5" y="0"/>
                  </a:moveTo>
                  <a:cubicBezTo>
                    <a:pt x="8" y="4"/>
                    <a:pt x="0" y="5"/>
                    <a:pt x="3" y="10"/>
                  </a:cubicBezTo>
                  <a:cubicBezTo>
                    <a:pt x="9" y="4"/>
                    <a:pt x="5" y="12"/>
                    <a:pt x="8" y="12"/>
                  </a:cubicBezTo>
                  <a:cubicBezTo>
                    <a:pt x="7" y="9"/>
                    <a:pt x="12" y="13"/>
                    <a:pt x="13" y="16"/>
                  </a:cubicBezTo>
                  <a:cubicBezTo>
                    <a:pt x="18" y="14"/>
                    <a:pt x="18" y="10"/>
                    <a:pt x="23" y="9"/>
                  </a:cubicBezTo>
                  <a:cubicBezTo>
                    <a:pt x="21" y="7"/>
                    <a:pt x="21" y="5"/>
                    <a:pt x="21" y="4"/>
                  </a:cubicBezTo>
                  <a:cubicBezTo>
                    <a:pt x="14" y="4"/>
                    <a:pt x="11" y="4"/>
                    <a:pt x="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8" name="任意多边形: 形状 667">
              <a:extLst>
                <a:ext uri="{FF2B5EF4-FFF2-40B4-BE49-F238E27FC236}">
                  <a16:creationId xmlns:a16="http://schemas.microsoft.com/office/drawing/2014/main" id="{1641947C-0127-4C7A-A34F-42A1977671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873539" y="-6219813"/>
              <a:ext cx="128588" cy="58738"/>
            </a:xfrm>
            <a:custGeom>
              <a:avLst/>
              <a:gdLst>
                <a:gd name="T0" fmla="*/ 39 w 39"/>
                <a:gd name="T1" fmla="*/ 2 h 18"/>
                <a:gd name="T2" fmla="*/ 35 w 39"/>
                <a:gd name="T3" fmla="*/ 0 h 18"/>
                <a:gd name="T4" fmla="*/ 28 w 39"/>
                <a:gd name="T5" fmla="*/ 9 h 18"/>
                <a:gd name="T6" fmla="*/ 19 w 39"/>
                <a:gd name="T7" fmla="*/ 6 h 18"/>
                <a:gd name="T8" fmla="*/ 0 w 39"/>
                <a:gd name="T9" fmla="*/ 16 h 18"/>
                <a:gd name="T10" fmla="*/ 11 w 39"/>
                <a:gd name="T11" fmla="*/ 18 h 18"/>
                <a:gd name="T12" fmla="*/ 20 w 39"/>
                <a:gd name="T13" fmla="*/ 10 h 18"/>
                <a:gd name="T14" fmla="*/ 22 w 39"/>
                <a:gd name="T15" fmla="*/ 10 h 18"/>
                <a:gd name="T16" fmla="*/ 27 w 39"/>
                <a:gd name="T17" fmla="*/ 15 h 18"/>
                <a:gd name="T18" fmla="*/ 34 w 39"/>
                <a:gd name="T19" fmla="*/ 3 h 18"/>
                <a:gd name="T20" fmla="*/ 39 w 39"/>
                <a:gd name="T21" fmla="*/ 6 h 18"/>
                <a:gd name="T22" fmla="*/ 39 w 39"/>
                <a:gd name="T23" fmla="*/ 2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9" h="18">
                  <a:moveTo>
                    <a:pt x="39" y="2"/>
                  </a:moveTo>
                  <a:cubicBezTo>
                    <a:pt x="37" y="3"/>
                    <a:pt x="35" y="2"/>
                    <a:pt x="35" y="0"/>
                  </a:cubicBezTo>
                  <a:cubicBezTo>
                    <a:pt x="30" y="2"/>
                    <a:pt x="30" y="6"/>
                    <a:pt x="28" y="9"/>
                  </a:cubicBezTo>
                  <a:cubicBezTo>
                    <a:pt x="25" y="9"/>
                    <a:pt x="22" y="7"/>
                    <a:pt x="19" y="6"/>
                  </a:cubicBezTo>
                  <a:cubicBezTo>
                    <a:pt x="16" y="11"/>
                    <a:pt x="6" y="10"/>
                    <a:pt x="0" y="16"/>
                  </a:cubicBezTo>
                  <a:cubicBezTo>
                    <a:pt x="5" y="13"/>
                    <a:pt x="8" y="16"/>
                    <a:pt x="11" y="18"/>
                  </a:cubicBezTo>
                  <a:cubicBezTo>
                    <a:pt x="14" y="13"/>
                    <a:pt x="18" y="15"/>
                    <a:pt x="20" y="10"/>
                  </a:cubicBezTo>
                  <a:cubicBezTo>
                    <a:pt x="21" y="12"/>
                    <a:pt x="22" y="12"/>
                    <a:pt x="22" y="10"/>
                  </a:cubicBezTo>
                  <a:cubicBezTo>
                    <a:pt x="24" y="13"/>
                    <a:pt x="25" y="16"/>
                    <a:pt x="27" y="15"/>
                  </a:cubicBezTo>
                  <a:cubicBezTo>
                    <a:pt x="28" y="10"/>
                    <a:pt x="33" y="8"/>
                    <a:pt x="34" y="3"/>
                  </a:cubicBezTo>
                  <a:cubicBezTo>
                    <a:pt x="36" y="4"/>
                    <a:pt x="37" y="6"/>
                    <a:pt x="39" y="6"/>
                  </a:cubicBezTo>
                  <a:cubicBezTo>
                    <a:pt x="38" y="5"/>
                    <a:pt x="38" y="4"/>
                    <a:pt x="3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69" name="任意多边形: 形状 668">
              <a:extLst>
                <a:ext uri="{FF2B5EF4-FFF2-40B4-BE49-F238E27FC236}">
                  <a16:creationId xmlns:a16="http://schemas.microsoft.com/office/drawing/2014/main" id="{1AD2A8AC-B427-4EA1-8B4E-483B9812215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6025814" y="-6121387"/>
              <a:ext cx="52388" cy="26988"/>
            </a:xfrm>
            <a:custGeom>
              <a:avLst/>
              <a:gdLst>
                <a:gd name="T0" fmla="*/ 14 w 16"/>
                <a:gd name="T1" fmla="*/ 8 h 8"/>
                <a:gd name="T2" fmla="*/ 16 w 16"/>
                <a:gd name="T3" fmla="*/ 2 h 8"/>
                <a:gd name="T4" fmla="*/ 11 w 16"/>
                <a:gd name="T5" fmla="*/ 0 h 8"/>
                <a:gd name="T6" fmla="*/ 3 w 16"/>
                <a:gd name="T7" fmla="*/ 7 h 8"/>
                <a:gd name="T8" fmla="*/ 14 w 16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" h="8">
                  <a:moveTo>
                    <a:pt x="14" y="8"/>
                  </a:moveTo>
                  <a:cubicBezTo>
                    <a:pt x="16" y="7"/>
                    <a:pt x="15" y="4"/>
                    <a:pt x="16" y="2"/>
                  </a:cubicBezTo>
                  <a:cubicBezTo>
                    <a:pt x="14" y="5"/>
                    <a:pt x="13" y="1"/>
                    <a:pt x="11" y="0"/>
                  </a:cubicBezTo>
                  <a:cubicBezTo>
                    <a:pt x="9" y="3"/>
                    <a:pt x="0" y="3"/>
                    <a:pt x="3" y="7"/>
                  </a:cubicBezTo>
                  <a:cubicBezTo>
                    <a:pt x="7" y="6"/>
                    <a:pt x="12" y="2"/>
                    <a:pt x="1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0" name="任意多边形: 形状 669">
              <a:extLst>
                <a:ext uri="{FF2B5EF4-FFF2-40B4-BE49-F238E27FC236}">
                  <a16:creationId xmlns:a16="http://schemas.microsoft.com/office/drawing/2014/main" id="{1AB11A19-6F1B-4A59-91AA-15FE74988E8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489239" y="-5451460"/>
              <a:ext cx="6350" cy="9525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3 h 3"/>
                <a:gd name="T4" fmla="*/ 1 w 2"/>
                <a:gd name="T5" fmla="*/ 2 h 3"/>
                <a:gd name="T6" fmla="*/ 1 w 2"/>
                <a:gd name="T7" fmla="*/ 0 h 3"/>
                <a:gd name="T8" fmla="*/ 0 w 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1" y="2"/>
                    <a:pt x="1" y="2"/>
                  </a:cubicBezTo>
                  <a:cubicBezTo>
                    <a:pt x="1" y="2"/>
                    <a:pt x="2" y="1"/>
                    <a:pt x="1" y="0"/>
                  </a:cubicBezTo>
                  <a:cubicBezTo>
                    <a:pt x="1" y="0"/>
                    <a:pt x="1" y="0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1" name="任意多边形: 形状 670">
              <a:extLst>
                <a:ext uri="{FF2B5EF4-FFF2-40B4-BE49-F238E27FC236}">
                  <a16:creationId xmlns:a16="http://schemas.microsoft.com/office/drawing/2014/main" id="{1A4E922C-638F-4087-B01B-6E973CBFD6A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524164" y="-5557823"/>
              <a:ext cx="33338" cy="20638"/>
            </a:xfrm>
            <a:custGeom>
              <a:avLst/>
              <a:gdLst>
                <a:gd name="T0" fmla="*/ 2 w 10"/>
                <a:gd name="T1" fmla="*/ 5 h 6"/>
                <a:gd name="T2" fmla="*/ 10 w 10"/>
                <a:gd name="T3" fmla="*/ 4 h 6"/>
                <a:gd name="T4" fmla="*/ 10 w 10"/>
                <a:gd name="T5" fmla="*/ 2 h 6"/>
                <a:gd name="T6" fmla="*/ 4 w 10"/>
                <a:gd name="T7" fmla="*/ 1 h 6"/>
                <a:gd name="T8" fmla="*/ 2 w 10"/>
                <a:gd name="T9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6">
                  <a:moveTo>
                    <a:pt x="2" y="5"/>
                  </a:moveTo>
                  <a:cubicBezTo>
                    <a:pt x="5" y="5"/>
                    <a:pt x="7" y="6"/>
                    <a:pt x="10" y="4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8" y="1"/>
                    <a:pt x="6" y="1"/>
                    <a:pt x="4" y="1"/>
                  </a:cubicBezTo>
                  <a:cubicBezTo>
                    <a:pt x="0" y="0"/>
                    <a:pt x="0" y="3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2" name="任意多边形: 形状 671">
              <a:extLst>
                <a:ext uri="{FF2B5EF4-FFF2-40B4-BE49-F238E27FC236}">
                  <a16:creationId xmlns:a16="http://schemas.microsoft.com/office/drawing/2014/main" id="{CC23B996-3E9F-484D-8062-B3F5619652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557501" y="-5554648"/>
              <a:ext cx="6350" cy="3175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0 w 2"/>
                <a:gd name="T5" fmla="*/ 0 h 1"/>
                <a:gd name="T6" fmla="*/ 0 w 2"/>
                <a:gd name="T7" fmla="*/ 0 h 1"/>
                <a:gd name="T8" fmla="*/ 0 w 2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cubicBezTo>
                    <a:pt x="1" y="1"/>
                    <a:pt x="2" y="1"/>
                    <a:pt x="2" y="1"/>
                  </a:cubicBezTo>
                  <a:cubicBezTo>
                    <a:pt x="2" y="1"/>
                    <a:pt x="1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673" name="任意多边形: 形状 672">
              <a:extLst>
                <a:ext uri="{FF2B5EF4-FFF2-40B4-BE49-F238E27FC236}">
                  <a16:creationId xmlns:a16="http://schemas.microsoft.com/office/drawing/2014/main" id="{1701B969-C7F4-4A80-8DDF-B0BF5346E09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06451" y="-4516420"/>
              <a:ext cx="409575" cy="157163"/>
            </a:xfrm>
            <a:custGeom>
              <a:avLst/>
              <a:gdLst>
                <a:gd name="T0" fmla="*/ 121 w 124"/>
                <a:gd name="T1" fmla="*/ 0 h 48"/>
                <a:gd name="T2" fmla="*/ 2 w 124"/>
                <a:gd name="T3" fmla="*/ 43 h 48"/>
                <a:gd name="T4" fmla="*/ 0 w 124"/>
                <a:gd name="T5" fmla="*/ 46 h 48"/>
                <a:gd name="T6" fmla="*/ 4 w 124"/>
                <a:gd name="T7" fmla="*/ 47 h 48"/>
                <a:gd name="T8" fmla="*/ 122 w 124"/>
                <a:gd name="T9" fmla="*/ 5 h 48"/>
                <a:gd name="T10" fmla="*/ 124 w 124"/>
                <a:gd name="T11" fmla="*/ 2 h 48"/>
                <a:gd name="T12" fmla="*/ 121 w 124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" h="48">
                  <a:moveTo>
                    <a:pt x="121" y="0"/>
                  </a:moveTo>
                  <a:cubicBezTo>
                    <a:pt x="81" y="14"/>
                    <a:pt x="41" y="28"/>
                    <a:pt x="2" y="43"/>
                  </a:cubicBezTo>
                  <a:cubicBezTo>
                    <a:pt x="1" y="43"/>
                    <a:pt x="0" y="45"/>
                    <a:pt x="0" y="46"/>
                  </a:cubicBezTo>
                  <a:cubicBezTo>
                    <a:pt x="1" y="47"/>
                    <a:pt x="2" y="48"/>
                    <a:pt x="4" y="47"/>
                  </a:cubicBezTo>
                  <a:cubicBezTo>
                    <a:pt x="43" y="32"/>
                    <a:pt x="82" y="18"/>
                    <a:pt x="122" y="5"/>
                  </a:cubicBezTo>
                  <a:cubicBezTo>
                    <a:pt x="124" y="4"/>
                    <a:pt x="124" y="3"/>
                    <a:pt x="124" y="2"/>
                  </a:cubicBezTo>
                  <a:cubicBezTo>
                    <a:pt x="123" y="0"/>
                    <a:pt x="122" y="0"/>
                    <a:pt x="12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97368" y="1114379"/>
            <a:ext cx="6129489" cy="4028251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97368" y="5827357"/>
            <a:ext cx="612948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97370" y="5531086"/>
            <a:ext cx="612948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5358914" y="4574367"/>
            <a:ext cx="6159986" cy="558799"/>
          </a:xfrm>
        </p:spPr>
        <p:txBody>
          <a:bodyPr>
            <a:normAutofit/>
          </a:bodyPr>
          <a:lstStyle/>
          <a:p>
            <a:r>
              <a:rPr lang="zh-CN" altLang="en-US" sz="1800" i="1" spc="1000" dirty="0">
                <a:solidFill>
                  <a:schemeClr val="accent2"/>
                </a:solidFill>
                <a:cs typeface="+mn-ea"/>
                <a:sym typeface="+mn-lt"/>
              </a:rPr>
              <a:t>答辩</a:t>
            </a:r>
            <a:r>
              <a:rPr lang="zh-CN" altLang="en-US" sz="1800" i="1" spc="1000">
                <a:solidFill>
                  <a:schemeClr val="accent2"/>
                </a:solidFill>
                <a:cs typeface="+mn-ea"/>
                <a:sym typeface="+mn-lt"/>
              </a:rPr>
              <a:t>人：</a:t>
            </a:r>
            <a:r>
              <a:rPr lang="en-US" altLang="zh-CN" sz="1800" i="1" spc="100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zh-CN" sz="1800" i="1" spc="1000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5358913" y="1638300"/>
            <a:ext cx="6159986" cy="2899469"/>
          </a:xfrm>
        </p:spPr>
        <p:txBody>
          <a:bodyPr>
            <a:normAutofit/>
          </a:bodyPr>
          <a:lstStyle/>
          <a:p>
            <a:r>
              <a:rPr lang="zh-CN" altLang="en-US" sz="4800">
                <a:latin typeface="+mn-lt"/>
                <a:ea typeface="+mn-ea"/>
                <a:cs typeface="+mn-ea"/>
                <a:sym typeface="+mn-lt"/>
              </a:rPr>
              <a:t>时间管理</a:t>
            </a:r>
            <a:br>
              <a:rPr lang="en-US" altLang="zh-CN" sz="480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4800">
                <a:latin typeface="+mn-lt"/>
                <a:ea typeface="+mn-ea"/>
                <a:cs typeface="+mn-ea"/>
                <a:sym typeface="+mn-lt"/>
              </a:rPr>
              <a:t>无聊情绪</a:t>
            </a:r>
            <a:br>
              <a:rPr lang="en-US" altLang="zh-CN" sz="480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200" b="0">
                <a:latin typeface="+mn-lt"/>
                <a:ea typeface="+mn-ea"/>
                <a:cs typeface="+mn-ea"/>
                <a:sym typeface="+mn-lt"/>
              </a:rPr>
              <a:t>与学业拖延的</a:t>
            </a:r>
            <a:br>
              <a:rPr lang="en-US" altLang="zh-CN" sz="3200" b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3200" b="0">
                <a:latin typeface="+mn-lt"/>
                <a:ea typeface="+mn-ea"/>
                <a:cs typeface="+mn-ea"/>
                <a:sym typeface="+mn-lt"/>
              </a:rPr>
              <a:t>关系及干预研究</a:t>
            </a:r>
            <a:endParaRPr lang="zh-CN" altLang="en-US" sz="4400" spc="120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5358913" y="5420908"/>
            <a:ext cx="6159986" cy="296271"/>
          </a:xfrm>
        </p:spPr>
        <p:txBody>
          <a:bodyPr/>
          <a:lstStyle/>
          <a:p>
            <a:r>
              <a:rPr lang="zh-CN" altLang="en-US">
                <a:solidFill>
                  <a:schemeClr val="tx2"/>
                </a:solidFill>
                <a:cs typeface="+mn-ea"/>
                <a:sym typeface="+mn-lt"/>
              </a:rPr>
              <a:t>导师：</a:t>
            </a:r>
            <a:r>
              <a:rPr lang="en-US" altLang="zh-CN">
                <a:solidFill>
                  <a:schemeClr val="tx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>
          <a:xfrm>
            <a:off x="5358913" y="5699944"/>
            <a:ext cx="6159986" cy="296271"/>
          </a:xfrm>
        </p:spPr>
        <p:txBody>
          <a:bodyPr/>
          <a:lstStyle/>
          <a:p>
            <a:r>
              <a:rPr lang="zh-CN" altLang="en-US">
                <a:solidFill>
                  <a:schemeClr val="tx2"/>
                </a:solidFill>
                <a:cs typeface="+mn-ea"/>
                <a:sym typeface="+mn-lt"/>
              </a:rPr>
              <a:t>专业：全日制应用心理</a:t>
            </a:r>
            <a:endParaRPr lang="zh-CN" alt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目的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512B4AAF-5808-45B2-A8A9-16C303DD0F10}"/>
              </a:ext>
            </a:extLst>
          </p:cNvPr>
          <p:cNvSpPr/>
          <p:nvPr/>
        </p:nvSpPr>
        <p:spPr bwMode="auto">
          <a:xfrm>
            <a:off x="4287620" y="3575026"/>
            <a:ext cx="3616762" cy="828665"/>
          </a:xfrm>
          <a:custGeom>
            <a:avLst/>
            <a:gdLst>
              <a:gd name="T0" fmla="*/ 2154 w 2562"/>
              <a:gd name="T1" fmla="*/ 0 h 587"/>
              <a:gd name="T2" fmla="*/ 408 w 2562"/>
              <a:gd name="T3" fmla="*/ 0 h 587"/>
              <a:gd name="T4" fmla="*/ 0 w 2562"/>
              <a:gd name="T5" fmla="*/ 587 h 587"/>
              <a:gd name="T6" fmla="*/ 2562 w 2562"/>
              <a:gd name="T7" fmla="*/ 587 h 587"/>
              <a:gd name="T8" fmla="*/ 2154 w 2562"/>
              <a:gd name="T9" fmla="*/ 0 h 5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562" h="587">
                <a:moveTo>
                  <a:pt x="2154" y="0"/>
                </a:moveTo>
                <a:lnTo>
                  <a:pt x="408" y="0"/>
                </a:lnTo>
                <a:lnTo>
                  <a:pt x="0" y="587"/>
                </a:lnTo>
                <a:lnTo>
                  <a:pt x="2562" y="587"/>
                </a:lnTo>
                <a:lnTo>
                  <a:pt x="2154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>
                <a:cs typeface="+mn-ea"/>
                <a:sym typeface="+mn-lt"/>
              </a:rPr>
              <a:t>2</a:t>
            </a:r>
            <a:endParaRPr lang="id-ID" sz="2400" b="1" dirty="0"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3BBE57CB-0CD0-4A21-8B06-38F40E63FA10}"/>
              </a:ext>
            </a:extLst>
          </p:cNvPr>
          <p:cNvSpPr/>
          <p:nvPr/>
        </p:nvSpPr>
        <p:spPr bwMode="auto">
          <a:xfrm>
            <a:off x="3533775" y="5245062"/>
            <a:ext cx="5124450" cy="628204"/>
          </a:xfrm>
          <a:custGeom>
            <a:avLst/>
            <a:gdLst>
              <a:gd name="T0" fmla="*/ 306 w 3630"/>
              <a:gd name="T1" fmla="*/ 0 h 445"/>
              <a:gd name="T2" fmla="*/ 0 w 3630"/>
              <a:gd name="T3" fmla="*/ 445 h 445"/>
              <a:gd name="T4" fmla="*/ 3630 w 3630"/>
              <a:gd name="T5" fmla="*/ 445 h 445"/>
              <a:gd name="T6" fmla="*/ 3324 w 3630"/>
              <a:gd name="T7" fmla="*/ 0 h 445"/>
              <a:gd name="T8" fmla="*/ 306 w 3630"/>
              <a:gd name="T9" fmla="*/ 0 h 4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630" h="445">
                <a:moveTo>
                  <a:pt x="306" y="0"/>
                </a:moveTo>
                <a:lnTo>
                  <a:pt x="0" y="445"/>
                </a:lnTo>
                <a:lnTo>
                  <a:pt x="3630" y="445"/>
                </a:lnTo>
                <a:lnTo>
                  <a:pt x="3324" y="0"/>
                </a:lnTo>
                <a:lnTo>
                  <a:pt x="306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 dirty="0">
                <a:cs typeface="+mn-ea"/>
                <a:sym typeface="+mn-lt"/>
              </a:rPr>
              <a:t>3</a:t>
            </a:r>
            <a:endParaRPr lang="id-ID" sz="2400" b="1" dirty="0"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A3152955-067F-48C9-A997-95F243918910}"/>
              </a:ext>
            </a:extLst>
          </p:cNvPr>
          <p:cNvSpPr/>
          <p:nvPr/>
        </p:nvSpPr>
        <p:spPr bwMode="auto">
          <a:xfrm>
            <a:off x="5186869" y="1391133"/>
            <a:ext cx="1818262" cy="1325582"/>
          </a:xfrm>
          <a:custGeom>
            <a:avLst/>
            <a:gdLst>
              <a:gd name="T0" fmla="*/ 1288 w 1288"/>
              <a:gd name="T1" fmla="*/ 939 h 939"/>
              <a:gd name="T2" fmla="*/ 644 w 1288"/>
              <a:gd name="T3" fmla="*/ 0 h 939"/>
              <a:gd name="T4" fmla="*/ 0 w 1288"/>
              <a:gd name="T5" fmla="*/ 939 h 939"/>
              <a:gd name="T6" fmla="*/ 1288 w 1288"/>
              <a:gd name="T7" fmla="*/ 939 h 9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288" h="939">
                <a:moveTo>
                  <a:pt x="1288" y="939"/>
                </a:moveTo>
                <a:lnTo>
                  <a:pt x="644" y="0"/>
                </a:lnTo>
                <a:lnTo>
                  <a:pt x="0" y="939"/>
                </a:lnTo>
                <a:lnTo>
                  <a:pt x="1288" y="939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400" b="1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id-ID" sz="2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E64CAE25-250C-41D2-BBBB-DD5820FE8BE4}"/>
              </a:ext>
            </a:extLst>
          </p:cNvPr>
          <p:cNvGrpSpPr/>
          <p:nvPr/>
        </p:nvGrpSpPr>
        <p:grpSpPr>
          <a:xfrm>
            <a:off x="4233456" y="4427697"/>
            <a:ext cx="3725410" cy="800431"/>
            <a:chOff x="4573909" y="4079091"/>
            <a:chExt cx="3044458" cy="654123"/>
          </a:xfrm>
          <a:solidFill>
            <a:schemeClr val="bg1">
              <a:lumMod val="95000"/>
            </a:schemeClr>
          </a:solidFill>
        </p:grpSpPr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EF0DAA40-7826-42DC-9C08-B67D09E4B95F}"/>
                </a:ext>
              </a:extLst>
            </p:cNvPr>
            <p:cNvSpPr/>
            <p:nvPr/>
          </p:nvSpPr>
          <p:spPr bwMode="auto">
            <a:xfrm>
              <a:off x="4950005" y="4079091"/>
              <a:ext cx="410656" cy="654123"/>
            </a:xfrm>
            <a:custGeom>
              <a:avLst/>
              <a:gdLst>
                <a:gd name="connsiteX0" fmla="*/ 206920 w 410656"/>
                <a:gd name="connsiteY0" fmla="*/ 27688 h 654123"/>
                <a:gd name="connsiteX1" fmla="*/ 265757 w 410656"/>
                <a:gd name="connsiteY1" fmla="*/ 86525 h 654123"/>
                <a:gd name="connsiteX2" fmla="*/ 206920 w 410656"/>
                <a:gd name="connsiteY2" fmla="*/ 145362 h 654123"/>
                <a:gd name="connsiteX3" fmla="*/ 148083 w 410656"/>
                <a:gd name="connsiteY3" fmla="*/ 86525 h 654123"/>
                <a:gd name="connsiteX4" fmla="*/ 206920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6920" y="27688"/>
                  </a:moveTo>
                  <a:cubicBezTo>
                    <a:pt x="239415" y="27688"/>
                    <a:pt x="265757" y="54030"/>
                    <a:pt x="265757" y="86525"/>
                  </a:cubicBezTo>
                  <a:cubicBezTo>
                    <a:pt x="265757" y="119020"/>
                    <a:pt x="239415" y="145362"/>
                    <a:pt x="206920" y="145362"/>
                  </a:cubicBezTo>
                  <a:cubicBezTo>
                    <a:pt x="174425" y="145362"/>
                    <a:pt x="148083" y="119020"/>
                    <a:pt x="148083" y="86525"/>
                  </a:cubicBezTo>
                  <a:cubicBezTo>
                    <a:pt x="148083" y="54030"/>
                    <a:pt x="174425" y="27688"/>
                    <a:pt x="206920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3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AD1AC9A1-105B-4F94-AB17-FE93834EE6BF}"/>
                </a:ext>
              </a:extLst>
            </p:cNvPr>
            <p:cNvSpPr/>
            <p:nvPr/>
          </p:nvSpPr>
          <p:spPr bwMode="auto">
            <a:xfrm>
              <a:off x="4573909" y="4079091"/>
              <a:ext cx="409511" cy="654123"/>
            </a:xfrm>
            <a:custGeom>
              <a:avLst/>
              <a:gdLst>
                <a:gd name="connsiteX0" fmla="*/ 206925 w 409511"/>
                <a:gd name="connsiteY0" fmla="*/ 27688 h 654123"/>
                <a:gd name="connsiteX1" fmla="*/ 265762 w 409511"/>
                <a:gd name="connsiteY1" fmla="*/ 86525 h 654123"/>
                <a:gd name="connsiteX2" fmla="*/ 206925 w 409511"/>
                <a:gd name="connsiteY2" fmla="*/ 145362 h 654123"/>
                <a:gd name="connsiteX3" fmla="*/ 148088 w 409511"/>
                <a:gd name="connsiteY3" fmla="*/ 86525 h 654123"/>
                <a:gd name="connsiteX4" fmla="*/ 206925 w 409511"/>
                <a:gd name="connsiteY4" fmla="*/ 27688 h 654123"/>
                <a:gd name="connsiteX5" fmla="*/ 12193 w 409511"/>
                <a:gd name="connsiteY5" fmla="*/ 0 h 654123"/>
                <a:gd name="connsiteX6" fmla="*/ 21579 w 409511"/>
                <a:gd name="connsiteY6" fmla="*/ 0 h 654123"/>
                <a:gd name="connsiteX7" fmla="*/ 40352 w 409511"/>
                <a:gd name="connsiteY7" fmla="*/ 9412 h 654123"/>
                <a:gd name="connsiteX8" fmla="*/ 138911 w 409511"/>
                <a:gd name="connsiteY8" fmla="*/ 160002 h 654123"/>
                <a:gd name="connsiteX9" fmla="*/ 270324 w 409511"/>
                <a:gd name="connsiteY9" fmla="*/ 160002 h 654123"/>
                <a:gd name="connsiteX10" fmla="*/ 373576 w 409511"/>
                <a:gd name="connsiteY10" fmla="*/ 9412 h 654123"/>
                <a:gd name="connsiteX11" fmla="*/ 387656 w 409511"/>
                <a:gd name="connsiteY11" fmla="*/ 0 h 654123"/>
                <a:gd name="connsiteX12" fmla="*/ 401736 w 409511"/>
                <a:gd name="connsiteY12" fmla="*/ 0 h 654123"/>
                <a:gd name="connsiteX13" fmla="*/ 406429 w 409511"/>
                <a:gd name="connsiteY13" fmla="*/ 32942 h 654123"/>
                <a:gd name="connsiteX14" fmla="*/ 298483 w 409511"/>
                <a:gd name="connsiteY14" fmla="*/ 192943 h 654123"/>
                <a:gd name="connsiteX15" fmla="*/ 284404 w 409511"/>
                <a:gd name="connsiteY15" fmla="*/ 202355 h 654123"/>
                <a:gd name="connsiteX16" fmla="*/ 275017 w 409511"/>
                <a:gd name="connsiteY16" fmla="*/ 202355 h 654123"/>
                <a:gd name="connsiteX17" fmla="*/ 275017 w 409511"/>
                <a:gd name="connsiteY17" fmla="*/ 621182 h 654123"/>
                <a:gd name="connsiteX18" fmla="*/ 242164 w 409511"/>
                <a:gd name="connsiteY18" fmla="*/ 654123 h 654123"/>
                <a:gd name="connsiteX19" fmla="*/ 209311 w 409511"/>
                <a:gd name="connsiteY19" fmla="*/ 621182 h 654123"/>
                <a:gd name="connsiteX20" fmla="*/ 209311 w 409511"/>
                <a:gd name="connsiteY20" fmla="*/ 381180 h 654123"/>
                <a:gd name="connsiteX21" fmla="*/ 199924 w 409511"/>
                <a:gd name="connsiteY21" fmla="*/ 381180 h 654123"/>
                <a:gd name="connsiteX22" fmla="*/ 199924 w 409511"/>
                <a:gd name="connsiteY22" fmla="*/ 621182 h 654123"/>
                <a:gd name="connsiteX23" fmla="*/ 167071 w 409511"/>
                <a:gd name="connsiteY23" fmla="*/ 654123 h 654123"/>
                <a:gd name="connsiteX24" fmla="*/ 134218 w 409511"/>
                <a:gd name="connsiteY24" fmla="*/ 621182 h 654123"/>
                <a:gd name="connsiteX25" fmla="*/ 134218 w 409511"/>
                <a:gd name="connsiteY25" fmla="*/ 202355 h 654123"/>
                <a:gd name="connsiteX26" fmla="*/ 129525 w 409511"/>
                <a:gd name="connsiteY26" fmla="*/ 202355 h 654123"/>
                <a:gd name="connsiteX27" fmla="*/ 110752 w 409511"/>
                <a:gd name="connsiteY27" fmla="*/ 192943 h 654123"/>
                <a:gd name="connsiteX28" fmla="*/ 2806 w 409511"/>
                <a:gd name="connsiteY28" fmla="*/ 32942 h 654123"/>
                <a:gd name="connsiteX29" fmla="*/ 12193 w 409511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09511" h="654123">
                  <a:moveTo>
                    <a:pt x="206925" y="27688"/>
                  </a:moveTo>
                  <a:cubicBezTo>
                    <a:pt x="239420" y="27688"/>
                    <a:pt x="265762" y="54030"/>
                    <a:pt x="265762" y="86525"/>
                  </a:cubicBezTo>
                  <a:cubicBezTo>
                    <a:pt x="265762" y="119020"/>
                    <a:pt x="239420" y="145362"/>
                    <a:pt x="206925" y="145362"/>
                  </a:cubicBezTo>
                  <a:cubicBezTo>
                    <a:pt x="174430" y="145362"/>
                    <a:pt x="148088" y="119020"/>
                    <a:pt x="148088" y="86525"/>
                  </a:cubicBezTo>
                  <a:cubicBezTo>
                    <a:pt x="148088" y="54030"/>
                    <a:pt x="174430" y="27688"/>
                    <a:pt x="206925" y="27688"/>
                  </a:cubicBezTo>
                  <a:close/>
                  <a:moveTo>
                    <a:pt x="12193" y="0"/>
                  </a:moveTo>
                  <a:cubicBezTo>
                    <a:pt x="12193" y="0"/>
                    <a:pt x="16886" y="0"/>
                    <a:pt x="21579" y="0"/>
                  </a:cubicBezTo>
                  <a:cubicBezTo>
                    <a:pt x="26272" y="0"/>
                    <a:pt x="35659" y="0"/>
                    <a:pt x="40352" y="9412"/>
                  </a:cubicBezTo>
                  <a:cubicBezTo>
                    <a:pt x="40352" y="9412"/>
                    <a:pt x="40352" y="9412"/>
                    <a:pt x="138911" y="160002"/>
                  </a:cubicBezTo>
                  <a:cubicBezTo>
                    <a:pt x="138911" y="160002"/>
                    <a:pt x="138911" y="160002"/>
                    <a:pt x="270324" y="160002"/>
                  </a:cubicBezTo>
                  <a:cubicBezTo>
                    <a:pt x="270324" y="160002"/>
                    <a:pt x="270324" y="160002"/>
                    <a:pt x="373576" y="9412"/>
                  </a:cubicBezTo>
                  <a:cubicBezTo>
                    <a:pt x="373576" y="0"/>
                    <a:pt x="382963" y="0"/>
                    <a:pt x="387656" y="0"/>
                  </a:cubicBezTo>
                  <a:cubicBezTo>
                    <a:pt x="392349" y="0"/>
                    <a:pt x="397042" y="0"/>
                    <a:pt x="401736" y="0"/>
                  </a:cubicBezTo>
                  <a:cubicBezTo>
                    <a:pt x="411122" y="9412"/>
                    <a:pt x="411122" y="23529"/>
                    <a:pt x="406429" y="32942"/>
                  </a:cubicBezTo>
                  <a:cubicBezTo>
                    <a:pt x="406429" y="32942"/>
                    <a:pt x="406429" y="32942"/>
                    <a:pt x="298483" y="192943"/>
                  </a:cubicBezTo>
                  <a:cubicBezTo>
                    <a:pt x="293790" y="197649"/>
                    <a:pt x="289097" y="202355"/>
                    <a:pt x="284404" y="202355"/>
                  </a:cubicBezTo>
                  <a:cubicBezTo>
                    <a:pt x="284404" y="202355"/>
                    <a:pt x="284404" y="202355"/>
                    <a:pt x="275017" y="202355"/>
                  </a:cubicBezTo>
                  <a:cubicBezTo>
                    <a:pt x="275017" y="202355"/>
                    <a:pt x="275017" y="202355"/>
                    <a:pt x="275017" y="621182"/>
                  </a:cubicBezTo>
                  <a:cubicBezTo>
                    <a:pt x="275017" y="635300"/>
                    <a:pt x="260937" y="654123"/>
                    <a:pt x="242164" y="654123"/>
                  </a:cubicBezTo>
                  <a:cubicBezTo>
                    <a:pt x="228084" y="654123"/>
                    <a:pt x="209311" y="635300"/>
                    <a:pt x="209311" y="621182"/>
                  </a:cubicBezTo>
                  <a:cubicBezTo>
                    <a:pt x="209311" y="621182"/>
                    <a:pt x="209311" y="621182"/>
                    <a:pt x="209311" y="381180"/>
                  </a:cubicBezTo>
                  <a:cubicBezTo>
                    <a:pt x="209311" y="381180"/>
                    <a:pt x="209311" y="381180"/>
                    <a:pt x="199924" y="381180"/>
                  </a:cubicBezTo>
                  <a:cubicBezTo>
                    <a:pt x="199924" y="381180"/>
                    <a:pt x="199924" y="381180"/>
                    <a:pt x="199924" y="621182"/>
                  </a:cubicBezTo>
                  <a:cubicBezTo>
                    <a:pt x="199924" y="635300"/>
                    <a:pt x="185845" y="654123"/>
                    <a:pt x="167071" y="654123"/>
                  </a:cubicBezTo>
                  <a:cubicBezTo>
                    <a:pt x="148298" y="654123"/>
                    <a:pt x="134218" y="635300"/>
                    <a:pt x="134218" y="621182"/>
                  </a:cubicBezTo>
                  <a:cubicBezTo>
                    <a:pt x="134218" y="621182"/>
                    <a:pt x="134218" y="621182"/>
                    <a:pt x="134218" y="202355"/>
                  </a:cubicBezTo>
                  <a:cubicBezTo>
                    <a:pt x="134218" y="202355"/>
                    <a:pt x="134218" y="202355"/>
                    <a:pt x="129525" y="202355"/>
                  </a:cubicBezTo>
                  <a:cubicBezTo>
                    <a:pt x="120138" y="202355"/>
                    <a:pt x="115445" y="197649"/>
                    <a:pt x="110752" y="192943"/>
                  </a:cubicBezTo>
                  <a:cubicBezTo>
                    <a:pt x="110752" y="192943"/>
                    <a:pt x="110752" y="192943"/>
                    <a:pt x="2806" y="32942"/>
                  </a:cubicBezTo>
                  <a:cubicBezTo>
                    <a:pt x="-1887" y="23529"/>
                    <a:pt x="-1887" y="9412"/>
                    <a:pt x="1219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C9EA5EE2-C1FC-4B1E-A852-09220DAD1289}"/>
                </a:ext>
              </a:extLst>
            </p:cNvPr>
            <p:cNvSpPr/>
            <p:nvPr/>
          </p:nvSpPr>
          <p:spPr bwMode="auto">
            <a:xfrm>
              <a:off x="5326097" y="4079091"/>
              <a:ext cx="410656" cy="654123"/>
            </a:xfrm>
            <a:custGeom>
              <a:avLst/>
              <a:gdLst>
                <a:gd name="connsiteX0" fmla="*/ 208074 w 410656"/>
                <a:gd name="connsiteY0" fmla="*/ 27688 h 654123"/>
                <a:gd name="connsiteX1" fmla="*/ 266911 w 410656"/>
                <a:gd name="connsiteY1" fmla="*/ 86525 h 654123"/>
                <a:gd name="connsiteX2" fmla="*/ 208074 w 410656"/>
                <a:gd name="connsiteY2" fmla="*/ 145362 h 654123"/>
                <a:gd name="connsiteX3" fmla="*/ 149237 w 410656"/>
                <a:gd name="connsiteY3" fmla="*/ 86525 h 654123"/>
                <a:gd name="connsiteX4" fmla="*/ 208074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7688"/>
                  </a:moveTo>
                  <a:cubicBezTo>
                    <a:pt x="240569" y="27688"/>
                    <a:pt x="266911" y="54030"/>
                    <a:pt x="266911" y="86525"/>
                  </a:cubicBezTo>
                  <a:cubicBezTo>
                    <a:pt x="266911" y="119020"/>
                    <a:pt x="240569" y="145362"/>
                    <a:pt x="208074" y="145362"/>
                  </a:cubicBezTo>
                  <a:cubicBezTo>
                    <a:pt x="175579" y="145362"/>
                    <a:pt x="149237" y="119020"/>
                    <a:pt x="149237" y="86525"/>
                  </a:cubicBezTo>
                  <a:cubicBezTo>
                    <a:pt x="149237" y="54030"/>
                    <a:pt x="175579" y="27688"/>
                    <a:pt x="208074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2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9D9E5E72-1BBB-4F2D-94BE-A33152FD7752}"/>
                </a:ext>
              </a:extLst>
            </p:cNvPr>
            <p:cNvSpPr/>
            <p:nvPr/>
          </p:nvSpPr>
          <p:spPr bwMode="auto">
            <a:xfrm>
              <a:off x="5702189" y="4079091"/>
              <a:ext cx="410656" cy="654123"/>
            </a:xfrm>
            <a:custGeom>
              <a:avLst/>
              <a:gdLst>
                <a:gd name="connsiteX0" fmla="*/ 208074 w 410656"/>
                <a:gd name="connsiteY0" fmla="*/ 27688 h 654123"/>
                <a:gd name="connsiteX1" fmla="*/ 266911 w 410656"/>
                <a:gd name="connsiteY1" fmla="*/ 86525 h 654123"/>
                <a:gd name="connsiteX2" fmla="*/ 208074 w 410656"/>
                <a:gd name="connsiteY2" fmla="*/ 145362 h 654123"/>
                <a:gd name="connsiteX3" fmla="*/ 149237 w 410656"/>
                <a:gd name="connsiteY3" fmla="*/ 86525 h 654123"/>
                <a:gd name="connsiteX4" fmla="*/ 208074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7688"/>
                  </a:moveTo>
                  <a:cubicBezTo>
                    <a:pt x="240569" y="27688"/>
                    <a:pt x="266911" y="54030"/>
                    <a:pt x="266911" y="86525"/>
                  </a:cubicBezTo>
                  <a:cubicBezTo>
                    <a:pt x="266911" y="119020"/>
                    <a:pt x="240569" y="145362"/>
                    <a:pt x="208074" y="145362"/>
                  </a:cubicBezTo>
                  <a:cubicBezTo>
                    <a:pt x="175579" y="145362"/>
                    <a:pt x="149237" y="119020"/>
                    <a:pt x="149237" y="86525"/>
                  </a:cubicBezTo>
                  <a:cubicBezTo>
                    <a:pt x="149237" y="54030"/>
                    <a:pt x="175579" y="27688"/>
                    <a:pt x="208074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2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66ED61A9-CA20-48DC-BB6B-5972BFC9FAD4}"/>
                </a:ext>
              </a:extLst>
            </p:cNvPr>
            <p:cNvSpPr/>
            <p:nvPr/>
          </p:nvSpPr>
          <p:spPr bwMode="auto">
            <a:xfrm>
              <a:off x="6079435" y="4079091"/>
              <a:ext cx="410656" cy="654123"/>
            </a:xfrm>
            <a:custGeom>
              <a:avLst/>
              <a:gdLst>
                <a:gd name="connsiteX0" fmla="*/ 206920 w 410656"/>
                <a:gd name="connsiteY0" fmla="*/ 27688 h 654123"/>
                <a:gd name="connsiteX1" fmla="*/ 265757 w 410656"/>
                <a:gd name="connsiteY1" fmla="*/ 86525 h 654123"/>
                <a:gd name="connsiteX2" fmla="*/ 206920 w 410656"/>
                <a:gd name="connsiteY2" fmla="*/ 145362 h 654123"/>
                <a:gd name="connsiteX3" fmla="*/ 148083 w 410656"/>
                <a:gd name="connsiteY3" fmla="*/ 86525 h 654123"/>
                <a:gd name="connsiteX4" fmla="*/ 206920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6920" y="27688"/>
                  </a:moveTo>
                  <a:cubicBezTo>
                    <a:pt x="239415" y="27688"/>
                    <a:pt x="265757" y="54030"/>
                    <a:pt x="265757" y="86525"/>
                  </a:cubicBezTo>
                  <a:cubicBezTo>
                    <a:pt x="265757" y="119020"/>
                    <a:pt x="239415" y="145362"/>
                    <a:pt x="206920" y="145362"/>
                  </a:cubicBezTo>
                  <a:cubicBezTo>
                    <a:pt x="174425" y="145362"/>
                    <a:pt x="148083" y="119020"/>
                    <a:pt x="148083" y="86525"/>
                  </a:cubicBezTo>
                  <a:cubicBezTo>
                    <a:pt x="148083" y="54030"/>
                    <a:pt x="174425" y="27688"/>
                    <a:pt x="206920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3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E8BF91F-4C79-4330-A2B4-2574DC8C3B29}"/>
                </a:ext>
              </a:extLst>
            </p:cNvPr>
            <p:cNvSpPr/>
            <p:nvPr/>
          </p:nvSpPr>
          <p:spPr bwMode="auto">
            <a:xfrm>
              <a:off x="6455527" y="4079091"/>
              <a:ext cx="410656" cy="654123"/>
            </a:xfrm>
            <a:custGeom>
              <a:avLst/>
              <a:gdLst>
                <a:gd name="connsiteX0" fmla="*/ 206920 w 410656"/>
                <a:gd name="connsiteY0" fmla="*/ 27688 h 654123"/>
                <a:gd name="connsiteX1" fmla="*/ 265757 w 410656"/>
                <a:gd name="connsiteY1" fmla="*/ 86525 h 654123"/>
                <a:gd name="connsiteX2" fmla="*/ 206920 w 410656"/>
                <a:gd name="connsiteY2" fmla="*/ 145362 h 654123"/>
                <a:gd name="connsiteX3" fmla="*/ 148083 w 410656"/>
                <a:gd name="connsiteY3" fmla="*/ 86525 h 654123"/>
                <a:gd name="connsiteX4" fmla="*/ 206920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6920" y="27688"/>
                  </a:moveTo>
                  <a:cubicBezTo>
                    <a:pt x="239415" y="27688"/>
                    <a:pt x="265757" y="54030"/>
                    <a:pt x="265757" y="86525"/>
                  </a:cubicBezTo>
                  <a:cubicBezTo>
                    <a:pt x="265757" y="119020"/>
                    <a:pt x="239415" y="145362"/>
                    <a:pt x="206920" y="145362"/>
                  </a:cubicBezTo>
                  <a:cubicBezTo>
                    <a:pt x="174425" y="145362"/>
                    <a:pt x="148083" y="119020"/>
                    <a:pt x="148083" y="86525"/>
                  </a:cubicBezTo>
                  <a:cubicBezTo>
                    <a:pt x="148083" y="54030"/>
                    <a:pt x="174425" y="27688"/>
                    <a:pt x="206920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3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E76DA776-F2DF-46ED-88AD-5993C8A58AF3}"/>
                </a:ext>
              </a:extLst>
            </p:cNvPr>
            <p:cNvSpPr/>
            <p:nvPr/>
          </p:nvSpPr>
          <p:spPr bwMode="auto">
            <a:xfrm>
              <a:off x="6831619" y="4079091"/>
              <a:ext cx="410656" cy="654123"/>
            </a:xfrm>
            <a:custGeom>
              <a:avLst/>
              <a:gdLst>
                <a:gd name="connsiteX0" fmla="*/ 208074 w 410656"/>
                <a:gd name="connsiteY0" fmla="*/ 27688 h 654123"/>
                <a:gd name="connsiteX1" fmla="*/ 266911 w 410656"/>
                <a:gd name="connsiteY1" fmla="*/ 86525 h 654123"/>
                <a:gd name="connsiteX2" fmla="*/ 208074 w 410656"/>
                <a:gd name="connsiteY2" fmla="*/ 145362 h 654123"/>
                <a:gd name="connsiteX3" fmla="*/ 149237 w 410656"/>
                <a:gd name="connsiteY3" fmla="*/ 86525 h 654123"/>
                <a:gd name="connsiteX4" fmla="*/ 208074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7688"/>
                  </a:moveTo>
                  <a:cubicBezTo>
                    <a:pt x="240569" y="27688"/>
                    <a:pt x="266911" y="54030"/>
                    <a:pt x="266911" y="86525"/>
                  </a:cubicBezTo>
                  <a:cubicBezTo>
                    <a:pt x="266911" y="119020"/>
                    <a:pt x="240569" y="145362"/>
                    <a:pt x="208074" y="145362"/>
                  </a:cubicBezTo>
                  <a:cubicBezTo>
                    <a:pt x="175579" y="145362"/>
                    <a:pt x="149237" y="119020"/>
                    <a:pt x="149237" y="86525"/>
                  </a:cubicBezTo>
                  <a:cubicBezTo>
                    <a:pt x="149237" y="54030"/>
                    <a:pt x="175579" y="27688"/>
                    <a:pt x="208074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2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C8BE2EE-B84B-4798-B26F-75F8CC4095B6}"/>
                </a:ext>
              </a:extLst>
            </p:cNvPr>
            <p:cNvSpPr/>
            <p:nvPr/>
          </p:nvSpPr>
          <p:spPr bwMode="auto">
            <a:xfrm>
              <a:off x="7207711" y="4079091"/>
              <a:ext cx="410656" cy="654123"/>
            </a:xfrm>
            <a:custGeom>
              <a:avLst/>
              <a:gdLst>
                <a:gd name="connsiteX0" fmla="*/ 208074 w 410656"/>
                <a:gd name="connsiteY0" fmla="*/ 27688 h 654123"/>
                <a:gd name="connsiteX1" fmla="*/ 266911 w 410656"/>
                <a:gd name="connsiteY1" fmla="*/ 86525 h 654123"/>
                <a:gd name="connsiteX2" fmla="*/ 208074 w 410656"/>
                <a:gd name="connsiteY2" fmla="*/ 145362 h 654123"/>
                <a:gd name="connsiteX3" fmla="*/ 149237 w 410656"/>
                <a:gd name="connsiteY3" fmla="*/ 86525 h 654123"/>
                <a:gd name="connsiteX4" fmla="*/ 208074 w 410656"/>
                <a:gd name="connsiteY4" fmla="*/ 27688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2 h 654123"/>
                <a:gd name="connsiteX9" fmla="*/ 271079 w 410656"/>
                <a:gd name="connsiteY9" fmla="*/ 160002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7688"/>
                  </a:moveTo>
                  <a:cubicBezTo>
                    <a:pt x="240569" y="27688"/>
                    <a:pt x="266911" y="54030"/>
                    <a:pt x="266911" y="86525"/>
                  </a:cubicBezTo>
                  <a:cubicBezTo>
                    <a:pt x="266911" y="119020"/>
                    <a:pt x="240569" y="145362"/>
                    <a:pt x="208074" y="145362"/>
                  </a:cubicBezTo>
                  <a:cubicBezTo>
                    <a:pt x="175579" y="145362"/>
                    <a:pt x="149237" y="119020"/>
                    <a:pt x="149237" y="86525"/>
                  </a:cubicBezTo>
                  <a:cubicBezTo>
                    <a:pt x="149237" y="54030"/>
                    <a:pt x="175579" y="27688"/>
                    <a:pt x="208074" y="27688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2"/>
                  </a:cubicBezTo>
                  <a:cubicBezTo>
                    <a:pt x="139300" y="160002"/>
                    <a:pt x="139300" y="160002"/>
                    <a:pt x="271079" y="160002"/>
                  </a:cubicBezTo>
                  <a:cubicBezTo>
                    <a:pt x="271079" y="160002"/>
                    <a:pt x="271079" y="160002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300"/>
                    <a:pt x="261667" y="654123"/>
                    <a:pt x="242841" y="654123"/>
                  </a:cubicBezTo>
                  <a:cubicBezTo>
                    <a:pt x="228722" y="654123"/>
                    <a:pt x="209896" y="635300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300"/>
                    <a:pt x="186364" y="654123"/>
                    <a:pt x="167539" y="654123"/>
                  </a:cubicBezTo>
                  <a:cubicBezTo>
                    <a:pt x="148712" y="654123"/>
                    <a:pt x="134593" y="635300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</p:grpSp>
      <p:grpSp>
        <p:nvGrpSpPr>
          <p:cNvPr id="29" name="组合 28">
            <a:extLst>
              <a:ext uri="{FF2B5EF4-FFF2-40B4-BE49-F238E27FC236}">
                <a16:creationId xmlns:a16="http://schemas.microsoft.com/office/drawing/2014/main" id="{7BE2BB36-2ECD-4DC3-BDA7-426AA98BE23E}"/>
              </a:ext>
            </a:extLst>
          </p:cNvPr>
          <p:cNvGrpSpPr/>
          <p:nvPr/>
        </p:nvGrpSpPr>
        <p:grpSpPr>
          <a:xfrm>
            <a:off x="5153887" y="2744952"/>
            <a:ext cx="1884557" cy="800431"/>
            <a:chOff x="5326098" y="2703931"/>
            <a:chExt cx="1540087" cy="654123"/>
          </a:xfrm>
          <a:solidFill>
            <a:schemeClr val="bg1">
              <a:lumMod val="95000"/>
            </a:schemeClr>
          </a:solidFill>
        </p:grpSpPr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45A7E113-844D-4837-A68B-DD65AE1302D0}"/>
                </a:ext>
              </a:extLst>
            </p:cNvPr>
            <p:cNvSpPr/>
            <p:nvPr/>
          </p:nvSpPr>
          <p:spPr bwMode="auto">
            <a:xfrm>
              <a:off x="5326098" y="2703931"/>
              <a:ext cx="410656" cy="654123"/>
            </a:xfrm>
            <a:custGeom>
              <a:avLst/>
              <a:gdLst>
                <a:gd name="connsiteX0" fmla="*/ 208074 w 410656"/>
                <a:gd name="connsiteY0" fmla="*/ 28842 h 654123"/>
                <a:gd name="connsiteX1" fmla="*/ 266911 w 410656"/>
                <a:gd name="connsiteY1" fmla="*/ 87679 h 654123"/>
                <a:gd name="connsiteX2" fmla="*/ 208074 w 410656"/>
                <a:gd name="connsiteY2" fmla="*/ 146516 h 654123"/>
                <a:gd name="connsiteX3" fmla="*/ 149237 w 410656"/>
                <a:gd name="connsiteY3" fmla="*/ 87679 h 654123"/>
                <a:gd name="connsiteX4" fmla="*/ 208074 w 410656"/>
                <a:gd name="connsiteY4" fmla="*/ 28842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1 h 654123"/>
                <a:gd name="connsiteX9" fmla="*/ 271079 w 410656"/>
                <a:gd name="connsiteY9" fmla="*/ 160001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8842"/>
                  </a:moveTo>
                  <a:cubicBezTo>
                    <a:pt x="240569" y="28842"/>
                    <a:pt x="266911" y="55184"/>
                    <a:pt x="266911" y="87679"/>
                  </a:cubicBezTo>
                  <a:cubicBezTo>
                    <a:pt x="266911" y="120174"/>
                    <a:pt x="240569" y="146516"/>
                    <a:pt x="208074" y="146516"/>
                  </a:cubicBezTo>
                  <a:cubicBezTo>
                    <a:pt x="175579" y="146516"/>
                    <a:pt x="149237" y="120174"/>
                    <a:pt x="149237" y="87679"/>
                  </a:cubicBezTo>
                  <a:cubicBezTo>
                    <a:pt x="149237" y="55184"/>
                    <a:pt x="175579" y="28842"/>
                    <a:pt x="208074" y="28842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1"/>
                  </a:cubicBezTo>
                  <a:cubicBezTo>
                    <a:pt x="139300" y="160001"/>
                    <a:pt x="139300" y="160001"/>
                    <a:pt x="271079" y="160001"/>
                  </a:cubicBezTo>
                  <a:cubicBezTo>
                    <a:pt x="271079" y="160001"/>
                    <a:pt x="271079" y="160001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299"/>
                    <a:pt x="261667" y="654123"/>
                    <a:pt x="242841" y="654123"/>
                  </a:cubicBezTo>
                  <a:cubicBezTo>
                    <a:pt x="228722" y="654123"/>
                    <a:pt x="209896" y="635299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299"/>
                    <a:pt x="186364" y="654123"/>
                    <a:pt x="167539" y="654123"/>
                  </a:cubicBezTo>
                  <a:cubicBezTo>
                    <a:pt x="148712" y="654123"/>
                    <a:pt x="134593" y="635299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7E889E93-22A7-49A0-8A34-697087CC79D1}"/>
                </a:ext>
              </a:extLst>
            </p:cNvPr>
            <p:cNvSpPr/>
            <p:nvPr/>
          </p:nvSpPr>
          <p:spPr bwMode="auto">
            <a:xfrm>
              <a:off x="5702190" y="2703931"/>
              <a:ext cx="410656" cy="654123"/>
            </a:xfrm>
            <a:custGeom>
              <a:avLst/>
              <a:gdLst>
                <a:gd name="connsiteX0" fmla="*/ 208074 w 410656"/>
                <a:gd name="connsiteY0" fmla="*/ 28842 h 654123"/>
                <a:gd name="connsiteX1" fmla="*/ 266911 w 410656"/>
                <a:gd name="connsiteY1" fmla="*/ 87679 h 654123"/>
                <a:gd name="connsiteX2" fmla="*/ 208074 w 410656"/>
                <a:gd name="connsiteY2" fmla="*/ 146516 h 654123"/>
                <a:gd name="connsiteX3" fmla="*/ 149237 w 410656"/>
                <a:gd name="connsiteY3" fmla="*/ 87679 h 654123"/>
                <a:gd name="connsiteX4" fmla="*/ 208074 w 410656"/>
                <a:gd name="connsiteY4" fmla="*/ 28842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1 h 654123"/>
                <a:gd name="connsiteX9" fmla="*/ 271079 w 410656"/>
                <a:gd name="connsiteY9" fmla="*/ 160001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8074" y="28842"/>
                  </a:moveTo>
                  <a:cubicBezTo>
                    <a:pt x="240569" y="28842"/>
                    <a:pt x="266911" y="55184"/>
                    <a:pt x="266911" y="87679"/>
                  </a:cubicBezTo>
                  <a:cubicBezTo>
                    <a:pt x="266911" y="120174"/>
                    <a:pt x="240569" y="146516"/>
                    <a:pt x="208074" y="146516"/>
                  </a:cubicBezTo>
                  <a:cubicBezTo>
                    <a:pt x="175579" y="146516"/>
                    <a:pt x="149237" y="120174"/>
                    <a:pt x="149237" y="87679"/>
                  </a:cubicBezTo>
                  <a:cubicBezTo>
                    <a:pt x="149237" y="55184"/>
                    <a:pt x="175579" y="28842"/>
                    <a:pt x="208074" y="28842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1"/>
                  </a:cubicBezTo>
                  <a:cubicBezTo>
                    <a:pt x="139300" y="160001"/>
                    <a:pt x="139300" y="160001"/>
                    <a:pt x="271079" y="160001"/>
                  </a:cubicBezTo>
                  <a:cubicBezTo>
                    <a:pt x="271079" y="160001"/>
                    <a:pt x="271079" y="160001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299"/>
                    <a:pt x="261667" y="654123"/>
                    <a:pt x="242841" y="654123"/>
                  </a:cubicBezTo>
                  <a:cubicBezTo>
                    <a:pt x="228722" y="654123"/>
                    <a:pt x="209896" y="635299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299"/>
                    <a:pt x="186364" y="654123"/>
                    <a:pt x="167539" y="654123"/>
                  </a:cubicBezTo>
                  <a:cubicBezTo>
                    <a:pt x="148712" y="654123"/>
                    <a:pt x="134593" y="635299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E9536278-E367-4071-8EF8-B4F4610FFBEE}"/>
                </a:ext>
              </a:extLst>
            </p:cNvPr>
            <p:cNvSpPr/>
            <p:nvPr/>
          </p:nvSpPr>
          <p:spPr bwMode="auto">
            <a:xfrm>
              <a:off x="6079436" y="2703931"/>
              <a:ext cx="410656" cy="654123"/>
            </a:xfrm>
            <a:custGeom>
              <a:avLst/>
              <a:gdLst>
                <a:gd name="connsiteX0" fmla="*/ 206920 w 410656"/>
                <a:gd name="connsiteY0" fmla="*/ 28842 h 654123"/>
                <a:gd name="connsiteX1" fmla="*/ 265757 w 410656"/>
                <a:gd name="connsiteY1" fmla="*/ 87679 h 654123"/>
                <a:gd name="connsiteX2" fmla="*/ 206920 w 410656"/>
                <a:gd name="connsiteY2" fmla="*/ 146516 h 654123"/>
                <a:gd name="connsiteX3" fmla="*/ 148083 w 410656"/>
                <a:gd name="connsiteY3" fmla="*/ 87679 h 654123"/>
                <a:gd name="connsiteX4" fmla="*/ 206920 w 410656"/>
                <a:gd name="connsiteY4" fmla="*/ 28842 h 654123"/>
                <a:gd name="connsiteX5" fmla="*/ 12227 w 410656"/>
                <a:gd name="connsiteY5" fmla="*/ 0 h 654123"/>
                <a:gd name="connsiteX6" fmla="*/ 21640 w 410656"/>
                <a:gd name="connsiteY6" fmla="*/ 0 h 654123"/>
                <a:gd name="connsiteX7" fmla="*/ 40465 w 410656"/>
                <a:gd name="connsiteY7" fmla="*/ 9412 h 654123"/>
                <a:gd name="connsiteX8" fmla="*/ 139300 w 410656"/>
                <a:gd name="connsiteY8" fmla="*/ 160001 h 654123"/>
                <a:gd name="connsiteX9" fmla="*/ 271079 w 410656"/>
                <a:gd name="connsiteY9" fmla="*/ 160001 h 654123"/>
                <a:gd name="connsiteX10" fmla="*/ 374620 w 410656"/>
                <a:gd name="connsiteY10" fmla="*/ 9412 h 654123"/>
                <a:gd name="connsiteX11" fmla="*/ 388739 w 410656"/>
                <a:gd name="connsiteY11" fmla="*/ 0 h 654123"/>
                <a:gd name="connsiteX12" fmla="*/ 402858 w 410656"/>
                <a:gd name="connsiteY12" fmla="*/ 0 h 654123"/>
                <a:gd name="connsiteX13" fmla="*/ 407565 w 410656"/>
                <a:gd name="connsiteY13" fmla="*/ 32942 h 654123"/>
                <a:gd name="connsiteX14" fmla="*/ 299318 w 410656"/>
                <a:gd name="connsiteY14" fmla="*/ 192943 h 654123"/>
                <a:gd name="connsiteX15" fmla="*/ 285198 w 410656"/>
                <a:gd name="connsiteY15" fmla="*/ 202355 h 654123"/>
                <a:gd name="connsiteX16" fmla="*/ 275786 w 410656"/>
                <a:gd name="connsiteY16" fmla="*/ 202355 h 654123"/>
                <a:gd name="connsiteX17" fmla="*/ 275786 w 410656"/>
                <a:gd name="connsiteY17" fmla="*/ 621182 h 654123"/>
                <a:gd name="connsiteX18" fmla="*/ 242841 w 410656"/>
                <a:gd name="connsiteY18" fmla="*/ 654123 h 654123"/>
                <a:gd name="connsiteX19" fmla="*/ 209896 w 410656"/>
                <a:gd name="connsiteY19" fmla="*/ 621182 h 654123"/>
                <a:gd name="connsiteX20" fmla="*/ 209896 w 410656"/>
                <a:gd name="connsiteY20" fmla="*/ 381180 h 654123"/>
                <a:gd name="connsiteX21" fmla="*/ 200483 w 410656"/>
                <a:gd name="connsiteY21" fmla="*/ 381180 h 654123"/>
                <a:gd name="connsiteX22" fmla="*/ 200483 w 410656"/>
                <a:gd name="connsiteY22" fmla="*/ 621182 h 654123"/>
                <a:gd name="connsiteX23" fmla="*/ 167539 w 410656"/>
                <a:gd name="connsiteY23" fmla="*/ 654123 h 654123"/>
                <a:gd name="connsiteX24" fmla="*/ 134593 w 410656"/>
                <a:gd name="connsiteY24" fmla="*/ 621182 h 654123"/>
                <a:gd name="connsiteX25" fmla="*/ 134593 w 410656"/>
                <a:gd name="connsiteY25" fmla="*/ 202355 h 654123"/>
                <a:gd name="connsiteX26" fmla="*/ 129887 w 410656"/>
                <a:gd name="connsiteY26" fmla="*/ 202355 h 654123"/>
                <a:gd name="connsiteX27" fmla="*/ 111061 w 410656"/>
                <a:gd name="connsiteY27" fmla="*/ 192943 h 654123"/>
                <a:gd name="connsiteX28" fmla="*/ 2814 w 410656"/>
                <a:gd name="connsiteY28" fmla="*/ 32942 h 654123"/>
                <a:gd name="connsiteX29" fmla="*/ 12227 w 410656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6" h="654123">
                  <a:moveTo>
                    <a:pt x="206920" y="28842"/>
                  </a:moveTo>
                  <a:cubicBezTo>
                    <a:pt x="239415" y="28842"/>
                    <a:pt x="265757" y="55184"/>
                    <a:pt x="265757" y="87679"/>
                  </a:cubicBezTo>
                  <a:cubicBezTo>
                    <a:pt x="265757" y="120174"/>
                    <a:pt x="239415" y="146516"/>
                    <a:pt x="206920" y="146516"/>
                  </a:cubicBezTo>
                  <a:cubicBezTo>
                    <a:pt x="174425" y="146516"/>
                    <a:pt x="148083" y="120174"/>
                    <a:pt x="148083" y="87679"/>
                  </a:cubicBezTo>
                  <a:cubicBezTo>
                    <a:pt x="148083" y="55184"/>
                    <a:pt x="174425" y="28842"/>
                    <a:pt x="206920" y="28842"/>
                  </a:cubicBezTo>
                  <a:close/>
                  <a:moveTo>
                    <a:pt x="12227" y="0"/>
                  </a:moveTo>
                  <a:cubicBezTo>
                    <a:pt x="12227" y="0"/>
                    <a:pt x="16933" y="0"/>
                    <a:pt x="21640" y="0"/>
                  </a:cubicBezTo>
                  <a:cubicBezTo>
                    <a:pt x="26346" y="0"/>
                    <a:pt x="35759" y="0"/>
                    <a:pt x="40465" y="9412"/>
                  </a:cubicBezTo>
                  <a:cubicBezTo>
                    <a:pt x="40465" y="9412"/>
                    <a:pt x="40465" y="9412"/>
                    <a:pt x="139300" y="160001"/>
                  </a:cubicBezTo>
                  <a:cubicBezTo>
                    <a:pt x="139300" y="160001"/>
                    <a:pt x="139300" y="160001"/>
                    <a:pt x="271079" y="160001"/>
                  </a:cubicBezTo>
                  <a:cubicBezTo>
                    <a:pt x="271079" y="160001"/>
                    <a:pt x="271079" y="160001"/>
                    <a:pt x="374620" y="9412"/>
                  </a:cubicBezTo>
                  <a:cubicBezTo>
                    <a:pt x="374620" y="0"/>
                    <a:pt x="384033" y="0"/>
                    <a:pt x="388739" y="0"/>
                  </a:cubicBezTo>
                  <a:cubicBezTo>
                    <a:pt x="393446" y="0"/>
                    <a:pt x="398152" y="0"/>
                    <a:pt x="402858" y="0"/>
                  </a:cubicBezTo>
                  <a:cubicBezTo>
                    <a:pt x="412271" y="9412"/>
                    <a:pt x="412271" y="23529"/>
                    <a:pt x="407565" y="32942"/>
                  </a:cubicBezTo>
                  <a:cubicBezTo>
                    <a:pt x="407565" y="32942"/>
                    <a:pt x="407565" y="32942"/>
                    <a:pt x="299318" y="192943"/>
                  </a:cubicBezTo>
                  <a:cubicBezTo>
                    <a:pt x="294611" y="197649"/>
                    <a:pt x="289905" y="202355"/>
                    <a:pt x="285198" y="202355"/>
                  </a:cubicBezTo>
                  <a:cubicBezTo>
                    <a:pt x="285198" y="202355"/>
                    <a:pt x="285198" y="202355"/>
                    <a:pt x="275786" y="202355"/>
                  </a:cubicBezTo>
                  <a:cubicBezTo>
                    <a:pt x="275786" y="202355"/>
                    <a:pt x="275786" y="202355"/>
                    <a:pt x="275786" y="621182"/>
                  </a:cubicBezTo>
                  <a:cubicBezTo>
                    <a:pt x="275786" y="635299"/>
                    <a:pt x="261667" y="654123"/>
                    <a:pt x="242841" y="654123"/>
                  </a:cubicBezTo>
                  <a:cubicBezTo>
                    <a:pt x="228722" y="654123"/>
                    <a:pt x="209896" y="635299"/>
                    <a:pt x="209896" y="621182"/>
                  </a:cubicBezTo>
                  <a:cubicBezTo>
                    <a:pt x="209896" y="621182"/>
                    <a:pt x="209896" y="621182"/>
                    <a:pt x="209896" y="381180"/>
                  </a:cubicBezTo>
                  <a:cubicBezTo>
                    <a:pt x="209896" y="381180"/>
                    <a:pt x="209896" y="381180"/>
                    <a:pt x="200483" y="381180"/>
                  </a:cubicBezTo>
                  <a:cubicBezTo>
                    <a:pt x="200483" y="381180"/>
                    <a:pt x="200483" y="381180"/>
                    <a:pt x="200483" y="621182"/>
                  </a:cubicBezTo>
                  <a:cubicBezTo>
                    <a:pt x="200483" y="635299"/>
                    <a:pt x="186364" y="654123"/>
                    <a:pt x="167539" y="654123"/>
                  </a:cubicBezTo>
                  <a:cubicBezTo>
                    <a:pt x="148713" y="654123"/>
                    <a:pt x="134593" y="635299"/>
                    <a:pt x="134593" y="621182"/>
                  </a:cubicBezTo>
                  <a:cubicBezTo>
                    <a:pt x="134593" y="621182"/>
                    <a:pt x="134593" y="621182"/>
                    <a:pt x="134593" y="202355"/>
                  </a:cubicBezTo>
                  <a:cubicBezTo>
                    <a:pt x="134593" y="202355"/>
                    <a:pt x="134593" y="202355"/>
                    <a:pt x="129887" y="202355"/>
                  </a:cubicBezTo>
                  <a:cubicBezTo>
                    <a:pt x="120474" y="202355"/>
                    <a:pt x="115768" y="197649"/>
                    <a:pt x="111061" y="192943"/>
                  </a:cubicBezTo>
                  <a:cubicBezTo>
                    <a:pt x="111061" y="192943"/>
                    <a:pt x="111061" y="192943"/>
                    <a:pt x="2814" y="32942"/>
                  </a:cubicBezTo>
                  <a:cubicBezTo>
                    <a:pt x="-1892" y="23529"/>
                    <a:pt x="-1892" y="9412"/>
                    <a:pt x="122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DA9FDBD5-DED9-4E99-944F-A2212B882B71}"/>
                </a:ext>
              </a:extLst>
            </p:cNvPr>
            <p:cNvSpPr/>
            <p:nvPr/>
          </p:nvSpPr>
          <p:spPr bwMode="auto">
            <a:xfrm>
              <a:off x="6455528" y="2703931"/>
              <a:ext cx="410657" cy="654123"/>
            </a:xfrm>
            <a:custGeom>
              <a:avLst/>
              <a:gdLst>
                <a:gd name="connsiteX0" fmla="*/ 206921 w 410657"/>
                <a:gd name="connsiteY0" fmla="*/ 28842 h 654123"/>
                <a:gd name="connsiteX1" fmla="*/ 265758 w 410657"/>
                <a:gd name="connsiteY1" fmla="*/ 87679 h 654123"/>
                <a:gd name="connsiteX2" fmla="*/ 206921 w 410657"/>
                <a:gd name="connsiteY2" fmla="*/ 146516 h 654123"/>
                <a:gd name="connsiteX3" fmla="*/ 148084 w 410657"/>
                <a:gd name="connsiteY3" fmla="*/ 87679 h 654123"/>
                <a:gd name="connsiteX4" fmla="*/ 206921 w 410657"/>
                <a:gd name="connsiteY4" fmla="*/ 28842 h 654123"/>
                <a:gd name="connsiteX5" fmla="*/ 12228 w 410657"/>
                <a:gd name="connsiteY5" fmla="*/ 0 h 654123"/>
                <a:gd name="connsiteX6" fmla="*/ 21641 w 410657"/>
                <a:gd name="connsiteY6" fmla="*/ 0 h 654123"/>
                <a:gd name="connsiteX7" fmla="*/ 40467 w 410657"/>
                <a:gd name="connsiteY7" fmla="*/ 9412 h 654123"/>
                <a:gd name="connsiteX8" fmla="*/ 139301 w 410657"/>
                <a:gd name="connsiteY8" fmla="*/ 160001 h 654123"/>
                <a:gd name="connsiteX9" fmla="*/ 271080 w 410657"/>
                <a:gd name="connsiteY9" fmla="*/ 160001 h 654123"/>
                <a:gd name="connsiteX10" fmla="*/ 374621 w 410657"/>
                <a:gd name="connsiteY10" fmla="*/ 9412 h 654123"/>
                <a:gd name="connsiteX11" fmla="*/ 388740 w 410657"/>
                <a:gd name="connsiteY11" fmla="*/ 0 h 654123"/>
                <a:gd name="connsiteX12" fmla="*/ 402859 w 410657"/>
                <a:gd name="connsiteY12" fmla="*/ 0 h 654123"/>
                <a:gd name="connsiteX13" fmla="*/ 407566 w 410657"/>
                <a:gd name="connsiteY13" fmla="*/ 32942 h 654123"/>
                <a:gd name="connsiteX14" fmla="*/ 299319 w 410657"/>
                <a:gd name="connsiteY14" fmla="*/ 192943 h 654123"/>
                <a:gd name="connsiteX15" fmla="*/ 285199 w 410657"/>
                <a:gd name="connsiteY15" fmla="*/ 202355 h 654123"/>
                <a:gd name="connsiteX16" fmla="*/ 275787 w 410657"/>
                <a:gd name="connsiteY16" fmla="*/ 202355 h 654123"/>
                <a:gd name="connsiteX17" fmla="*/ 275787 w 410657"/>
                <a:gd name="connsiteY17" fmla="*/ 621182 h 654123"/>
                <a:gd name="connsiteX18" fmla="*/ 242842 w 410657"/>
                <a:gd name="connsiteY18" fmla="*/ 654123 h 654123"/>
                <a:gd name="connsiteX19" fmla="*/ 209897 w 410657"/>
                <a:gd name="connsiteY19" fmla="*/ 621182 h 654123"/>
                <a:gd name="connsiteX20" fmla="*/ 209897 w 410657"/>
                <a:gd name="connsiteY20" fmla="*/ 381180 h 654123"/>
                <a:gd name="connsiteX21" fmla="*/ 200484 w 410657"/>
                <a:gd name="connsiteY21" fmla="*/ 381180 h 654123"/>
                <a:gd name="connsiteX22" fmla="*/ 200484 w 410657"/>
                <a:gd name="connsiteY22" fmla="*/ 621182 h 654123"/>
                <a:gd name="connsiteX23" fmla="*/ 167540 w 410657"/>
                <a:gd name="connsiteY23" fmla="*/ 654123 h 654123"/>
                <a:gd name="connsiteX24" fmla="*/ 134595 w 410657"/>
                <a:gd name="connsiteY24" fmla="*/ 621182 h 654123"/>
                <a:gd name="connsiteX25" fmla="*/ 134595 w 410657"/>
                <a:gd name="connsiteY25" fmla="*/ 202355 h 654123"/>
                <a:gd name="connsiteX26" fmla="*/ 129888 w 410657"/>
                <a:gd name="connsiteY26" fmla="*/ 202355 h 654123"/>
                <a:gd name="connsiteX27" fmla="*/ 111063 w 410657"/>
                <a:gd name="connsiteY27" fmla="*/ 192943 h 654123"/>
                <a:gd name="connsiteX28" fmla="*/ 2816 w 410657"/>
                <a:gd name="connsiteY28" fmla="*/ 32942 h 654123"/>
                <a:gd name="connsiteX29" fmla="*/ 12228 w 410657"/>
                <a:gd name="connsiteY29" fmla="*/ 0 h 6541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410657" h="654123">
                  <a:moveTo>
                    <a:pt x="206921" y="28842"/>
                  </a:moveTo>
                  <a:cubicBezTo>
                    <a:pt x="239416" y="28842"/>
                    <a:pt x="265758" y="55184"/>
                    <a:pt x="265758" y="87679"/>
                  </a:cubicBezTo>
                  <a:cubicBezTo>
                    <a:pt x="265758" y="120174"/>
                    <a:pt x="239416" y="146516"/>
                    <a:pt x="206921" y="146516"/>
                  </a:cubicBezTo>
                  <a:cubicBezTo>
                    <a:pt x="174426" y="146516"/>
                    <a:pt x="148084" y="120174"/>
                    <a:pt x="148084" y="87679"/>
                  </a:cubicBezTo>
                  <a:cubicBezTo>
                    <a:pt x="148084" y="55184"/>
                    <a:pt x="174426" y="28842"/>
                    <a:pt x="206921" y="28842"/>
                  </a:cubicBezTo>
                  <a:close/>
                  <a:moveTo>
                    <a:pt x="12228" y="0"/>
                  </a:moveTo>
                  <a:cubicBezTo>
                    <a:pt x="12228" y="0"/>
                    <a:pt x="16935" y="0"/>
                    <a:pt x="21641" y="0"/>
                  </a:cubicBezTo>
                  <a:cubicBezTo>
                    <a:pt x="26348" y="0"/>
                    <a:pt x="35760" y="0"/>
                    <a:pt x="40467" y="9412"/>
                  </a:cubicBezTo>
                  <a:cubicBezTo>
                    <a:pt x="40467" y="9412"/>
                    <a:pt x="40467" y="9412"/>
                    <a:pt x="139301" y="160001"/>
                  </a:cubicBezTo>
                  <a:cubicBezTo>
                    <a:pt x="139301" y="160001"/>
                    <a:pt x="139301" y="160001"/>
                    <a:pt x="271080" y="160001"/>
                  </a:cubicBezTo>
                  <a:cubicBezTo>
                    <a:pt x="271080" y="160001"/>
                    <a:pt x="271080" y="160001"/>
                    <a:pt x="374621" y="9412"/>
                  </a:cubicBezTo>
                  <a:cubicBezTo>
                    <a:pt x="374621" y="0"/>
                    <a:pt x="384034" y="0"/>
                    <a:pt x="388740" y="0"/>
                  </a:cubicBezTo>
                  <a:cubicBezTo>
                    <a:pt x="393447" y="0"/>
                    <a:pt x="398153" y="0"/>
                    <a:pt x="402859" y="0"/>
                  </a:cubicBezTo>
                  <a:cubicBezTo>
                    <a:pt x="412272" y="9412"/>
                    <a:pt x="412272" y="23530"/>
                    <a:pt x="407566" y="32942"/>
                  </a:cubicBezTo>
                  <a:cubicBezTo>
                    <a:pt x="407566" y="32942"/>
                    <a:pt x="407566" y="32942"/>
                    <a:pt x="299319" y="192943"/>
                  </a:cubicBezTo>
                  <a:cubicBezTo>
                    <a:pt x="294612" y="197649"/>
                    <a:pt x="289906" y="202355"/>
                    <a:pt x="285199" y="202355"/>
                  </a:cubicBezTo>
                  <a:cubicBezTo>
                    <a:pt x="285199" y="202355"/>
                    <a:pt x="285199" y="202355"/>
                    <a:pt x="275787" y="202355"/>
                  </a:cubicBezTo>
                  <a:cubicBezTo>
                    <a:pt x="275787" y="202355"/>
                    <a:pt x="275787" y="202355"/>
                    <a:pt x="275787" y="621182"/>
                  </a:cubicBezTo>
                  <a:cubicBezTo>
                    <a:pt x="275787" y="635299"/>
                    <a:pt x="261668" y="654123"/>
                    <a:pt x="242842" y="654123"/>
                  </a:cubicBezTo>
                  <a:cubicBezTo>
                    <a:pt x="228723" y="654123"/>
                    <a:pt x="209897" y="635299"/>
                    <a:pt x="209897" y="621182"/>
                  </a:cubicBezTo>
                  <a:cubicBezTo>
                    <a:pt x="209897" y="621182"/>
                    <a:pt x="209897" y="621182"/>
                    <a:pt x="209897" y="381180"/>
                  </a:cubicBezTo>
                  <a:cubicBezTo>
                    <a:pt x="209897" y="381180"/>
                    <a:pt x="209897" y="381180"/>
                    <a:pt x="200484" y="381180"/>
                  </a:cubicBezTo>
                  <a:cubicBezTo>
                    <a:pt x="200484" y="381180"/>
                    <a:pt x="200484" y="381180"/>
                    <a:pt x="200484" y="621182"/>
                  </a:cubicBezTo>
                  <a:cubicBezTo>
                    <a:pt x="200484" y="635299"/>
                    <a:pt x="186365" y="654123"/>
                    <a:pt x="167540" y="654123"/>
                  </a:cubicBezTo>
                  <a:cubicBezTo>
                    <a:pt x="148714" y="654123"/>
                    <a:pt x="134595" y="635299"/>
                    <a:pt x="134595" y="621182"/>
                  </a:cubicBezTo>
                  <a:cubicBezTo>
                    <a:pt x="134595" y="621182"/>
                    <a:pt x="134595" y="621182"/>
                    <a:pt x="134595" y="202355"/>
                  </a:cubicBezTo>
                  <a:cubicBezTo>
                    <a:pt x="134595" y="202355"/>
                    <a:pt x="134595" y="202355"/>
                    <a:pt x="129888" y="202355"/>
                  </a:cubicBezTo>
                  <a:cubicBezTo>
                    <a:pt x="120476" y="202355"/>
                    <a:pt x="115769" y="197649"/>
                    <a:pt x="111063" y="192943"/>
                  </a:cubicBezTo>
                  <a:cubicBezTo>
                    <a:pt x="111063" y="192943"/>
                    <a:pt x="111063" y="192943"/>
                    <a:pt x="2816" y="32942"/>
                  </a:cubicBezTo>
                  <a:cubicBezTo>
                    <a:pt x="-1891" y="23530"/>
                    <a:pt x="-1891" y="9412"/>
                    <a:pt x="1222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id-ID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id-ID" sz="1350">
                <a:cs typeface="+mn-ea"/>
                <a:sym typeface="+mn-lt"/>
              </a:endParaRPr>
            </a:p>
          </p:txBody>
        </p:sp>
      </p:grpSp>
      <p:sp>
        <p:nvSpPr>
          <p:cNvPr id="22" name="文本框 21">
            <a:extLst>
              <a:ext uri="{FF2B5EF4-FFF2-40B4-BE49-F238E27FC236}">
                <a16:creationId xmlns:a16="http://schemas.microsoft.com/office/drawing/2014/main" id="{30976F70-BD16-49FD-9CEA-AB9ECB520F42}"/>
              </a:ext>
            </a:extLst>
          </p:cNvPr>
          <p:cNvSpPr txBox="1"/>
          <p:nvPr/>
        </p:nvSpPr>
        <p:spPr>
          <a:xfrm>
            <a:off x="1581149" y="1873774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目的</a:t>
            </a:r>
            <a:endParaRPr lang="id-ID" sz="1600" b="1" dirty="0"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57EC2588-4F47-44EB-A0FD-9CF7AF3A2AD2}"/>
              </a:ext>
            </a:extLst>
          </p:cNvPr>
          <p:cNvSpPr/>
          <p:nvPr/>
        </p:nvSpPr>
        <p:spPr bwMode="auto">
          <a:xfrm>
            <a:off x="669925" y="1834299"/>
            <a:ext cx="454025" cy="453339"/>
          </a:xfrm>
          <a:custGeom>
            <a:avLst/>
            <a:gdLst>
              <a:gd name="T0" fmla="*/ 3413 w 6827"/>
              <a:gd name="T1" fmla="*/ 0 h 6827"/>
              <a:gd name="T2" fmla="*/ 0 w 6827"/>
              <a:gd name="T3" fmla="*/ 3413 h 6827"/>
              <a:gd name="T4" fmla="*/ 3413 w 6827"/>
              <a:gd name="T5" fmla="*/ 6827 h 6827"/>
              <a:gd name="T6" fmla="*/ 6827 w 6827"/>
              <a:gd name="T7" fmla="*/ 3413 h 6827"/>
              <a:gd name="T8" fmla="*/ 2371 w 6827"/>
              <a:gd name="T9" fmla="*/ 605 h 6827"/>
              <a:gd name="T10" fmla="*/ 1626 w 6827"/>
              <a:gd name="T11" fmla="*/ 1011 h 6827"/>
              <a:gd name="T12" fmla="*/ 1303 w 6827"/>
              <a:gd name="T13" fmla="*/ 1290 h 6827"/>
              <a:gd name="T14" fmla="*/ 1605 w 6827"/>
              <a:gd name="T15" fmla="*/ 3204 h 6827"/>
              <a:gd name="T16" fmla="*/ 1303 w 6827"/>
              <a:gd name="T17" fmla="*/ 1290 h 6827"/>
              <a:gd name="T18" fmla="*/ 1605 w 6827"/>
              <a:gd name="T19" fmla="*/ 3622 h 6827"/>
              <a:gd name="T20" fmla="*/ 1303 w 6827"/>
              <a:gd name="T21" fmla="*/ 5537 h 6827"/>
              <a:gd name="T22" fmla="*/ 1626 w 6827"/>
              <a:gd name="T23" fmla="*/ 5816 h 6827"/>
              <a:gd name="T24" fmla="*/ 2371 w 6827"/>
              <a:gd name="T25" fmla="*/ 6222 h 6827"/>
              <a:gd name="T26" fmla="*/ 3204 w 6827"/>
              <a:gd name="T27" fmla="*/ 6371 h 6827"/>
              <a:gd name="T28" fmla="*/ 2385 w 6827"/>
              <a:gd name="T29" fmla="*/ 5407 h 6827"/>
              <a:gd name="T30" fmla="*/ 3204 w 6827"/>
              <a:gd name="T31" fmla="*/ 6371 h 6827"/>
              <a:gd name="T32" fmla="*/ 2242 w 6827"/>
              <a:gd name="T33" fmla="*/ 5014 h 6827"/>
              <a:gd name="T34" fmla="*/ 3204 w 6827"/>
              <a:gd name="T35" fmla="*/ 3622 h 6827"/>
              <a:gd name="T36" fmla="*/ 3204 w 6827"/>
              <a:gd name="T37" fmla="*/ 3204 h 6827"/>
              <a:gd name="T38" fmla="*/ 2242 w 6827"/>
              <a:gd name="T39" fmla="*/ 1813 h 6827"/>
              <a:gd name="T40" fmla="*/ 3204 w 6827"/>
              <a:gd name="T41" fmla="*/ 3204 h 6827"/>
              <a:gd name="T42" fmla="*/ 2385 w 6827"/>
              <a:gd name="T43" fmla="*/ 1420 h 6827"/>
              <a:gd name="T44" fmla="*/ 3204 w 6827"/>
              <a:gd name="T45" fmla="*/ 455 h 6827"/>
              <a:gd name="T46" fmla="*/ 6401 w 6827"/>
              <a:gd name="T47" fmla="*/ 3204 h 6827"/>
              <a:gd name="T48" fmla="*/ 4970 w 6827"/>
              <a:gd name="T49" fmla="*/ 1645 h 6827"/>
              <a:gd name="T50" fmla="*/ 6401 w 6827"/>
              <a:gd name="T51" fmla="*/ 3204 h 6827"/>
              <a:gd name="T52" fmla="*/ 4824 w 6827"/>
              <a:gd name="T53" fmla="*/ 1249 h 6827"/>
              <a:gd name="T54" fmla="*/ 5200 w 6827"/>
              <a:gd name="T55" fmla="*/ 1011 h 6827"/>
              <a:gd name="T56" fmla="*/ 4359 w 6827"/>
              <a:gd name="T57" fmla="*/ 1241 h 6827"/>
              <a:gd name="T58" fmla="*/ 3622 w 6827"/>
              <a:gd name="T59" fmla="*/ 1595 h 6827"/>
              <a:gd name="T60" fmla="*/ 3622 w 6827"/>
              <a:gd name="T61" fmla="*/ 2014 h 6827"/>
              <a:gd name="T62" fmla="*/ 4803 w 6827"/>
              <a:gd name="T63" fmla="*/ 3204 h 6827"/>
              <a:gd name="T64" fmla="*/ 3622 w 6827"/>
              <a:gd name="T65" fmla="*/ 2014 h 6827"/>
              <a:gd name="T66" fmla="*/ 4803 w 6827"/>
              <a:gd name="T67" fmla="*/ 3622 h 6827"/>
              <a:gd name="T68" fmla="*/ 3622 w 6827"/>
              <a:gd name="T69" fmla="*/ 4813 h 6827"/>
              <a:gd name="T70" fmla="*/ 4359 w 6827"/>
              <a:gd name="T71" fmla="*/ 5586 h 6827"/>
              <a:gd name="T72" fmla="*/ 3622 w 6827"/>
              <a:gd name="T73" fmla="*/ 5232 h 6827"/>
              <a:gd name="T74" fmla="*/ 4359 w 6827"/>
              <a:gd name="T75" fmla="*/ 5586 h 6827"/>
              <a:gd name="T76" fmla="*/ 4824 w 6827"/>
              <a:gd name="T77" fmla="*/ 5577 h 6827"/>
              <a:gd name="T78" fmla="*/ 4456 w 6827"/>
              <a:gd name="T79" fmla="*/ 6222 h 6827"/>
              <a:gd name="T80" fmla="*/ 4970 w 6827"/>
              <a:gd name="T81" fmla="*/ 5182 h 6827"/>
              <a:gd name="T82" fmla="*/ 6401 w 6827"/>
              <a:gd name="T83" fmla="*/ 3622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827" h="6827">
                <a:moveTo>
                  <a:pt x="5827" y="1000"/>
                </a:moveTo>
                <a:cubicBezTo>
                  <a:pt x="5182" y="355"/>
                  <a:pt x="4325" y="0"/>
                  <a:pt x="3413" y="0"/>
                </a:cubicBezTo>
                <a:cubicBezTo>
                  <a:pt x="2502" y="0"/>
                  <a:pt x="1644" y="355"/>
                  <a:pt x="1000" y="1000"/>
                </a:cubicBezTo>
                <a:cubicBezTo>
                  <a:pt x="355" y="1644"/>
                  <a:pt x="0" y="2502"/>
                  <a:pt x="0" y="3413"/>
                </a:cubicBezTo>
                <a:cubicBezTo>
                  <a:pt x="0" y="4325"/>
                  <a:pt x="355" y="5182"/>
                  <a:pt x="1000" y="5827"/>
                </a:cubicBezTo>
                <a:cubicBezTo>
                  <a:pt x="1644" y="6472"/>
                  <a:pt x="2502" y="6827"/>
                  <a:pt x="3413" y="6827"/>
                </a:cubicBezTo>
                <a:cubicBezTo>
                  <a:pt x="4325" y="6827"/>
                  <a:pt x="5182" y="6472"/>
                  <a:pt x="5827" y="5827"/>
                </a:cubicBezTo>
                <a:cubicBezTo>
                  <a:pt x="6472" y="5182"/>
                  <a:pt x="6827" y="4325"/>
                  <a:pt x="6827" y="3413"/>
                </a:cubicBezTo>
                <a:cubicBezTo>
                  <a:pt x="6827" y="2502"/>
                  <a:pt x="6472" y="1644"/>
                  <a:pt x="5827" y="1000"/>
                </a:cubicBezTo>
                <a:close/>
                <a:moveTo>
                  <a:pt x="2371" y="605"/>
                </a:moveTo>
                <a:cubicBezTo>
                  <a:pt x="2232" y="786"/>
                  <a:pt x="2108" y="1003"/>
                  <a:pt x="2003" y="1249"/>
                </a:cubicBezTo>
                <a:cubicBezTo>
                  <a:pt x="1872" y="1180"/>
                  <a:pt x="1746" y="1100"/>
                  <a:pt x="1626" y="1011"/>
                </a:cubicBezTo>
                <a:cubicBezTo>
                  <a:pt x="1852" y="842"/>
                  <a:pt x="2103" y="705"/>
                  <a:pt x="2371" y="605"/>
                </a:cubicBezTo>
                <a:close/>
                <a:moveTo>
                  <a:pt x="1303" y="1290"/>
                </a:moveTo>
                <a:cubicBezTo>
                  <a:pt x="1477" y="1426"/>
                  <a:pt x="1662" y="1545"/>
                  <a:pt x="1856" y="1645"/>
                </a:cubicBezTo>
                <a:cubicBezTo>
                  <a:pt x="1712" y="2102"/>
                  <a:pt x="1623" y="2632"/>
                  <a:pt x="1605" y="3204"/>
                </a:cubicBezTo>
                <a:lnTo>
                  <a:pt x="425" y="3204"/>
                </a:lnTo>
                <a:cubicBezTo>
                  <a:pt x="477" y="2458"/>
                  <a:pt x="803" y="1786"/>
                  <a:pt x="1303" y="1290"/>
                </a:cubicBezTo>
                <a:close/>
                <a:moveTo>
                  <a:pt x="425" y="3622"/>
                </a:moveTo>
                <a:lnTo>
                  <a:pt x="1605" y="3622"/>
                </a:lnTo>
                <a:cubicBezTo>
                  <a:pt x="1623" y="4194"/>
                  <a:pt x="1712" y="4724"/>
                  <a:pt x="1856" y="5182"/>
                </a:cubicBezTo>
                <a:cubicBezTo>
                  <a:pt x="1662" y="5282"/>
                  <a:pt x="1477" y="5400"/>
                  <a:pt x="1303" y="5537"/>
                </a:cubicBezTo>
                <a:cubicBezTo>
                  <a:pt x="803" y="5040"/>
                  <a:pt x="477" y="4368"/>
                  <a:pt x="425" y="3622"/>
                </a:cubicBezTo>
                <a:close/>
                <a:moveTo>
                  <a:pt x="1626" y="5816"/>
                </a:moveTo>
                <a:cubicBezTo>
                  <a:pt x="1746" y="5727"/>
                  <a:pt x="1872" y="5647"/>
                  <a:pt x="2003" y="5577"/>
                </a:cubicBezTo>
                <a:cubicBezTo>
                  <a:pt x="2108" y="5824"/>
                  <a:pt x="2232" y="6040"/>
                  <a:pt x="2371" y="6222"/>
                </a:cubicBezTo>
                <a:cubicBezTo>
                  <a:pt x="2103" y="6122"/>
                  <a:pt x="1852" y="5984"/>
                  <a:pt x="1626" y="5816"/>
                </a:cubicBezTo>
                <a:close/>
                <a:moveTo>
                  <a:pt x="3204" y="6371"/>
                </a:moveTo>
                <a:cubicBezTo>
                  <a:pt x="2936" y="6276"/>
                  <a:pt x="2675" y="6001"/>
                  <a:pt x="2467" y="5586"/>
                </a:cubicBezTo>
                <a:cubicBezTo>
                  <a:pt x="2438" y="5528"/>
                  <a:pt x="2411" y="5468"/>
                  <a:pt x="2385" y="5407"/>
                </a:cubicBezTo>
                <a:cubicBezTo>
                  <a:pt x="2647" y="5311"/>
                  <a:pt x="2923" y="5251"/>
                  <a:pt x="3204" y="5232"/>
                </a:cubicBezTo>
                <a:lnTo>
                  <a:pt x="3204" y="6371"/>
                </a:lnTo>
                <a:close/>
                <a:moveTo>
                  <a:pt x="3204" y="4813"/>
                </a:moveTo>
                <a:cubicBezTo>
                  <a:pt x="2874" y="4833"/>
                  <a:pt x="2550" y="4901"/>
                  <a:pt x="2242" y="5014"/>
                </a:cubicBezTo>
                <a:cubicBezTo>
                  <a:pt x="2115" y="4596"/>
                  <a:pt x="2040" y="4121"/>
                  <a:pt x="2024" y="3622"/>
                </a:cubicBezTo>
                <a:lnTo>
                  <a:pt x="3204" y="3622"/>
                </a:lnTo>
                <a:lnTo>
                  <a:pt x="3204" y="4813"/>
                </a:lnTo>
                <a:close/>
                <a:moveTo>
                  <a:pt x="3204" y="3204"/>
                </a:moveTo>
                <a:lnTo>
                  <a:pt x="2024" y="3204"/>
                </a:lnTo>
                <a:cubicBezTo>
                  <a:pt x="2040" y="2705"/>
                  <a:pt x="2115" y="2231"/>
                  <a:pt x="2242" y="1813"/>
                </a:cubicBezTo>
                <a:cubicBezTo>
                  <a:pt x="2550" y="1925"/>
                  <a:pt x="2874" y="1993"/>
                  <a:pt x="3204" y="2014"/>
                </a:cubicBezTo>
                <a:lnTo>
                  <a:pt x="3204" y="3204"/>
                </a:lnTo>
                <a:close/>
                <a:moveTo>
                  <a:pt x="3204" y="1595"/>
                </a:moveTo>
                <a:cubicBezTo>
                  <a:pt x="2923" y="1575"/>
                  <a:pt x="2647" y="1516"/>
                  <a:pt x="2385" y="1420"/>
                </a:cubicBezTo>
                <a:cubicBezTo>
                  <a:pt x="2411" y="1359"/>
                  <a:pt x="2438" y="1299"/>
                  <a:pt x="2467" y="1241"/>
                </a:cubicBezTo>
                <a:cubicBezTo>
                  <a:pt x="2675" y="825"/>
                  <a:pt x="2936" y="551"/>
                  <a:pt x="3204" y="455"/>
                </a:cubicBezTo>
                <a:lnTo>
                  <a:pt x="3204" y="1595"/>
                </a:lnTo>
                <a:close/>
                <a:moveTo>
                  <a:pt x="6401" y="3204"/>
                </a:moveTo>
                <a:lnTo>
                  <a:pt x="5221" y="3204"/>
                </a:lnTo>
                <a:cubicBezTo>
                  <a:pt x="5204" y="2632"/>
                  <a:pt x="5115" y="2102"/>
                  <a:pt x="4970" y="1645"/>
                </a:cubicBezTo>
                <a:cubicBezTo>
                  <a:pt x="5165" y="1545"/>
                  <a:pt x="5350" y="1426"/>
                  <a:pt x="5524" y="1290"/>
                </a:cubicBezTo>
                <a:cubicBezTo>
                  <a:pt x="6024" y="1786"/>
                  <a:pt x="6350" y="2458"/>
                  <a:pt x="6401" y="3204"/>
                </a:cubicBezTo>
                <a:close/>
                <a:moveTo>
                  <a:pt x="5200" y="1011"/>
                </a:moveTo>
                <a:cubicBezTo>
                  <a:pt x="5080" y="1100"/>
                  <a:pt x="4955" y="1180"/>
                  <a:pt x="4824" y="1249"/>
                </a:cubicBezTo>
                <a:cubicBezTo>
                  <a:pt x="4718" y="1003"/>
                  <a:pt x="4594" y="786"/>
                  <a:pt x="4456" y="605"/>
                </a:cubicBezTo>
                <a:cubicBezTo>
                  <a:pt x="4724" y="705"/>
                  <a:pt x="4974" y="842"/>
                  <a:pt x="5200" y="1011"/>
                </a:cubicBezTo>
                <a:close/>
                <a:moveTo>
                  <a:pt x="3622" y="455"/>
                </a:moveTo>
                <a:cubicBezTo>
                  <a:pt x="3891" y="551"/>
                  <a:pt x="4151" y="825"/>
                  <a:pt x="4359" y="1241"/>
                </a:cubicBezTo>
                <a:cubicBezTo>
                  <a:pt x="4388" y="1299"/>
                  <a:pt x="4416" y="1359"/>
                  <a:pt x="4442" y="1420"/>
                </a:cubicBezTo>
                <a:cubicBezTo>
                  <a:pt x="4180" y="1516"/>
                  <a:pt x="3904" y="1575"/>
                  <a:pt x="3622" y="1595"/>
                </a:cubicBezTo>
                <a:lnTo>
                  <a:pt x="3622" y="455"/>
                </a:lnTo>
                <a:close/>
                <a:moveTo>
                  <a:pt x="3622" y="2014"/>
                </a:moveTo>
                <a:cubicBezTo>
                  <a:pt x="3953" y="1993"/>
                  <a:pt x="4277" y="1925"/>
                  <a:pt x="4584" y="1813"/>
                </a:cubicBezTo>
                <a:cubicBezTo>
                  <a:pt x="4711" y="2231"/>
                  <a:pt x="4787" y="2705"/>
                  <a:pt x="4803" y="3204"/>
                </a:cubicBezTo>
                <a:lnTo>
                  <a:pt x="3622" y="3204"/>
                </a:lnTo>
                <a:lnTo>
                  <a:pt x="3622" y="2014"/>
                </a:lnTo>
                <a:close/>
                <a:moveTo>
                  <a:pt x="3622" y="3622"/>
                </a:moveTo>
                <a:lnTo>
                  <a:pt x="4803" y="3622"/>
                </a:lnTo>
                <a:cubicBezTo>
                  <a:pt x="4787" y="4121"/>
                  <a:pt x="4711" y="4596"/>
                  <a:pt x="4584" y="5014"/>
                </a:cubicBezTo>
                <a:cubicBezTo>
                  <a:pt x="4277" y="4901"/>
                  <a:pt x="3953" y="4833"/>
                  <a:pt x="3622" y="4813"/>
                </a:cubicBezTo>
                <a:lnTo>
                  <a:pt x="3622" y="3622"/>
                </a:lnTo>
                <a:close/>
                <a:moveTo>
                  <a:pt x="4359" y="5586"/>
                </a:moveTo>
                <a:cubicBezTo>
                  <a:pt x="4151" y="6001"/>
                  <a:pt x="3891" y="6276"/>
                  <a:pt x="3622" y="6371"/>
                </a:cubicBezTo>
                <a:lnTo>
                  <a:pt x="3622" y="5232"/>
                </a:lnTo>
                <a:cubicBezTo>
                  <a:pt x="3904" y="5251"/>
                  <a:pt x="4180" y="5311"/>
                  <a:pt x="4442" y="5407"/>
                </a:cubicBezTo>
                <a:cubicBezTo>
                  <a:pt x="4416" y="5468"/>
                  <a:pt x="4388" y="5528"/>
                  <a:pt x="4359" y="5586"/>
                </a:cubicBezTo>
                <a:close/>
                <a:moveTo>
                  <a:pt x="4456" y="6222"/>
                </a:moveTo>
                <a:cubicBezTo>
                  <a:pt x="4594" y="6040"/>
                  <a:pt x="4718" y="5824"/>
                  <a:pt x="4824" y="5577"/>
                </a:cubicBezTo>
                <a:cubicBezTo>
                  <a:pt x="4955" y="5647"/>
                  <a:pt x="5080" y="5727"/>
                  <a:pt x="5200" y="5816"/>
                </a:cubicBezTo>
                <a:cubicBezTo>
                  <a:pt x="4974" y="5984"/>
                  <a:pt x="4724" y="6122"/>
                  <a:pt x="4456" y="6222"/>
                </a:cubicBezTo>
                <a:close/>
                <a:moveTo>
                  <a:pt x="5524" y="5537"/>
                </a:moveTo>
                <a:cubicBezTo>
                  <a:pt x="5350" y="5401"/>
                  <a:pt x="5165" y="5282"/>
                  <a:pt x="4970" y="5182"/>
                </a:cubicBezTo>
                <a:cubicBezTo>
                  <a:pt x="5115" y="4724"/>
                  <a:pt x="5204" y="4194"/>
                  <a:pt x="5221" y="3622"/>
                </a:cubicBezTo>
                <a:lnTo>
                  <a:pt x="6401" y="3622"/>
                </a:lnTo>
                <a:cubicBezTo>
                  <a:pt x="6350" y="4368"/>
                  <a:pt x="6024" y="5040"/>
                  <a:pt x="5524" y="55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94600F4-B3B7-48FA-8212-BBD90A4CC333}"/>
              </a:ext>
            </a:extLst>
          </p:cNvPr>
          <p:cNvCxnSpPr/>
          <p:nvPr/>
        </p:nvCxnSpPr>
        <p:spPr>
          <a:xfrm>
            <a:off x="1400175" y="1678770"/>
            <a:ext cx="0" cy="685800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D93B3127-C16B-41DF-BA83-ABFDB8ECF55A}"/>
              </a:ext>
            </a:extLst>
          </p:cNvPr>
          <p:cNvSpPr txBox="1"/>
          <p:nvPr/>
        </p:nvSpPr>
        <p:spPr>
          <a:xfrm>
            <a:off x="1581149" y="3585058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目的</a:t>
            </a:r>
            <a:endParaRPr lang="id-ID" altLang="zh-CN" sz="1600" b="1" dirty="0">
              <a:cs typeface="+mn-ea"/>
              <a:sym typeface="+mn-lt"/>
            </a:endParaRPr>
          </a:p>
        </p:txBody>
      </p: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4F78C3EC-D04C-4BAF-A1FA-0F521B0E7149}"/>
              </a:ext>
            </a:extLst>
          </p:cNvPr>
          <p:cNvGrpSpPr/>
          <p:nvPr/>
        </p:nvGrpSpPr>
        <p:grpSpPr>
          <a:xfrm>
            <a:off x="669925" y="3433116"/>
            <a:ext cx="730250" cy="685800"/>
            <a:chOff x="669925" y="3237326"/>
            <a:chExt cx="730250" cy="685800"/>
          </a:xfrm>
        </p:grpSpPr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B3AC9F7-B2D8-4321-8DA0-CAD62EB1C468}"/>
                </a:ext>
              </a:extLst>
            </p:cNvPr>
            <p:cNvSpPr/>
            <p:nvPr/>
          </p:nvSpPr>
          <p:spPr bwMode="auto">
            <a:xfrm>
              <a:off x="669925" y="3396794"/>
              <a:ext cx="454025" cy="453339"/>
            </a:xfrm>
            <a:custGeom>
              <a:avLst/>
              <a:gdLst>
                <a:gd name="T0" fmla="*/ 3413 w 6827"/>
                <a:gd name="T1" fmla="*/ 0 h 6827"/>
                <a:gd name="T2" fmla="*/ 0 w 6827"/>
                <a:gd name="T3" fmla="*/ 3413 h 6827"/>
                <a:gd name="T4" fmla="*/ 3413 w 6827"/>
                <a:gd name="T5" fmla="*/ 6827 h 6827"/>
                <a:gd name="T6" fmla="*/ 6827 w 6827"/>
                <a:gd name="T7" fmla="*/ 3413 h 6827"/>
                <a:gd name="T8" fmla="*/ 2371 w 6827"/>
                <a:gd name="T9" fmla="*/ 605 h 6827"/>
                <a:gd name="T10" fmla="*/ 1626 w 6827"/>
                <a:gd name="T11" fmla="*/ 1011 h 6827"/>
                <a:gd name="T12" fmla="*/ 1303 w 6827"/>
                <a:gd name="T13" fmla="*/ 1290 h 6827"/>
                <a:gd name="T14" fmla="*/ 1605 w 6827"/>
                <a:gd name="T15" fmla="*/ 3204 h 6827"/>
                <a:gd name="T16" fmla="*/ 1303 w 6827"/>
                <a:gd name="T17" fmla="*/ 1290 h 6827"/>
                <a:gd name="T18" fmla="*/ 1605 w 6827"/>
                <a:gd name="T19" fmla="*/ 3622 h 6827"/>
                <a:gd name="T20" fmla="*/ 1303 w 6827"/>
                <a:gd name="T21" fmla="*/ 5537 h 6827"/>
                <a:gd name="T22" fmla="*/ 1626 w 6827"/>
                <a:gd name="T23" fmla="*/ 5816 h 6827"/>
                <a:gd name="T24" fmla="*/ 2371 w 6827"/>
                <a:gd name="T25" fmla="*/ 6222 h 6827"/>
                <a:gd name="T26" fmla="*/ 3204 w 6827"/>
                <a:gd name="T27" fmla="*/ 6371 h 6827"/>
                <a:gd name="T28" fmla="*/ 2385 w 6827"/>
                <a:gd name="T29" fmla="*/ 5407 h 6827"/>
                <a:gd name="T30" fmla="*/ 3204 w 6827"/>
                <a:gd name="T31" fmla="*/ 6371 h 6827"/>
                <a:gd name="T32" fmla="*/ 2242 w 6827"/>
                <a:gd name="T33" fmla="*/ 5014 h 6827"/>
                <a:gd name="T34" fmla="*/ 3204 w 6827"/>
                <a:gd name="T35" fmla="*/ 3622 h 6827"/>
                <a:gd name="T36" fmla="*/ 3204 w 6827"/>
                <a:gd name="T37" fmla="*/ 3204 h 6827"/>
                <a:gd name="T38" fmla="*/ 2242 w 6827"/>
                <a:gd name="T39" fmla="*/ 1813 h 6827"/>
                <a:gd name="T40" fmla="*/ 3204 w 6827"/>
                <a:gd name="T41" fmla="*/ 3204 h 6827"/>
                <a:gd name="T42" fmla="*/ 2385 w 6827"/>
                <a:gd name="T43" fmla="*/ 1420 h 6827"/>
                <a:gd name="T44" fmla="*/ 3204 w 6827"/>
                <a:gd name="T45" fmla="*/ 455 h 6827"/>
                <a:gd name="T46" fmla="*/ 6401 w 6827"/>
                <a:gd name="T47" fmla="*/ 3204 h 6827"/>
                <a:gd name="T48" fmla="*/ 4970 w 6827"/>
                <a:gd name="T49" fmla="*/ 1645 h 6827"/>
                <a:gd name="T50" fmla="*/ 6401 w 6827"/>
                <a:gd name="T51" fmla="*/ 3204 h 6827"/>
                <a:gd name="T52" fmla="*/ 4824 w 6827"/>
                <a:gd name="T53" fmla="*/ 1249 h 6827"/>
                <a:gd name="T54" fmla="*/ 5200 w 6827"/>
                <a:gd name="T55" fmla="*/ 1011 h 6827"/>
                <a:gd name="T56" fmla="*/ 4359 w 6827"/>
                <a:gd name="T57" fmla="*/ 1241 h 6827"/>
                <a:gd name="T58" fmla="*/ 3622 w 6827"/>
                <a:gd name="T59" fmla="*/ 1595 h 6827"/>
                <a:gd name="T60" fmla="*/ 3622 w 6827"/>
                <a:gd name="T61" fmla="*/ 2014 h 6827"/>
                <a:gd name="T62" fmla="*/ 4803 w 6827"/>
                <a:gd name="T63" fmla="*/ 3204 h 6827"/>
                <a:gd name="T64" fmla="*/ 3622 w 6827"/>
                <a:gd name="T65" fmla="*/ 2014 h 6827"/>
                <a:gd name="T66" fmla="*/ 4803 w 6827"/>
                <a:gd name="T67" fmla="*/ 3622 h 6827"/>
                <a:gd name="T68" fmla="*/ 3622 w 6827"/>
                <a:gd name="T69" fmla="*/ 4813 h 6827"/>
                <a:gd name="T70" fmla="*/ 4359 w 6827"/>
                <a:gd name="T71" fmla="*/ 5586 h 6827"/>
                <a:gd name="T72" fmla="*/ 3622 w 6827"/>
                <a:gd name="T73" fmla="*/ 5232 h 6827"/>
                <a:gd name="T74" fmla="*/ 4359 w 6827"/>
                <a:gd name="T75" fmla="*/ 5586 h 6827"/>
                <a:gd name="T76" fmla="*/ 4824 w 6827"/>
                <a:gd name="T77" fmla="*/ 5577 h 6827"/>
                <a:gd name="T78" fmla="*/ 4456 w 6827"/>
                <a:gd name="T79" fmla="*/ 6222 h 6827"/>
                <a:gd name="T80" fmla="*/ 4970 w 6827"/>
                <a:gd name="T81" fmla="*/ 5182 h 6827"/>
                <a:gd name="T82" fmla="*/ 6401 w 6827"/>
                <a:gd name="T83" fmla="*/ 3622 h 68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27" h="6827">
                  <a:moveTo>
                    <a:pt x="5827" y="1000"/>
                  </a:moveTo>
                  <a:cubicBezTo>
                    <a:pt x="5182" y="355"/>
                    <a:pt x="4325" y="0"/>
                    <a:pt x="3413" y="0"/>
                  </a:cubicBezTo>
                  <a:cubicBezTo>
                    <a:pt x="2502" y="0"/>
                    <a:pt x="1644" y="355"/>
                    <a:pt x="1000" y="1000"/>
                  </a:cubicBezTo>
                  <a:cubicBezTo>
                    <a:pt x="355" y="1644"/>
                    <a:pt x="0" y="2502"/>
                    <a:pt x="0" y="3413"/>
                  </a:cubicBezTo>
                  <a:cubicBezTo>
                    <a:pt x="0" y="4325"/>
                    <a:pt x="355" y="5182"/>
                    <a:pt x="1000" y="5827"/>
                  </a:cubicBezTo>
                  <a:cubicBezTo>
                    <a:pt x="1644" y="6472"/>
                    <a:pt x="2502" y="6827"/>
                    <a:pt x="3413" y="6827"/>
                  </a:cubicBezTo>
                  <a:cubicBezTo>
                    <a:pt x="4325" y="6827"/>
                    <a:pt x="5182" y="6472"/>
                    <a:pt x="5827" y="5827"/>
                  </a:cubicBezTo>
                  <a:cubicBezTo>
                    <a:pt x="6472" y="5182"/>
                    <a:pt x="6827" y="4325"/>
                    <a:pt x="6827" y="3413"/>
                  </a:cubicBezTo>
                  <a:cubicBezTo>
                    <a:pt x="6827" y="2502"/>
                    <a:pt x="6472" y="1644"/>
                    <a:pt x="5827" y="1000"/>
                  </a:cubicBezTo>
                  <a:close/>
                  <a:moveTo>
                    <a:pt x="2371" y="605"/>
                  </a:moveTo>
                  <a:cubicBezTo>
                    <a:pt x="2232" y="786"/>
                    <a:pt x="2108" y="1003"/>
                    <a:pt x="2003" y="1249"/>
                  </a:cubicBezTo>
                  <a:cubicBezTo>
                    <a:pt x="1872" y="1180"/>
                    <a:pt x="1746" y="1100"/>
                    <a:pt x="1626" y="1011"/>
                  </a:cubicBezTo>
                  <a:cubicBezTo>
                    <a:pt x="1852" y="842"/>
                    <a:pt x="2103" y="705"/>
                    <a:pt x="2371" y="605"/>
                  </a:cubicBezTo>
                  <a:close/>
                  <a:moveTo>
                    <a:pt x="1303" y="1290"/>
                  </a:moveTo>
                  <a:cubicBezTo>
                    <a:pt x="1477" y="1426"/>
                    <a:pt x="1662" y="1545"/>
                    <a:pt x="1856" y="1645"/>
                  </a:cubicBezTo>
                  <a:cubicBezTo>
                    <a:pt x="1712" y="2102"/>
                    <a:pt x="1623" y="2632"/>
                    <a:pt x="1605" y="3204"/>
                  </a:cubicBezTo>
                  <a:lnTo>
                    <a:pt x="425" y="3204"/>
                  </a:lnTo>
                  <a:cubicBezTo>
                    <a:pt x="477" y="2458"/>
                    <a:pt x="803" y="1786"/>
                    <a:pt x="1303" y="1290"/>
                  </a:cubicBezTo>
                  <a:close/>
                  <a:moveTo>
                    <a:pt x="425" y="3622"/>
                  </a:moveTo>
                  <a:lnTo>
                    <a:pt x="1605" y="3622"/>
                  </a:lnTo>
                  <a:cubicBezTo>
                    <a:pt x="1623" y="4194"/>
                    <a:pt x="1712" y="4724"/>
                    <a:pt x="1856" y="5182"/>
                  </a:cubicBezTo>
                  <a:cubicBezTo>
                    <a:pt x="1662" y="5282"/>
                    <a:pt x="1477" y="5400"/>
                    <a:pt x="1303" y="5537"/>
                  </a:cubicBezTo>
                  <a:cubicBezTo>
                    <a:pt x="803" y="5040"/>
                    <a:pt x="477" y="4368"/>
                    <a:pt x="425" y="3622"/>
                  </a:cubicBezTo>
                  <a:close/>
                  <a:moveTo>
                    <a:pt x="1626" y="5816"/>
                  </a:moveTo>
                  <a:cubicBezTo>
                    <a:pt x="1746" y="5727"/>
                    <a:pt x="1872" y="5647"/>
                    <a:pt x="2003" y="5577"/>
                  </a:cubicBezTo>
                  <a:cubicBezTo>
                    <a:pt x="2108" y="5824"/>
                    <a:pt x="2232" y="6040"/>
                    <a:pt x="2371" y="6222"/>
                  </a:cubicBezTo>
                  <a:cubicBezTo>
                    <a:pt x="2103" y="6122"/>
                    <a:pt x="1852" y="5984"/>
                    <a:pt x="1626" y="5816"/>
                  </a:cubicBezTo>
                  <a:close/>
                  <a:moveTo>
                    <a:pt x="3204" y="6371"/>
                  </a:moveTo>
                  <a:cubicBezTo>
                    <a:pt x="2936" y="6276"/>
                    <a:pt x="2675" y="6001"/>
                    <a:pt x="2467" y="5586"/>
                  </a:cubicBezTo>
                  <a:cubicBezTo>
                    <a:pt x="2438" y="5528"/>
                    <a:pt x="2411" y="5468"/>
                    <a:pt x="2385" y="5407"/>
                  </a:cubicBezTo>
                  <a:cubicBezTo>
                    <a:pt x="2647" y="5311"/>
                    <a:pt x="2923" y="5251"/>
                    <a:pt x="3204" y="5232"/>
                  </a:cubicBezTo>
                  <a:lnTo>
                    <a:pt x="3204" y="6371"/>
                  </a:lnTo>
                  <a:close/>
                  <a:moveTo>
                    <a:pt x="3204" y="4813"/>
                  </a:moveTo>
                  <a:cubicBezTo>
                    <a:pt x="2874" y="4833"/>
                    <a:pt x="2550" y="4901"/>
                    <a:pt x="2242" y="5014"/>
                  </a:cubicBezTo>
                  <a:cubicBezTo>
                    <a:pt x="2115" y="4596"/>
                    <a:pt x="2040" y="4121"/>
                    <a:pt x="2024" y="3622"/>
                  </a:cubicBezTo>
                  <a:lnTo>
                    <a:pt x="3204" y="3622"/>
                  </a:lnTo>
                  <a:lnTo>
                    <a:pt x="3204" y="4813"/>
                  </a:lnTo>
                  <a:close/>
                  <a:moveTo>
                    <a:pt x="3204" y="3204"/>
                  </a:moveTo>
                  <a:lnTo>
                    <a:pt x="2024" y="3204"/>
                  </a:lnTo>
                  <a:cubicBezTo>
                    <a:pt x="2040" y="2705"/>
                    <a:pt x="2115" y="2231"/>
                    <a:pt x="2242" y="1813"/>
                  </a:cubicBezTo>
                  <a:cubicBezTo>
                    <a:pt x="2550" y="1925"/>
                    <a:pt x="2874" y="1993"/>
                    <a:pt x="3204" y="2014"/>
                  </a:cubicBezTo>
                  <a:lnTo>
                    <a:pt x="3204" y="3204"/>
                  </a:lnTo>
                  <a:close/>
                  <a:moveTo>
                    <a:pt x="3204" y="1595"/>
                  </a:moveTo>
                  <a:cubicBezTo>
                    <a:pt x="2923" y="1575"/>
                    <a:pt x="2647" y="1516"/>
                    <a:pt x="2385" y="1420"/>
                  </a:cubicBezTo>
                  <a:cubicBezTo>
                    <a:pt x="2411" y="1359"/>
                    <a:pt x="2438" y="1299"/>
                    <a:pt x="2467" y="1241"/>
                  </a:cubicBezTo>
                  <a:cubicBezTo>
                    <a:pt x="2675" y="825"/>
                    <a:pt x="2936" y="551"/>
                    <a:pt x="3204" y="455"/>
                  </a:cubicBezTo>
                  <a:lnTo>
                    <a:pt x="3204" y="1595"/>
                  </a:lnTo>
                  <a:close/>
                  <a:moveTo>
                    <a:pt x="6401" y="3204"/>
                  </a:moveTo>
                  <a:lnTo>
                    <a:pt x="5221" y="3204"/>
                  </a:lnTo>
                  <a:cubicBezTo>
                    <a:pt x="5204" y="2632"/>
                    <a:pt x="5115" y="2102"/>
                    <a:pt x="4970" y="1645"/>
                  </a:cubicBezTo>
                  <a:cubicBezTo>
                    <a:pt x="5165" y="1545"/>
                    <a:pt x="5350" y="1426"/>
                    <a:pt x="5524" y="1290"/>
                  </a:cubicBezTo>
                  <a:cubicBezTo>
                    <a:pt x="6024" y="1786"/>
                    <a:pt x="6350" y="2458"/>
                    <a:pt x="6401" y="3204"/>
                  </a:cubicBezTo>
                  <a:close/>
                  <a:moveTo>
                    <a:pt x="5200" y="1011"/>
                  </a:moveTo>
                  <a:cubicBezTo>
                    <a:pt x="5080" y="1100"/>
                    <a:pt x="4955" y="1180"/>
                    <a:pt x="4824" y="1249"/>
                  </a:cubicBezTo>
                  <a:cubicBezTo>
                    <a:pt x="4718" y="1003"/>
                    <a:pt x="4594" y="786"/>
                    <a:pt x="4456" y="605"/>
                  </a:cubicBezTo>
                  <a:cubicBezTo>
                    <a:pt x="4724" y="705"/>
                    <a:pt x="4974" y="842"/>
                    <a:pt x="5200" y="1011"/>
                  </a:cubicBezTo>
                  <a:close/>
                  <a:moveTo>
                    <a:pt x="3622" y="455"/>
                  </a:moveTo>
                  <a:cubicBezTo>
                    <a:pt x="3891" y="551"/>
                    <a:pt x="4151" y="825"/>
                    <a:pt x="4359" y="1241"/>
                  </a:cubicBezTo>
                  <a:cubicBezTo>
                    <a:pt x="4388" y="1299"/>
                    <a:pt x="4416" y="1359"/>
                    <a:pt x="4442" y="1420"/>
                  </a:cubicBezTo>
                  <a:cubicBezTo>
                    <a:pt x="4180" y="1516"/>
                    <a:pt x="3904" y="1575"/>
                    <a:pt x="3622" y="1595"/>
                  </a:cubicBezTo>
                  <a:lnTo>
                    <a:pt x="3622" y="455"/>
                  </a:lnTo>
                  <a:close/>
                  <a:moveTo>
                    <a:pt x="3622" y="2014"/>
                  </a:moveTo>
                  <a:cubicBezTo>
                    <a:pt x="3953" y="1993"/>
                    <a:pt x="4277" y="1925"/>
                    <a:pt x="4584" y="1813"/>
                  </a:cubicBezTo>
                  <a:cubicBezTo>
                    <a:pt x="4711" y="2231"/>
                    <a:pt x="4787" y="2705"/>
                    <a:pt x="4803" y="3204"/>
                  </a:cubicBezTo>
                  <a:lnTo>
                    <a:pt x="3622" y="3204"/>
                  </a:lnTo>
                  <a:lnTo>
                    <a:pt x="3622" y="2014"/>
                  </a:lnTo>
                  <a:close/>
                  <a:moveTo>
                    <a:pt x="3622" y="3622"/>
                  </a:moveTo>
                  <a:lnTo>
                    <a:pt x="4803" y="3622"/>
                  </a:lnTo>
                  <a:cubicBezTo>
                    <a:pt x="4787" y="4121"/>
                    <a:pt x="4711" y="4596"/>
                    <a:pt x="4584" y="5014"/>
                  </a:cubicBezTo>
                  <a:cubicBezTo>
                    <a:pt x="4277" y="4901"/>
                    <a:pt x="3953" y="4833"/>
                    <a:pt x="3622" y="4813"/>
                  </a:cubicBezTo>
                  <a:lnTo>
                    <a:pt x="3622" y="3622"/>
                  </a:lnTo>
                  <a:close/>
                  <a:moveTo>
                    <a:pt x="4359" y="5586"/>
                  </a:moveTo>
                  <a:cubicBezTo>
                    <a:pt x="4151" y="6001"/>
                    <a:pt x="3891" y="6276"/>
                    <a:pt x="3622" y="6371"/>
                  </a:cubicBezTo>
                  <a:lnTo>
                    <a:pt x="3622" y="5232"/>
                  </a:lnTo>
                  <a:cubicBezTo>
                    <a:pt x="3904" y="5251"/>
                    <a:pt x="4180" y="5311"/>
                    <a:pt x="4442" y="5407"/>
                  </a:cubicBezTo>
                  <a:cubicBezTo>
                    <a:pt x="4416" y="5468"/>
                    <a:pt x="4388" y="5528"/>
                    <a:pt x="4359" y="5586"/>
                  </a:cubicBezTo>
                  <a:close/>
                  <a:moveTo>
                    <a:pt x="4456" y="6222"/>
                  </a:moveTo>
                  <a:cubicBezTo>
                    <a:pt x="4594" y="6040"/>
                    <a:pt x="4718" y="5824"/>
                    <a:pt x="4824" y="5577"/>
                  </a:cubicBezTo>
                  <a:cubicBezTo>
                    <a:pt x="4955" y="5647"/>
                    <a:pt x="5080" y="5727"/>
                    <a:pt x="5200" y="5816"/>
                  </a:cubicBezTo>
                  <a:cubicBezTo>
                    <a:pt x="4974" y="5984"/>
                    <a:pt x="4724" y="6122"/>
                    <a:pt x="4456" y="6222"/>
                  </a:cubicBezTo>
                  <a:close/>
                  <a:moveTo>
                    <a:pt x="5524" y="5537"/>
                  </a:moveTo>
                  <a:cubicBezTo>
                    <a:pt x="5350" y="5401"/>
                    <a:pt x="5165" y="5282"/>
                    <a:pt x="4970" y="5182"/>
                  </a:cubicBezTo>
                  <a:cubicBezTo>
                    <a:pt x="5115" y="4724"/>
                    <a:pt x="5204" y="4194"/>
                    <a:pt x="5221" y="3622"/>
                  </a:cubicBezTo>
                  <a:lnTo>
                    <a:pt x="6401" y="3622"/>
                  </a:lnTo>
                  <a:cubicBezTo>
                    <a:pt x="6350" y="4368"/>
                    <a:pt x="6024" y="5040"/>
                    <a:pt x="5524" y="55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cxnSp>
          <p:nvCxnSpPr>
            <p:cNvPr id="21" name="直接连接符 20">
              <a:extLst>
                <a:ext uri="{FF2B5EF4-FFF2-40B4-BE49-F238E27FC236}">
                  <a16:creationId xmlns:a16="http://schemas.microsoft.com/office/drawing/2014/main" id="{D093D1D2-FA2D-4C43-A014-E32A2136D449}"/>
                </a:ext>
              </a:extLst>
            </p:cNvPr>
            <p:cNvCxnSpPr/>
            <p:nvPr/>
          </p:nvCxnSpPr>
          <p:spPr>
            <a:xfrm>
              <a:off x="1400175" y="3237326"/>
              <a:ext cx="0" cy="685800"/>
            </a:xfrm>
            <a:prstGeom prst="line">
              <a:avLst/>
            </a:prstGeom>
            <a:ln w="3175" cap="rnd">
              <a:solidFill>
                <a:schemeClr val="accent1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文本框 14">
            <a:extLst>
              <a:ext uri="{FF2B5EF4-FFF2-40B4-BE49-F238E27FC236}">
                <a16:creationId xmlns:a16="http://schemas.microsoft.com/office/drawing/2014/main" id="{E57F802C-EB0A-4BBA-8684-54923F808510}"/>
              </a:ext>
            </a:extLst>
          </p:cNvPr>
          <p:cNvSpPr txBox="1"/>
          <p:nvPr/>
        </p:nvSpPr>
        <p:spPr>
          <a:xfrm>
            <a:off x="1581149" y="5346930"/>
            <a:ext cx="2367849" cy="374391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目的</a:t>
            </a:r>
            <a:endParaRPr lang="id-ID" altLang="zh-CN" sz="1600" b="1" dirty="0"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57589BDA-EA5F-4AF5-847B-C7347893E1D8}"/>
              </a:ext>
            </a:extLst>
          </p:cNvPr>
          <p:cNvSpPr/>
          <p:nvPr/>
        </p:nvSpPr>
        <p:spPr bwMode="auto">
          <a:xfrm>
            <a:off x="669925" y="5346930"/>
            <a:ext cx="454025" cy="453339"/>
          </a:xfrm>
          <a:custGeom>
            <a:avLst/>
            <a:gdLst>
              <a:gd name="T0" fmla="*/ 3413 w 6827"/>
              <a:gd name="T1" fmla="*/ 0 h 6827"/>
              <a:gd name="T2" fmla="*/ 0 w 6827"/>
              <a:gd name="T3" fmla="*/ 3413 h 6827"/>
              <a:gd name="T4" fmla="*/ 3413 w 6827"/>
              <a:gd name="T5" fmla="*/ 6827 h 6827"/>
              <a:gd name="T6" fmla="*/ 6827 w 6827"/>
              <a:gd name="T7" fmla="*/ 3413 h 6827"/>
              <a:gd name="T8" fmla="*/ 2371 w 6827"/>
              <a:gd name="T9" fmla="*/ 605 h 6827"/>
              <a:gd name="T10" fmla="*/ 1626 w 6827"/>
              <a:gd name="T11" fmla="*/ 1011 h 6827"/>
              <a:gd name="T12" fmla="*/ 1303 w 6827"/>
              <a:gd name="T13" fmla="*/ 1290 h 6827"/>
              <a:gd name="T14" fmla="*/ 1605 w 6827"/>
              <a:gd name="T15" fmla="*/ 3204 h 6827"/>
              <a:gd name="T16" fmla="*/ 1303 w 6827"/>
              <a:gd name="T17" fmla="*/ 1290 h 6827"/>
              <a:gd name="T18" fmla="*/ 1605 w 6827"/>
              <a:gd name="T19" fmla="*/ 3622 h 6827"/>
              <a:gd name="T20" fmla="*/ 1303 w 6827"/>
              <a:gd name="T21" fmla="*/ 5537 h 6827"/>
              <a:gd name="T22" fmla="*/ 1626 w 6827"/>
              <a:gd name="T23" fmla="*/ 5816 h 6827"/>
              <a:gd name="T24" fmla="*/ 2371 w 6827"/>
              <a:gd name="T25" fmla="*/ 6222 h 6827"/>
              <a:gd name="T26" fmla="*/ 3204 w 6827"/>
              <a:gd name="T27" fmla="*/ 6371 h 6827"/>
              <a:gd name="T28" fmla="*/ 2385 w 6827"/>
              <a:gd name="T29" fmla="*/ 5407 h 6827"/>
              <a:gd name="T30" fmla="*/ 3204 w 6827"/>
              <a:gd name="T31" fmla="*/ 6371 h 6827"/>
              <a:gd name="T32" fmla="*/ 2242 w 6827"/>
              <a:gd name="T33" fmla="*/ 5014 h 6827"/>
              <a:gd name="T34" fmla="*/ 3204 w 6827"/>
              <a:gd name="T35" fmla="*/ 3622 h 6827"/>
              <a:gd name="T36" fmla="*/ 3204 w 6827"/>
              <a:gd name="T37" fmla="*/ 3204 h 6827"/>
              <a:gd name="T38" fmla="*/ 2242 w 6827"/>
              <a:gd name="T39" fmla="*/ 1813 h 6827"/>
              <a:gd name="T40" fmla="*/ 3204 w 6827"/>
              <a:gd name="T41" fmla="*/ 3204 h 6827"/>
              <a:gd name="T42" fmla="*/ 2385 w 6827"/>
              <a:gd name="T43" fmla="*/ 1420 h 6827"/>
              <a:gd name="T44" fmla="*/ 3204 w 6827"/>
              <a:gd name="T45" fmla="*/ 455 h 6827"/>
              <a:gd name="T46" fmla="*/ 6401 w 6827"/>
              <a:gd name="T47" fmla="*/ 3204 h 6827"/>
              <a:gd name="T48" fmla="*/ 4970 w 6827"/>
              <a:gd name="T49" fmla="*/ 1645 h 6827"/>
              <a:gd name="T50" fmla="*/ 6401 w 6827"/>
              <a:gd name="T51" fmla="*/ 3204 h 6827"/>
              <a:gd name="T52" fmla="*/ 4824 w 6827"/>
              <a:gd name="T53" fmla="*/ 1249 h 6827"/>
              <a:gd name="T54" fmla="*/ 5200 w 6827"/>
              <a:gd name="T55" fmla="*/ 1011 h 6827"/>
              <a:gd name="T56" fmla="*/ 4359 w 6827"/>
              <a:gd name="T57" fmla="*/ 1241 h 6827"/>
              <a:gd name="T58" fmla="*/ 3622 w 6827"/>
              <a:gd name="T59" fmla="*/ 1595 h 6827"/>
              <a:gd name="T60" fmla="*/ 3622 w 6827"/>
              <a:gd name="T61" fmla="*/ 2014 h 6827"/>
              <a:gd name="T62" fmla="*/ 4803 w 6827"/>
              <a:gd name="T63" fmla="*/ 3204 h 6827"/>
              <a:gd name="T64" fmla="*/ 3622 w 6827"/>
              <a:gd name="T65" fmla="*/ 2014 h 6827"/>
              <a:gd name="T66" fmla="*/ 4803 w 6827"/>
              <a:gd name="T67" fmla="*/ 3622 h 6827"/>
              <a:gd name="T68" fmla="*/ 3622 w 6827"/>
              <a:gd name="T69" fmla="*/ 4813 h 6827"/>
              <a:gd name="T70" fmla="*/ 4359 w 6827"/>
              <a:gd name="T71" fmla="*/ 5586 h 6827"/>
              <a:gd name="T72" fmla="*/ 3622 w 6827"/>
              <a:gd name="T73" fmla="*/ 5232 h 6827"/>
              <a:gd name="T74" fmla="*/ 4359 w 6827"/>
              <a:gd name="T75" fmla="*/ 5586 h 6827"/>
              <a:gd name="T76" fmla="*/ 4824 w 6827"/>
              <a:gd name="T77" fmla="*/ 5577 h 6827"/>
              <a:gd name="T78" fmla="*/ 4456 w 6827"/>
              <a:gd name="T79" fmla="*/ 6222 h 6827"/>
              <a:gd name="T80" fmla="*/ 4970 w 6827"/>
              <a:gd name="T81" fmla="*/ 5182 h 6827"/>
              <a:gd name="T82" fmla="*/ 6401 w 6827"/>
              <a:gd name="T83" fmla="*/ 3622 h 68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6827" h="6827">
                <a:moveTo>
                  <a:pt x="5827" y="1000"/>
                </a:moveTo>
                <a:cubicBezTo>
                  <a:pt x="5182" y="355"/>
                  <a:pt x="4325" y="0"/>
                  <a:pt x="3413" y="0"/>
                </a:cubicBezTo>
                <a:cubicBezTo>
                  <a:pt x="2502" y="0"/>
                  <a:pt x="1644" y="355"/>
                  <a:pt x="1000" y="1000"/>
                </a:cubicBezTo>
                <a:cubicBezTo>
                  <a:pt x="355" y="1644"/>
                  <a:pt x="0" y="2502"/>
                  <a:pt x="0" y="3413"/>
                </a:cubicBezTo>
                <a:cubicBezTo>
                  <a:pt x="0" y="4325"/>
                  <a:pt x="355" y="5182"/>
                  <a:pt x="1000" y="5827"/>
                </a:cubicBezTo>
                <a:cubicBezTo>
                  <a:pt x="1644" y="6472"/>
                  <a:pt x="2502" y="6827"/>
                  <a:pt x="3413" y="6827"/>
                </a:cubicBezTo>
                <a:cubicBezTo>
                  <a:pt x="4325" y="6827"/>
                  <a:pt x="5182" y="6472"/>
                  <a:pt x="5827" y="5827"/>
                </a:cubicBezTo>
                <a:cubicBezTo>
                  <a:pt x="6472" y="5182"/>
                  <a:pt x="6827" y="4325"/>
                  <a:pt x="6827" y="3413"/>
                </a:cubicBezTo>
                <a:cubicBezTo>
                  <a:pt x="6827" y="2502"/>
                  <a:pt x="6472" y="1644"/>
                  <a:pt x="5827" y="1000"/>
                </a:cubicBezTo>
                <a:close/>
                <a:moveTo>
                  <a:pt x="2371" y="605"/>
                </a:moveTo>
                <a:cubicBezTo>
                  <a:pt x="2232" y="786"/>
                  <a:pt x="2108" y="1003"/>
                  <a:pt x="2003" y="1249"/>
                </a:cubicBezTo>
                <a:cubicBezTo>
                  <a:pt x="1872" y="1180"/>
                  <a:pt x="1746" y="1100"/>
                  <a:pt x="1626" y="1011"/>
                </a:cubicBezTo>
                <a:cubicBezTo>
                  <a:pt x="1852" y="842"/>
                  <a:pt x="2103" y="705"/>
                  <a:pt x="2371" y="605"/>
                </a:cubicBezTo>
                <a:close/>
                <a:moveTo>
                  <a:pt x="1303" y="1290"/>
                </a:moveTo>
                <a:cubicBezTo>
                  <a:pt x="1477" y="1426"/>
                  <a:pt x="1662" y="1545"/>
                  <a:pt x="1856" y="1645"/>
                </a:cubicBezTo>
                <a:cubicBezTo>
                  <a:pt x="1712" y="2102"/>
                  <a:pt x="1623" y="2632"/>
                  <a:pt x="1605" y="3204"/>
                </a:cubicBezTo>
                <a:lnTo>
                  <a:pt x="425" y="3204"/>
                </a:lnTo>
                <a:cubicBezTo>
                  <a:pt x="477" y="2458"/>
                  <a:pt x="803" y="1786"/>
                  <a:pt x="1303" y="1290"/>
                </a:cubicBezTo>
                <a:close/>
                <a:moveTo>
                  <a:pt x="425" y="3622"/>
                </a:moveTo>
                <a:lnTo>
                  <a:pt x="1605" y="3622"/>
                </a:lnTo>
                <a:cubicBezTo>
                  <a:pt x="1623" y="4194"/>
                  <a:pt x="1712" y="4724"/>
                  <a:pt x="1856" y="5182"/>
                </a:cubicBezTo>
                <a:cubicBezTo>
                  <a:pt x="1662" y="5282"/>
                  <a:pt x="1477" y="5400"/>
                  <a:pt x="1303" y="5537"/>
                </a:cubicBezTo>
                <a:cubicBezTo>
                  <a:pt x="803" y="5040"/>
                  <a:pt x="477" y="4368"/>
                  <a:pt x="425" y="3622"/>
                </a:cubicBezTo>
                <a:close/>
                <a:moveTo>
                  <a:pt x="1626" y="5816"/>
                </a:moveTo>
                <a:cubicBezTo>
                  <a:pt x="1746" y="5727"/>
                  <a:pt x="1872" y="5647"/>
                  <a:pt x="2003" y="5577"/>
                </a:cubicBezTo>
                <a:cubicBezTo>
                  <a:pt x="2108" y="5824"/>
                  <a:pt x="2232" y="6040"/>
                  <a:pt x="2371" y="6222"/>
                </a:cubicBezTo>
                <a:cubicBezTo>
                  <a:pt x="2103" y="6122"/>
                  <a:pt x="1852" y="5984"/>
                  <a:pt x="1626" y="5816"/>
                </a:cubicBezTo>
                <a:close/>
                <a:moveTo>
                  <a:pt x="3204" y="6371"/>
                </a:moveTo>
                <a:cubicBezTo>
                  <a:pt x="2936" y="6276"/>
                  <a:pt x="2675" y="6001"/>
                  <a:pt x="2467" y="5586"/>
                </a:cubicBezTo>
                <a:cubicBezTo>
                  <a:pt x="2438" y="5528"/>
                  <a:pt x="2411" y="5468"/>
                  <a:pt x="2385" y="5407"/>
                </a:cubicBezTo>
                <a:cubicBezTo>
                  <a:pt x="2647" y="5311"/>
                  <a:pt x="2923" y="5251"/>
                  <a:pt x="3204" y="5232"/>
                </a:cubicBezTo>
                <a:lnTo>
                  <a:pt x="3204" y="6371"/>
                </a:lnTo>
                <a:close/>
                <a:moveTo>
                  <a:pt x="3204" y="4813"/>
                </a:moveTo>
                <a:cubicBezTo>
                  <a:pt x="2874" y="4833"/>
                  <a:pt x="2550" y="4901"/>
                  <a:pt x="2242" y="5014"/>
                </a:cubicBezTo>
                <a:cubicBezTo>
                  <a:pt x="2115" y="4596"/>
                  <a:pt x="2040" y="4121"/>
                  <a:pt x="2024" y="3622"/>
                </a:cubicBezTo>
                <a:lnTo>
                  <a:pt x="3204" y="3622"/>
                </a:lnTo>
                <a:lnTo>
                  <a:pt x="3204" y="4813"/>
                </a:lnTo>
                <a:close/>
                <a:moveTo>
                  <a:pt x="3204" y="3204"/>
                </a:moveTo>
                <a:lnTo>
                  <a:pt x="2024" y="3204"/>
                </a:lnTo>
                <a:cubicBezTo>
                  <a:pt x="2040" y="2705"/>
                  <a:pt x="2115" y="2231"/>
                  <a:pt x="2242" y="1813"/>
                </a:cubicBezTo>
                <a:cubicBezTo>
                  <a:pt x="2550" y="1925"/>
                  <a:pt x="2874" y="1993"/>
                  <a:pt x="3204" y="2014"/>
                </a:cubicBezTo>
                <a:lnTo>
                  <a:pt x="3204" y="3204"/>
                </a:lnTo>
                <a:close/>
                <a:moveTo>
                  <a:pt x="3204" y="1595"/>
                </a:moveTo>
                <a:cubicBezTo>
                  <a:pt x="2923" y="1575"/>
                  <a:pt x="2647" y="1516"/>
                  <a:pt x="2385" y="1420"/>
                </a:cubicBezTo>
                <a:cubicBezTo>
                  <a:pt x="2411" y="1359"/>
                  <a:pt x="2438" y="1299"/>
                  <a:pt x="2467" y="1241"/>
                </a:cubicBezTo>
                <a:cubicBezTo>
                  <a:pt x="2675" y="825"/>
                  <a:pt x="2936" y="551"/>
                  <a:pt x="3204" y="455"/>
                </a:cubicBezTo>
                <a:lnTo>
                  <a:pt x="3204" y="1595"/>
                </a:lnTo>
                <a:close/>
                <a:moveTo>
                  <a:pt x="6401" y="3204"/>
                </a:moveTo>
                <a:lnTo>
                  <a:pt x="5221" y="3204"/>
                </a:lnTo>
                <a:cubicBezTo>
                  <a:pt x="5204" y="2632"/>
                  <a:pt x="5115" y="2102"/>
                  <a:pt x="4970" y="1645"/>
                </a:cubicBezTo>
                <a:cubicBezTo>
                  <a:pt x="5165" y="1545"/>
                  <a:pt x="5350" y="1426"/>
                  <a:pt x="5524" y="1290"/>
                </a:cubicBezTo>
                <a:cubicBezTo>
                  <a:pt x="6024" y="1786"/>
                  <a:pt x="6350" y="2458"/>
                  <a:pt x="6401" y="3204"/>
                </a:cubicBezTo>
                <a:close/>
                <a:moveTo>
                  <a:pt x="5200" y="1011"/>
                </a:moveTo>
                <a:cubicBezTo>
                  <a:pt x="5080" y="1100"/>
                  <a:pt x="4955" y="1180"/>
                  <a:pt x="4824" y="1249"/>
                </a:cubicBezTo>
                <a:cubicBezTo>
                  <a:pt x="4718" y="1003"/>
                  <a:pt x="4594" y="786"/>
                  <a:pt x="4456" y="605"/>
                </a:cubicBezTo>
                <a:cubicBezTo>
                  <a:pt x="4724" y="705"/>
                  <a:pt x="4974" y="842"/>
                  <a:pt x="5200" y="1011"/>
                </a:cubicBezTo>
                <a:close/>
                <a:moveTo>
                  <a:pt x="3622" y="455"/>
                </a:moveTo>
                <a:cubicBezTo>
                  <a:pt x="3891" y="551"/>
                  <a:pt x="4151" y="825"/>
                  <a:pt x="4359" y="1241"/>
                </a:cubicBezTo>
                <a:cubicBezTo>
                  <a:pt x="4388" y="1299"/>
                  <a:pt x="4416" y="1359"/>
                  <a:pt x="4442" y="1420"/>
                </a:cubicBezTo>
                <a:cubicBezTo>
                  <a:pt x="4180" y="1516"/>
                  <a:pt x="3904" y="1575"/>
                  <a:pt x="3622" y="1595"/>
                </a:cubicBezTo>
                <a:lnTo>
                  <a:pt x="3622" y="455"/>
                </a:lnTo>
                <a:close/>
                <a:moveTo>
                  <a:pt x="3622" y="2014"/>
                </a:moveTo>
                <a:cubicBezTo>
                  <a:pt x="3953" y="1993"/>
                  <a:pt x="4277" y="1925"/>
                  <a:pt x="4584" y="1813"/>
                </a:cubicBezTo>
                <a:cubicBezTo>
                  <a:pt x="4711" y="2231"/>
                  <a:pt x="4787" y="2705"/>
                  <a:pt x="4803" y="3204"/>
                </a:cubicBezTo>
                <a:lnTo>
                  <a:pt x="3622" y="3204"/>
                </a:lnTo>
                <a:lnTo>
                  <a:pt x="3622" y="2014"/>
                </a:lnTo>
                <a:close/>
                <a:moveTo>
                  <a:pt x="3622" y="3622"/>
                </a:moveTo>
                <a:lnTo>
                  <a:pt x="4803" y="3622"/>
                </a:lnTo>
                <a:cubicBezTo>
                  <a:pt x="4787" y="4121"/>
                  <a:pt x="4711" y="4596"/>
                  <a:pt x="4584" y="5014"/>
                </a:cubicBezTo>
                <a:cubicBezTo>
                  <a:pt x="4277" y="4901"/>
                  <a:pt x="3953" y="4833"/>
                  <a:pt x="3622" y="4813"/>
                </a:cubicBezTo>
                <a:lnTo>
                  <a:pt x="3622" y="3622"/>
                </a:lnTo>
                <a:close/>
                <a:moveTo>
                  <a:pt x="4359" y="5586"/>
                </a:moveTo>
                <a:cubicBezTo>
                  <a:pt x="4151" y="6001"/>
                  <a:pt x="3891" y="6276"/>
                  <a:pt x="3622" y="6371"/>
                </a:cubicBezTo>
                <a:lnTo>
                  <a:pt x="3622" y="5232"/>
                </a:lnTo>
                <a:cubicBezTo>
                  <a:pt x="3904" y="5251"/>
                  <a:pt x="4180" y="5311"/>
                  <a:pt x="4442" y="5407"/>
                </a:cubicBezTo>
                <a:cubicBezTo>
                  <a:pt x="4416" y="5468"/>
                  <a:pt x="4388" y="5528"/>
                  <a:pt x="4359" y="5586"/>
                </a:cubicBezTo>
                <a:close/>
                <a:moveTo>
                  <a:pt x="4456" y="6222"/>
                </a:moveTo>
                <a:cubicBezTo>
                  <a:pt x="4594" y="6040"/>
                  <a:pt x="4718" y="5824"/>
                  <a:pt x="4824" y="5577"/>
                </a:cubicBezTo>
                <a:cubicBezTo>
                  <a:pt x="4955" y="5647"/>
                  <a:pt x="5080" y="5727"/>
                  <a:pt x="5200" y="5816"/>
                </a:cubicBezTo>
                <a:cubicBezTo>
                  <a:pt x="4974" y="5984"/>
                  <a:pt x="4724" y="6122"/>
                  <a:pt x="4456" y="6222"/>
                </a:cubicBezTo>
                <a:close/>
                <a:moveTo>
                  <a:pt x="5524" y="5537"/>
                </a:moveTo>
                <a:cubicBezTo>
                  <a:pt x="5350" y="5401"/>
                  <a:pt x="5165" y="5282"/>
                  <a:pt x="4970" y="5182"/>
                </a:cubicBezTo>
                <a:cubicBezTo>
                  <a:pt x="5115" y="4724"/>
                  <a:pt x="5204" y="4194"/>
                  <a:pt x="5221" y="3622"/>
                </a:cubicBezTo>
                <a:lnTo>
                  <a:pt x="6401" y="3622"/>
                </a:lnTo>
                <a:cubicBezTo>
                  <a:pt x="6350" y="4368"/>
                  <a:pt x="6024" y="5040"/>
                  <a:pt x="5524" y="5537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BB6D3CEA-C106-43AC-8850-5660E2761569}"/>
              </a:ext>
            </a:extLst>
          </p:cNvPr>
          <p:cNvCxnSpPr/>
          <p:nvPr/>
        </p:nvCxnSpPr>
        <p:spPr>
          <a:xfrm>
            <a:off x="1400175" y="5187462"/>
            <a:ext cx="0" cy="685800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45650817-CBD8-48DA-95F4-5BBA0F59F821}"/>
              </a:ext>
            </a:extLst>
          </p:cNvPr>
          <p:cNvCxnSpPr/>
          <p:nvPr/>
        </p:nvCxnSpPr>
        <p:spPr>
          <a:xfrm flipH="1">
            <a:off x="669925" y="2898843"/>
            <a:ext cx="428229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7E60880C-1835-4647-9A79-754469A2D9FE}"/>
              </a:ext>
            </a:extLst>
          </p:cNvPr>
          <p:cNvCxnSpPr>
            <a:cxnSpLocks/>
          </p:cNvCxnSpPr>
          <p:nvPr/>
        </p:nvCxnSpPr>
        <p:spPr>
          <a:xfrm flipH="1">
            <a:off x="669925" y="4653189"/>
            <a:ext cx="35496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>
            <a:extLst>
              <a:ext uri="{FF2B5EF4-FFF2-40B4-BE49-F238E27FC236}">
                <a16:creationId xmlns:a16="http://schemas.microsoft.com/office/drawing/2014/main" id="{F7B10C67-A23F-4552-8697-8585D6723B2D}"/>
              </a:ext>
            </a:extLst>
          </p:cNvPr>
          <p:cNvSpPr/>
          <p:nvPr/>
        </p:nvSpPr>
        <p:spPr bwMode="gray">
          <a:xfrm>
            <a:off x="7166613" y="1866064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S</a:t>
            </a:r>
            <a:r>
              <a:rPr lang="en-US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upporting </a:t>
            </a: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12B154D0-46F2-4CE1-A123-804E600995B0}"/>
              </a:ext>
            </a:extLst>
          </p:cNvPr>
          <p:cNvSpPr/>
          <p:nvPr/>
        </p:nvSpPr>
        <p:spPr bwMode="gray">
          <a:xfrm>
            <a:off x="8432143" y="3463359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S</a:t>
            </a:r>
            <a:r>
              <a:rPr lang="en-US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upporting </a:t>
            </a: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C440DAE6-E839-46AC-8D8C-5EC0E6B08A1E}"/>
              </a:ext>
            </a:extLst>
          </p:cNvPr>
          <p:cNvSpPr/>
          <p:nvPr/>
        </p:nvSpPr>
        <p:spPr bwMode="gray">
          <a:xfrm>
            <a:off x="9118442" y="5060654"/>
            <a:ext cx="1955927" cy="997012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S</a:t>
            </a:r>
            <a:r>
              <a:rPr lang="en-US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upporting </a:t>
            </a:r>
            <a:r>
              <a:rPr lang="en-US" sz="1100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>
                <a:solidFill>
                  <a:schemeClr val="tx1"/>
                </a:solidFill>
                <a:cs typeface="+mn-ea"/>
                <a:sym typeface="+mn-lt"/>
              </a:rPr>
              <a:t>… …</a:t>
            </a:r>
            <a:endParaRPr lang="en-US" sz="11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637232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设计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/>
          <p:cNvSpPr/>
          <p:nvPr/>
        </p:nvSpPr>
        <p:spPr bwMode="auto">
          <a:xfrm>
            <a:off x="3911396" y="2529682"/>
            <a:ext cx="2538413" cy="2217737"/>
          </a:xfrm>
          <a:custGeom>
            <a:avLst/>
            <a:gdLst>
              <a:gd name="T0" fmla="*/ 4140 w 26630"/>
              <a:gd name="T1" fmla="*/ 4140 h 23273"/>
              <a:gd name="T2" fmla="*/ 19133 w 26630"/>
              <a:gd name="T3" fmla="*/ 4140 h 23273"/>
              <a:gd name="T4" fmla="*/ 26630 w 26630"/>
              <a:gd name="T5" fmla="*/ 11637 h 23273"/>
              <a:gd name="T6" fmla="*/ 19133 w 26630"/>
              <a:gd name="T7" fmla="*/ 19133 h 23273"/>
              <a:gd name="T8" fmla="*/ 4140 w 26630"/>
              <a:gd name="T9" fmla="*/ 19133 h 23273"/>
              <a:gd name="T10" fmla="*/ 4140 w 26630"/>
              <a:gd name="T11" fmla="*/ 4140 h 23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630" h="23273">
                <a:moveTo>
                  <a:pt x="4140" y="4140"/>
                </a:moveTo>
                <a:cubicBezTo>
                  <a:pt x="8281" y="0"/>
                  <a:pt x="14993" y="0"/>
                  <a:pt x="19133" y="4140"/>
                </a:cubicBezTo>
                <a:cubicBezTo>
                  <a:pt x="21632" y="6639"/>
                  <a:pt x="24131" y="9138"/>
                  <a:pt x="26630" y="11637"/>
                </a:cubicBezTo>
                <a:cubicBezTo>
                  <a:pt x="24131" y="14135"/>
                  <a:pt x="21632" y="16634"/>
                  <a:pt x="19133" y="19133"/>
                </a:cubicBezTo>
                <a:cubicBezTo>
                  <a:pt x="14993" y="23273"/>
                  <a:pt x="8281" y="23273"/>
                  <a:pt x="4140" y="19133"/>
                </a:cubicBezTo>
                <a:cubicBezTo>
                  <a:pt x="0" y="14993"/>
                  <a:pt x="0" y="8280"/>
                  <a:pt x="4140" y="4140"/>
                </a:cubicBezTo>
              </a:path>
            </a:pathLst>
          </a:custGeom>
          <a:solidFill>
            <a:schemeClr val="accent1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400">
                <a:solidFill>
                  <a:schemeClr val="bg1"/>
                </a:solidFill>
                <a:cs typeface="+mn-ea"/>
                <a:sym typeface="+mn-lt"/>
              </a:rPr>
              <a:t>…t</a:t>
            </a:r>
            <a:r>
              <a:rPr lang="en-US" altLang="zh-CN" sz="10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2400">
                <a:solidFill>
                  <a:schemeClr val="bg1"/>
                </a:solidFill>
                <a:cs typeface="+mn-ea"/>
                <a:sym typeface="+mn-lt"/>
              </a:rPr>
              <a:t>ext</a:t>
            </a:r>
            <a:endParaRPr lang="zh-CN" altLang="en-US" sz="2400"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26" name="泪滴形 25">
            <a:extLst>
              <a:ext uri="{FF2B5EF4-FFF2-40B4-BE49-F238E27FC236}">
                <a16:creationId xmlns:a16="http://schemas.microsoft.com/office/drawing/2014/main" id="{79247EDF-35B6-4EFA-9F22-7A167F07AC0D}"/>
              </a:ext>
            </a:extLst>
          </p:cNvPr>
          <p:cNvSpPr/>
          <p:nvPr/>
        </p:nvSpPr>
        <p:spPr>
          <a:xfrm rot="13500000" flipH="1">
            <a:off x="5783698" y="1838433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任意多边形: 形状 26"/>
          <p:cNvSpPr/>
          <p:nvPr/>
        </p:nvSpPr>
        <p:spPr>
          <a:xfrm>
            <a:off x="6268009" y="2343503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泪滴形 23">
            <a:extLst>
              <a:ext uri="{FF2B5EF4-FFF2-40B4-BE49-F238E27FC236}">
                <a16:creationId xmlns:a16="http://schemas.microsoft.com/office/drawing/2014/main" id="{A869661F-95E3-4A09-9166-114698DC0220}"/>
              </a:ext>
            </a:extLst>
          </p:cNvPr>
          <p:cNvSpPr/>
          <p:nvPr/>
        </p:nvSpPr>
        <p:spPr>
          <a:xfrm rot="18900000" flipH="1">
            <a:off x="6863746" y="2930121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/>
          <p:cNvSpPr/>
          <p:nvPr/>
        </p:nvSpPr>
        <p:spPr>
          <a:xfrm>
            <a:off x="7348057" y="3435191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泪滴形 21">
            <a:extLst>
              <a:ext uri="{FF2B5EF4-FFF2-40B4-BE49-F238E27FC236}">
                <a16:creationId xmlns:a16="http://schemas.microsoft.com/office/drawing/2014/main" id="{F80776D0-AC2C-40E0-844E-9F9F6BAB9BA2}"/>
              </a:ext>
            </a:extLst>
          </p:cNvPr>
          <p:cNvSpPr/>
          <p:nvPr/>
        </p:nvSpPr>
        <p:spPr>
          <a:xfrm rot="8100000" flipH="1" flipV="1">
            <a:off x="5783698" y="4021809"/>
            <a:ext cx="1416858" cy="1416858"/>
          </a:xfrm>
          <a:prstGeom prst="teardrop">
            <a:avLst/>
          </a:prstGeom>
          <a:solidFill>
            <a:schemeClr val="bg1"/>
          </a:solidFill>
          <a:ln w="571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/>
          <p:cNvSpPr/>
          <p:nvPr/>
        </p:nvSpPr>
        <p:spPr>
          <a:xfrm>
            <a:off x="6268009" y="4526879"/>
            <a:ext cx="448236" cy="406717"/>
          </a:xfrm>
          <a:custGeom>
            <a:avLst/>
            <a:gdLst>
              <a:gd name="connsiteX0" fmla="*/ 116112 w 607919"/>
              <a:gd name="connsiteY0" fmla="*/ 473652 h 551610"/>
              <a:gd name="connsiteX1" fmla="*/ 118901 w 607919"/>
              <a:gd name="connsiteY1" fmla="*/ 480423 h 551610"/>
              <a:gd name="connsiteX2" fmla="*/ 118901 w 607919"/>
              <a:gd name="connsiteY2" fmla="*/ 551610 h 551610"/>
              <a:gd name="connsiteX3" fmla="*/ 55604 w 607919"/>
              <a:gd name="connsiteY3" fmla="*/ 551610 h 551610"/>
              <a:gd name="connsiteX4" fmla="*/ 55604 w 607919"/>
              <a:gd name="connsiteY4" fmla="*/ 540851 h 551610"/>
              <a:gd name="connsiteX5" fmla="*/ 65255 w 607919"/>
              <a:gd name="connsiteY5" fmla="*/ 520583 h 551610"/>
              <a:gd name="connsiteX6" fmla="*/ 83555 w 607919"/>
              <a:gd name="connsiteY6" fmla="*/ 502317 h 551610"/>
              <a:gd name="connsiteX7" fmla="*/ 109375 w 607919"/>
              <a:gd name="connsiteY7" fmla="*/ 476545 h 551610"/>
              <a:gd name="connsiteX8" fmla="*/ 116112 w 607919"/>
              <a:gd name="connsiteY8" fmla="*/ 473652 h 551610"/>
              <a:gd name="connsiteX9" fmla="*/ 199155 w 607919"/>
              <a:gd name="connsiteY9" fmla="*/ 390799 h 551610"/>
              <a:gd name="connsiteX10" fmla="*/ 201956 w 607919"/>
              <a:gd name="connsiteY10" fmla="*/ 397632 h 551610"/>
              <a:gd name="connsiteX11" fmla="*/ 201956 w 607919"/>
              <a:gd name="connsiteY11" fmla="*/ 551610 h 551610"/>
              <a:gd name="connsiteX12" fmla="*/ 145363 w 607919"/>
              <a:gd name="connsiteY12" fmla="*/ 551610 h 551610"/>
              <a:gd name="connsiteX13" fmla="*/ 145363 w 607919"/>
              <a:gd name="connsiteY13" fmla="*/ 454170 h 551610"/>
              <a:gd name="connsiteX14" fmla="*/ 154879 w 607919"/>
              <a:gd name="connsiteY14" fmla="*/ 431030 h 551610"/>
              <a:gd name="connsiteX15" fmla="*/ 192315 w 607919"/>
              <a:gd name="connsiteY15" fmla="*/ 393630 h 551610"/>
              <a:gd name="connsiteX16" fmla="*/ 199155 w 607919"/>
              <a:gd name="connsiteY16" fmla="*/ 390799 h 551610"/>
              <a:gd name="connsiteX17" fmla="*/ 231082 w 607919"/>
              <a:gd name="connsiteY17" fmla="*/ 388245 h 551610"/>
              <a:gd name="connsiteX18" fmla="*/ 237930 w 607919"/>
              <a:gd name="connsiteY18" fmla="*/ 391091 h 551610"/>
              <a:gd name="connsiteX19" fmla="*/ 266763 w 607919"/>
              <a:gd name="connsiteY19" fmla="*/ 419867 h 551610"/>
              <a:gd name="connsiteX20" fmla="*/ 275915 w 607919"/>
              <a:gd name="connsiteY20" fmla="*/ 428875 h 551610"/>
              <a:gd name="connsiteX21" fmla="*/ 284941 w 607919"/>
              <a:gd name="connsiteY21" fmla="*/ 451520 h 551610"/>
              <a:gd name="connsiteX22" fmla="*/ 284941 w 607919"/>
              <a:gd name="connsiteY22" fmla="*/ 551610 h 551610"/>
              <a:gd name="connsiteX23" fmla="*/ 228277 w 607919"/>
              <a:gd name="connsiteY23" fmla="*/ 551610 h 551610"/>
              <a:gd name="connsiteX24" fmla="*/ 228277 w 607919"/>
              <a:gd name="connsiteY24" fmla="*/ 394969 h 551610"/>
              <a:gd name="connsiteX25" fmla="*/ 231082 w 607919"/>
              <a:gd name="connsiteY25" fmla="*/ 388245 h 551610"/>
              <a:gd name="connsiteX26" fmla="*/ 365148 w 607919"/>
              <a:gd name="connsiteY26" fmla="*/ 381336 h 551610"/>
              <a:gd name="connsiteX27" fmla="*/ 367997 w 607919"/>
              <a:gd name="connsiteY27" fmla="*/ 388122 h 551610"/>
              <a:gd name="connsiteX28" fmla="*/ 367997 w 607919"/>
              <a:gd name="connsiteY28" fmla="*/ 551610 h 551610"/>
              <a:gd name="connsiteX29" fmla="*/ 311262 w 607919"/>
              <a:gd name="connsiteY29" fmla="*/ 551610 h 551610"/>
              <a:gd name="connsiteX30" fmla="*/ 311262 w 607919"/>
              <a:gd name="connsiteY30" fmla="*/ 444661 h 551610"/>
              <a:gd name="connsiteX31" fmla="*/ 316898 w 607919"/>
              <a:gd name="connsiteY31" fmla="*/ 425523 h 551610"/>
              <a:gd name="connsiteX32" fmla="*/ 322534 w 607919"/>
              <a:gd name="connsiteY32" fmla="*/ 419894 h 551610"/>
              <a:gd name="connsiteX33" fmla="*/ 358353 w 607919"/>
              <a:gd name="connsiteY33" fmla="*/ 384120 h 551610"/>
              <a:gd name="connsiteX34" fmla="*/ 365148 w 607919"/>
              <a:gd name="connsiteY34" fmla="*/ 381336 h 551610"/>
              <a:gd name="connsiteX35" fmla="*/ 448177 w 607919"/>
              <a:gd name="connsiteY35" fmla="*/ 298352 h 551610"/>
              <a:gd name="connsiteX36" fmla="*/ 450982 w 607919"/>
              <a:gd name="connsiteY36" fmla="*/ 305139 h 551610"/>
              <a:gd name="connsiteX37" fmla="*/ 450982 w 607919"/>
              <a:gd name="connsiteY37" fmla="*/ 551610 h 551610"/>
              <a:gd name="connsiteX38" fmla="*/ 394318 w 607919"/>
              <a:gd name="connsiteY38" fmla="*/ 551610 h 551610"/>
              <a:gd name="connsiteX39" fmla="*/ 394318 w 607919"/>
              <a:gd name="connsiteY39" fmla="*/ 361815 h 551610"/>
              <a:gd name="connsiteX40" fmla="*/ 403846 w 607919"/>
              <a:gd name="connsiteY40" fmla="*/ 338669 h 551610"/>
              <a:gd name="connsiteX41" fmla="*/ 441329 w 607919"/>
              <a:gd name="connsiteY41" fmla="*/ 301136 h 551610"/>
              <a:gd name="connsiteX42" fmla="*/ 448177 w 607919"/>
              <a:gd name="connsiteY42" fmla="*/ 298352 h 551610"/>
              <a:gd name="connsiteX43" fmla="*/ 527085 w 607919"/>
              <a:gd name="connsiteY43" fmla="*/ 219452 h 551610"/>
              <a:gd name="connsiteX44" fmla="*/ 529874 w 607919"/>
              <a:gd name="connsiteY44" fmla="*/ 226177 h 551610"/>
              <a:gd name="connsiteX45" fmla="*/ 529874 w 607919"/>
              <a:gd name="connsiteY45" fmla="*/ 551610 h 551610"/>
              <a:gd name="connsiteX46" fmla="*/ 477232 w 607919"/>
              <a:gd name="connsiteY46" fmla="*/ 551610 h 551610"/>
              <a:gd name="connsiteX47" fmla="*/ 477232 w 607919"/>
              <a:gd name="connsiteY47" fmla="*/ 278727 h 551610"/>
              <a:gd name="connsiteX48" fmla="*/ 486883 w 607919"/>
              <a:gd name="connsiteY48" fmla="*/ 255580 h 551610"/>
              <a:gd name="connsiteX49" fmla="*/ 520348 w 607919"/>
              <a:gd name="connsiteY49" fmla="*/ 222298 h 551610"/>
              <a:gd name="connsiteX50" fmla="*/ 527085 w 607919"/>
              <a:gd name="connsiteY50" fmla="*/ 219452 h 551610"/>
              <a:gd name="connsiteX51" fmla="*/ 387769 w 607919"/>
              <a:gd name="connsiteY51" fmla="*/ 0 h 551610"/>
              <a:gd name="connsiteX52" fmla="*/ 580729 w 607919"/>
              <a:gd name="connsiteY52" fmla="*/ 0 h 551610"/>
              <a:gd name="connsiteX53" fmla="*/ 607919 w 607919"/>
              <a:gd name="connsiteY53" fmla="*/ 26022 h 551610"/>
              <a:gd name="connsiteX54" fmla="*/ 607919 w 607919"/>
              <a:gd name="connsiteY54" fmla="*/ 219812 h 551610"/>
              <a:gd name="connsiteX55" fmla="*/ 598271 w 607919"/>
              <a:gd name="connsiteY55" fmla="*/ 223815 h 551610"/>
              <a:gd name="connsiteX56" fmla="*/ 530610 w 607919"/>
              <a:gd name="connsiteY56" fmla="*/ 156258 h 551610"/>
              <a:gd name="connsiteX57" fmla="*/ 304320 w 607919"/>
              <a:gd name="connsiteY57" fmla="*/ 382325 h 551610"/>
              <a:gd name="connsiteX58" fmla="*/ 285024 w 607919"/>
              <a:gd name="connsiteY58" fmla="*/ 382325 h 551610"/>
              <a:gd name="connsiteX59" fmla="*/ 216360 w 607919"/>
              <a:gd name="connsiteY59" fmla="*/ 313767 h 551610"/>
              <a:gd name="connsiteX60" fmla="*/ 94068 w 607919"/>
              <a:gd name="connsiteY60" fmla="*/ 435996 h 551610"/>
              <a:gd name="connsiteX61" fmla="*/ 17260 w 607919"/>
              <a:gd name="connsiteY61" fmla="*/ 435996 h 551610"/>
              <a:gd name="connsiteX62" fmla="*/ 15882 w 607919"/>
              <a:gd name="connsiteY62" fmla="*/ 434745 h 551610"/>
              <a:gd name="connsiteX63" fmla="*/ 15882 w 607919"/>
              <a:gd name="connsiteY63" fmla="*/ 358055 h 551610"/>
              <a:gd name="connsiteX64" fmla="*/ 206837 w 607919"/>
              <a:gd name="connsiteY64" fmla="*/ 167267 h 551610"/>
              <a:gd name="connsiteX65" fmla="*/ 226008 w 607919"/>
              <a:gd name="connsiteY65" fmla="*/ 167267 h 551610"/>
              <a:gd name="connsiteX66" fmla="*/ 294672 w 607919"/>
              <a:gd name="connsiteY66" fmla="*/ 235701 h 551610"/>
              <a:gd name="connsiteX67" fmla="*/ 424481 w 607919"/>
              <a:gd name="connsiteY67" fmla="*/ 105965 h 551610"/>
              <a:gd name="connsiteX68" fmla="*/ 452423 w 607919"/>
              <a:gd name="connsiteY68" fmla="*/ 78192 h 551610"/>
              <a:gd name="connsiteX69" fmla="*/ 383885 w 607919"/>
              <a:gd name="connsiteY69" fmla="*/ 9633 h 551610"/>
              <a:gd name="connsiteX70" fmla="*/ 387769 w 607919"/>
              <a:gd name="connsiteY70" fmla="*/ 0 h 5516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607919" h="551610">
                <a:moveTo>
                  <a:pt x="116112" y="473652"/>
                </a:moveTo>
                <a:cubicBezTo>
                  <a:pt x="117836" y="474356"/>
                  <a:pt x="118901" y="476670"/>
                  <a:pt x="118901" y="480423"/>
                </a:cubicBezTo>
                <a:lnTo>
                  <a:pt x="118901" y="551610"/>
                </a:lnTo>
                <a:lnTo>
                  <a:pt x="55604" y="551610"/>
                </a:lnTo>
                <a:lnTo>
                  <a:pt x="55604" y="540851"/>
                </a:lnTo>
                <a:cubicBezTo>
                  <a:pt x="55604" y="534971"/>
                  <a:pt x="59991" y="525838"/>
                  <a:pt x="65255" y="520583"/>
                </a:cubicBezTo>
                <a:lnTo>
                  <a:pt x="83555" y="502317"/>
                </a:lnTo>
                <a:lnTo>
                  <a:pt x="109375" y="476545"/>
                </a:lnTo>
                <a:cubicBezTo>
                  <a:pt x="112007" y="473855"/>
                  <a:pt x="114389" y="472948"/>
                  <a:pt x="116112" y="473652"/>
                </a:cubicBezTo>
                <a:close/>
                <a:moveTo>
                  <a:pt x="199155" y="390799"/>
                </a:moveTo>
                <a:cubicBezTo>
                  <a:pt x="200892" y="391534"/>
                  <a:pt x="201956" y="393880"/>
                  <a:pt x="201956" y="397632"/>
                </a:cubicBezTo>
                <a:lnTo>
                  <a:pt x="201956" y="551610"/>
                </a:lnTo>
                <a:lnTo>
                  <a:pt x="145363" y="551610"/>
                </a:lnTo>
                <a:lnTo>
                  <a:pt x="145363" y="454170"/>
                </a:lnTo>
                <a:cubicBezTo>
                  <a:pt x="145363" y="446665"/>
                  <a:pt x="149620" y="436283"/>
                  <a:pt x="154879" y="431030"/>
                </a:cubicBezTo>
                <a:lnTo>
                  <a:pt x="192315" y="393630"/>
                </a:lnTo>
                <a:cubicBezTo>
                  <a:pt x="195007" y="390941"/>
                  <a:pt x="197417" y="390065"/>
                  <a:pt x="199155" y="390799"/>
                </a:cubicBezTo>
                <a:close/>
                <a:moveTo>
                  <a:pt x="231082" y="388245"/>
                </a:moveTo>
                <a:cubicBezTo>
                  <a:pt x="232822" y="387525"/>
                  <a:pt x="235235" y="388401"/>
                  <a:pt x="237930" y="391091"/>
                </a:cubicBezTo>
                <a:lnTo>
                  <a:pt x="266763" y="419867"/>
                </a:lnTo>
                <a:lnTo>
                  <a:pt x="275915" y="428875"/>
                </a:lnTo>
                <a:cubicBezTo>
                  <a:pt x="280929" y="433879"/>
                  <a:pt x="284941" y="444013"/>
                  <a:pt x="284941" y="451520"/>
                </a:cubicBezTo>
                <a:lnTo>
                  <a:pt x="284941" y="551610"/>
                </a:lnTo>
                <a:lnTo>
                  <a:pt x="228277" y="551610"/>
                </a:lnTo>
                <a:lnTo>
                  <a:pt x="228277" y="394969"/>
                </a:lnTo>
                <a:cubicBezTo>
                  <a:pt x="228277" y="391278"/>
                  <a:pt x="229343" y="388964"/>
                  <a:pt x="231082" y="388245"/>
                </a:cubicBezTo>
                <a:close/>
                <a:moveTo>
                  <a:pt x="365148" y="381336"/>
                </a:moveTo>
                <a:cubicBezTo>
                  <a:pt x="366901" y="382055"/>
                  <a:pt x="367997" y="384370"/>
                  <a:pt x="367997" y="388122"/>
                </a:cubicBezTo>
                <a:lnTo>
                  <a:pt x="367997" y="551610"/>
                </a:lnTo>
                <a:lnTo>
                  <a:pt x="311262" y="551610"/>
                </a:lnTo>
                <a:lnTo>
                  <a:pt x="311262" y="444661"/>
                </a:lnTo>
                <a:cubicBezTo>
                  <a:pt x="311262" y="437156"/>
                  <a:pt x="313767" y="428650"/>
                  <a:pt x="316898" y="425523"/>
                </a:cubicBezTo>
                <a:cubicBezTo>
                  <a:pt x="320029" y="422396"/>
                  <a:pt x="322534" y="419894"/>
                  <a:pt x="322534" y="419894"/>
                </a:cubicBezTo>
                <a:lnTo>
                  <a:pt x="358353" y="384120"/>
                </a:lnTo>
                <a:cubicBezTo>
                  <a:pt x="360983" y="381493"/>
                  <a:pt x="363394" y="380617"/>
                  <a:pt x="365148" y="381336"/>
                </a:cubicBezTo>
                <a:close/>
                <a:moveTo>
                  <a:pt x="448177" y="298352"/>
                </a:moveTo>
                <a:cubicBezTo>
                  <a:pt x="449916" y="299071"/>
                  <a:pt x="450982" y="301386"/>
                  <a:pt x="450982" y="305139"/>
                </a:cubicBezTo>
                <a:lnTo>
                  <a:pt x="450982" y="551610"/>
                </a:lnTo>
                <a:lnTo>
                  <a:pt x="394318" y="551610"/>
                </a:lnTo>
                <a:lnTo>
                  <a:pt x="394318" y="361815"/>
                </a:lnTo>
                <a:cubicBezTo>
                  <a:pt x="394318" y="354308"/>
                  <a:pt x="398580" y="343924"/>
                  <a:pt x="403846" y="338669"/>
                </a:cubicBezTo>
                <a:lnTo>
                  <a:pt x="441329" y="301136"/>
                </a:lnTo>
                <a:cubicBezTo>
                  <a:pt x="444024" y="298508"/>
                  <a:pt x="446438" y="297633"/>
                  <a:pt x="448177" y="298352"/>
                </a:cubicBezTo>
                <a:close/>
                <a:moveTo>
                  <a:pt x="527085" y="219452"/>
                </a:moveTo>
                <a:cubicBezTo>
                  <a:pt x="528809" y="220171"/>
                  <a:pt x="529874" y="222486"/>
                  <a:pt x="529874" y="226177"/>
                </a:cubicBezTo>
                <a:lnTo>
                  <a:pt x="529874" y="551610"/>
                </a:lnTo>
                <a:lnTo>
                  <a:pt x="477232" y="551610"/>
                </a:lnTo>
                <a:lnTo>
                  <a:pt x="477232" y="278727"/>
                </a:lnTo>
                <a:cubicBezTo>
                  <a:pt x="477232" y="271345"/>
                  <a:pt x="481494" y="260960"/>
                  <a:pt x="486883" y="255580"/>
                </a:cubicBezTo>
                <a:lnTo>
                  <a:pt x="520348" y="222298"/>
                </a:lnTo>
                <a:cubicBezTo>
                  <a:pt x="522980" y="219608"/>
                  <a:pt x="525362" y="218732"/>
                  <a:pt x="527085" y="219452"/>
                </a:cubicBezTo>
                <a:close/>
                <a:moveTo>
                  <a:pt x="387769" y="0"/>
                </a:moveTo>
                <a:lnTo>
                  <a:pt x="580729" y="0"/>
                </a:lnTo>
                <a:cubicBezTo>
                  <a:pt x="594512" y="0"/>
                  <a:pt x="607919" y="12135"/>
                  <a:pt x="607919" y="26022"/>
                </a:cubicBezTo>
                <a:lnTo>
                  <a:pt x="607919" y="219812"/>
                </a:lnTo>
                <a:cubicBezTo>
                  <a:pt x="607919" y="227318"/>
                  <a:pt x="603534" y="229070"/>
                  <a:pt x="598271" y="223815"/>
                </a:cubicBezTo>
                <a:lnTo>
                  <a:pt x="530610" y="156258"/>
                </a:lnTo>
                <a:lnTo>
                  <a:pt x="304320" y="382325"/>
                </a:lnTo>
                <a:cubicBezTo>
                  <a:pt x="298932" y="387580"/>
                  <a:pt x="290412" y="387580"/>
                  <a:pt x="285024" y="382325"/>
                </a:cubicBezTo>
                <a:lnTo>
                  <a:pt x="216360" y="313767"/>
                </a:lnTo>
                <a:lnTo>
                  <a:pt x="94068" y="435996"/>
                </a:lnTo>
                <a:cubicBezTo>
                  <a:pt x="72767" y="457264"/>
                  <a:pt x="38435" y="457264"/>
                  <a:pt x="17260" y="435996"/>
                </a:cubicBezTo>
                <a:lnTo>
                  <a:pt x="15882" y="434745"/>
                </a:lnTo>
                <a:cubicBezTo>
                  <a:pt x="-5294" y="413477"/>
                  <a:pt x="-5294" y="379198"/>
                  <a:pt x="15882" y="358055"/>
                </a:cubicBezTo>
                <a:lnTo>
                  <a:pt x="206837" y="167267"/>
                </a:lnTo>
                <a:cubicBezTo>
                  <a:pt x="212100" y="161888"/>
                  <a:pt x="220745" y="161888"/>
                  <a:pt x="226008" y="167267"/>
                </a:cubicBezTo>
                <a:lnTo>
                  <a:pt x="294672" y="235701"/>
                </a:lnTo>
                <a:lnTo>
                  <a:pt x="424481" y="105965"/>
                </a:lnTo>
                <a:lnTo>
                  <a:pt x="452423" y="78192"/>
                </a:lnTo>
                <a:lnTo>
                  <a:pt x="383885" y="9633"/>
                </a:lnTo>
                <a:cubicBezTo>
                  <a:pt x="378497" y="4379"/>
                  <a:pt x="380376" y="0"/>
                  <a:pt x="387769" y="0"/>
                </a:cubicBezTo>
                <a:close/>
              </a:path>
            </a:pathLst>
          </a:cu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7493997" y="182263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设计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7493997" y="221474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x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8634953" y="319911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设计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8634953" y="359122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x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7493997" y="4575594"/>
            <a:ext cx="1862718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设计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7493997" y="4967708"/>
            <a:ext cx="1862718" cy="4867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x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669925" y="2946353"/>
            <a:ext cx="3062171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设计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669925" y="3338466"/>
            <a:ext cx="3062171" cy="99228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/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endParaRPr lang="en-US" altLang="zh-CN" sz="100" dirty="0">
              <a:solidFill>
                <a:schemeClr val="tx1"/>
              </a:solidFill>
              <a:cs typeface="+mn-ea"/>
              <a:sym typeface="+mn-lt"/>
            </a:endParaRPr>
          </a:p>
          <a:p>
            <a:pPr marL="171450" indent="-171450" algn="r">
              <a:buFont typeface="Arial" panose="020B0604020202020204" pitchFamily="34" charset="0"/>
              <a:buChar char="•"/>
            </a:pP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3075026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创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CE954A4D-5300-4298-8943-475694C28BA5}"/>
              </a:ext>
            </a:extLst>
          </p:cNvPr>
          <p:cNvSpPr/>
          <p:nvPr/>
        </p:nvSpPr>
        <p:spPr bwMode="auto">
          <a:xfrm>
            <a:off x="1559441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673100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创新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673100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75AADD5C-4C44-4ADD-A795-E09C7964193D}"/>
              </a:ext>
            </a:extLst>
          </p:cNvPr>
          <p:cNvSpPr/>
          <p:nvPr/>
        </p:nvSpPr>
        <p:spPr>
          <a:xfrm>
            <a:off x="673100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256355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对话气泡: 圆角矩形 8">
            <a:extLst>
              <a:ext uri="{FF2B5EF4-FFF2-40B4-BE49-F238E27FC236}">
                <a16:creationId xmlns:a16="http://schemas.microsoft.com/office/drawing/2014/main" id="{CAA8467E-CE75-4FC9-BEFC-8C1A9347667C}"/>
              </a:ext>
            </a:extLst>
          </p:cNvPr>
          <p:cNvSpPr/>
          <p:nvPr/>
        </p:nvSpPr>
        <p:spPr>
          <a:xfrm rot="10800000" flipV="1">
            <a:off x="673100" y="4401671"/>
            <a:ext cx="10845800" cy="1745129"/>
          </a:xfrm>
          <a:prstGeom prst="wedgeRoundRectCallout">
            <a:avLst>
              <a:gd name="adj1" fmla="val -217"/>
              <a:gd name="adj2" fmla="val -6747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lvl="0" algn="ctr" defTabSz="913765">
              <a:buSzPct val="25000"/>
              <a:defRPr/>
            </a:pPr>
            <a:r>
              <a:rPr lang="en-US" altLang="zh-CN" sz="2800" b="1">
                <a:solidFill>
                  <a:schemeClr val="tx1"/>
                </a:solidFill>
                <a:cs typeface="+mn-ea"/>
                <a:sym typeface="+mn-lt"/>
              </a:rPr>
              <a:t>Unified fonts make reading mor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2800" b="1">
                <a:solidFill>
                  <a:schemeClr val="tx1"/>
                </a:solidFill>
                <a:cs typeface="+mn-ea"/>
                <a:sym typeface="+mn-lt"/>
              </a:rPr>
              <a:t>e fluent.</a:t>
            </a:r>
            <a:endParaRPr lang="en-US" altLang="zh-CN" sz="28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830402A-FAE6-488A-9AAC-B97CF459E048}"/>
              </a:ext>
            </a:extLst>
          </p:cNvPr>
          <p:cNvSpPr/>
          <p:nvPr/>
        </p:nvSpPr>
        <p:spPr bwMode="auto">
          <a:xfrm>
            <a:off x="4399087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935EB0C-DB18-48C9-A84A-2172F143803E}"/>
              </a:ext>
            </a:extLst>
          </p:cNvPr>
          <p:cNvSpPr/>
          <p:nvPr/>
        </p:nvSpPr>
        <p:spPr bwMode="auto">
          <a:xfrm>
            <a:off x="3512745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创新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6AA42A61-10AF-4D71-8637-853CCC0FCFD7}"/>
              </a:ext>
            </a:extLst>
          </p:cNvPr>
          <p:cNvSpPr/>
          <p:nvPr/>
        </p:nvSpPr>
        <p:spPr>
          <a:xfrm>
            <a:off x="3512745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7119200-3DDE-4017-80B7-1FAF633688C8}"/>
              </a:ext>
            </a:extLst>
          </p:cNvPr>
          <p:cNvSpPr/>
          <p:nvPr/>
        </p:nvSpPr>
        <p:spPr>
          <a:xfrm>
            <a:off x="3512745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E998D13-A47F-41AA-B512-637F01795E3C}"/>
              </a:ext>
            </a:extLst>
          </p:cNvPr>
          <p:cNvSpPr/>
          <p:nvPr/>
        </p:nvSpPr>
        <p:spPr bwMode="auto">
          <a:xfrm>
            <a:off x="7238733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51C1B4E2-BAED-40E6-BE63-973C80F0EA35}"/>
              </a:ext>
            </a:extLst>
          </p:cNvPr>
          <p:cNvSpPr/>
          <p:nvPr/>
        </p:nvSpPr>
        <p:spPr bwMode="auto">
          <a:xfrm>
            <a:off x="6352391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创新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027BF0C-DC91-461C-9917-B0CCA75BAD6A}"/>
              </a:ext>
            </a:extLst>
          </p:cNvPr>
          <p:cNvSpPr/>
          <p:nvPr/>
        </p:nvSpPr>
        <p:spPr>
          <a:xfrm>
            <a:off x="6352391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7412894-546B-4682-8EEA-EE2807B27219}"/>
              </a:ext>
            </a:extLst>
          </p:cNvPr>
          <p:cNvSpPr/>
          <p:nvPr/>
        </p:nvSpPr>
        <p:spPr>
          <a:xfrm>
            <a:off x="6352391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1D50107-6A75-436A-9319-1C7D8AFCFB88}"/>
              </a:ext>
            </a:extLst>
          </p:cNvPr>
          <p:cNvSpPr/>
          <p:nvPr/>
        </p:nvSpPr>
        <p:spPr bwMode="auto">
          <a:xfrm>
            <a:off x="10078378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BCA818E7-C8FB-4FB1-A9FF-42B1F77393DC}"/>
              </a:ext>
            </a:extLst>
          </p:cNvPr>
          <p:cNvSpPr/>
          <p:nvPr/>
        </p:nvSpPr>
        <p:spPr bwMode="auto">
          <a:xfrm>
            <a:off x="9192037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创新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E14C6946-4445-4C98-A1C2-8DADCF5CF84A}"/>
              </a:ext>
            </a:extLst>
          </p:cNvPr>
          <p:cNvSpPr/>
          <p:nvPr/>
        </p:nvSpPr>
        <p:spPr>
          <a:xfrm>
            <a:off x="9192037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5CA11FB-1319-4051-ACB6-F98DA2357A88}"/>
              </a:ext>
            </a:extLst>
          </p:cNvPr>
          <p:cNvSpPr/>
          <p:nvPr/>
        </p:nvSpPr>
        <p:spPr>
          <a:xfrm>
            <a:off x="9192037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84D5C6AC-5D86-4B58-A48E-0745CA7621DB}"/>
              </a:ext>
            </a:extLst>
          </p:cNvPr>
          <p:cNvCxnSpPr/>
          <p:nvPr/>
        </p:nvCxnSpPr>
        <p:spPr>
          <a:xfrm>
            <a:off x="6096001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5AF1C206-C21C-4E05-92E9-F9A48586350C}"/>
              </a:ext>
            </a:extLst>
          </p:cNvPr>
          <p:cNvCxnSpPr/>
          <p:nvPr/>
        </p:nvCxnSpPr>
        <p:spPr>
          <a:xfrm>
            <a:off x="8935646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681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研究内容成果与总讨论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751825" y="2684430"/>
            <a:ext cx="1752808" cy="15240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301807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假设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7" name="组合 6">
            <a:extLst>
              <a:ext uri="{FF2B5EF4-FFF2-40B4-BE49-F238E27FC236}">
                <a16:creationId xmlns:a16="http://schemas.microsoft.com/office/drawing/2014/main" id="{BC75C4A4-363F-4B62-984D-C0BA1984D143}"/>
              </a:ext>
            </a:extLst>
          </p:cNvPr>
          <p:cNvGrpSpPr/>
          <p:nvPr/>
        </p:nvGrpSpPr>
        <p:grpSpPr>
          <a:xfrm>
            <a:off x="4587259" y="1974719"/>
            <a:ext cx="2908571" cy="2908571"/>
            <a:chOff x="4488867" y="1821867"/>
            <a:chExt cx="3214266" cy="3214266"/>
          </a:xfrm>
        </p:grpSpPr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C19466B-8E6B-41E8-8F43-508E1BB07FB2}"/>
                </a:ext>
              </a:extLst>
            </p:cNvPr>
            <p:cNvSpPr/>
            <p:nvPr/>
          </p:nvSpPr>
          <p:spPr bwMode="auto">
            <a:xfrm>
              <a:off x="4488867" y="3424170"/>
              <a:ext cx="1613574" cy="1611963"/>
            </a:xfrm>
            <a:custGeom>
              <a:avLst/>
              <a:gdLst>
                <a:gd name="connsiteX0" fmla="*/ 0 w 1613574"/>
                <a:gd name="connsiteY0" fmla="*/ 0 h 1611963"/>
                <a:gd name="connsiteX1" fmla="*/ 365319 w 1613574"/>
                <a:gd name="connsiteY1" fmla="*/ 0 h 1611963"/>
                <a:gd name="connsiteX2" fmla="*/ 369704 w 1613574"/>
                <a:gd name="connsiteY2" fmla="*/ 0 h 1611963"/>
                <a:gd name="connsiteX3" fmla="*/ 369460 w 1613574"/>
                <a:gd name="connsiteY3" fmla="*/ 4830 h 1611963"/>
                <a:gd name="connsiteX4" fmla="*/ 1607133 w 1613574"/>
                <a:gd name="connsiteY4" fmla="*/ 1242502 h 1611963"/>
                <a:gd name="connsiteX5" fmla="*/ 1613574 w 1613574"/>
                <a:gd name="connsiteY5" fmla="*/ 1242177 h 1611963"/>
                <a:gd name="connsiteX6" fmla="*/ 1613574 w 1613574"/>
                <a:gd name="connsiteY6" fmla="*/ 1244216 h 1611963"/>
                <a:gd name="connsiteX7" fmla="*/ 1613574 w 1613574"/>
                <a:gd name="connsiteY7" fmla="*/ 1611963 h 1611963"/>
                <a:gd name="connsiteX8" fmla="*/ 0 w 1613574"/>
                <a:gd name="connsiteY8" fmla="*/ 0 h 161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3574" h="1611963">
                  <a:moveTo>
                    <a:pt x="0" y="0"/>
                  </a:moveTo>
                  <a:cubicBezTo>
                    <a:pt x="0" y="0"/>
                    <a:pt x="0" y="0"/>
                    <a:pt x="365319" y="0"/>
                  </a:cubicBezTo>
                  <a:lnTo>
                    <a:pt x="369704" y="0"/>
                  </a:lnTo>
                  <a:lnTo>
                    <a:pt x="369460" y="4830"/>
                  </a:lnTo>
                  <a:cubicBezTo>
                    <a:pt x="369460" y="688377"/>
                    <a:pt x="923585" y="1242502"/>
                    <a:pt x="1607133" y="1242502"/>
                  </a:cubicBezTo>
                  <a:lnTo>
                    <a:pt x="1613574" y="1242177"/>
                  </a:lnTo>
                  <a:lnTo>
                    <a:pt x="1613574" y="1244216"/>
                  </a:lnTo>
                  <a:cubicBezTo>
                    <a:pt x="1613574" y="1324682"/>
                    <a:pt x="1613574" y="1441722"/>
                    <a:pt x="1613574" y="1611963"/>
                  </a:cubicBezTo>
                  <a:cubicBezTo>
                    <a:pt x="724291" y="1611963"/>
                    <a:pt x="0" y="888396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EDE78358-B8CD-421F-AC98-5B0BDCB67936}"/>
                </a:ext>
              </a:extLst>
            </p:cNvPr>
            <p:cNvSpPr/>
            <p:nvPr/>
          </p:nvSpPr>
          <p:spPr bwMode="auto">
            <a:xfrm>
              <a:off x="4488867" y="1821867"/>
              <a:ext cx="1613574" cy="1613574"/>
            </a:xfrm>
            <a:custGeom>
              <a:avLst/>
              <a:gdLst>
                <a:gd name="connsiteX0" fmla="*/ 1613574 w 1613574"/>
                <a:gd name="connsiteY0" fmla="*/ 0 h 1613574"/>
                <a:gd name="connsiteX1" fmla="*/ 1613574 w 1613574"/>
                <a:gd name="connsiteY1" fmla="*/ 363445 h 1613574"/>
                <a:gd name="connsiteX2" fmla="*/ 1613574 w 1613574"/>
                <a:gd name="connsiteY2" fmla="*/ 369786 h 1613574"/>
                <a:gd name="connsiteX3" fmla="*/ 1607133 w 1613574"/>
                <a:gd name="connsiteY3" fmla="*/ 369461 h 1613574"/>
                <a:gd name="connsiteX4" fmla="*/ 369460 w 1613574"/>
                <a:gd name="connsiteY4" fmla="*/ 1607133 h 1613574"/>
                <a:gd name="connsiteX5" fmla="*/ 369786 w 1613574"/>
                <a:gd name="connsiteY5" fmla="*/ 1613574 h 1613574"/>
                <a:gd name="connsiteX6" fmla="*/ 368115 w 1613574"/>
                <a:gd name="connsiteY6" fmla="*/ 1613574 h 1613574"/>
                <a:gd name="connsiteX7" fmla="*/ 0 w 1613574"/>
                <a:gd name="connsiteY7" fmla="*/ 1613574 h 1613574"/>
                <a:gd name="connsiteX8" fmla="*/ 1613574 w 1613574"/>
                <a:gd name="connsiteY8" fmla="*/ 0 h 161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3574" h="1613574">
                  <a:moveTo>
                    <a:pt x="1613574" y="0"/>
                  </a:moveTo>
                  <a:cubicBezTo>
                    <a:pt x="1613574" y="0"/>
                    <a:pt x="1613574" y="0"/>
                    <a:pt x="1613574" y="363445"/>
                  </a:cubicBezTo>
                  <a:lnTo>
                    <a:pt x="1613574" y="369786"/>
                  </a:lnTo>
                  <a:lnTo>
                    <a:pt x="1607133" y="369461"/>
                  </a:lnTo>
                  <a:cubicBezTo>
                    <a:pt x="923585" y="369461"/>
                    <a:pt x="369460" y="923586"/>
                    <a:pt x="369460" y="1607133"/>
                  </a:cubicBezTo>
                  <a:lnTo>
                    <a:pt x="369786" y="1613574"/>
                  </a:lnTo>
                  <a:lnTo>
                    <a:pt x="368115" y="1613574"/>
                  </a:lnTo>
                  <a:cubicBezTo>
                    <a:pt x="287569" y="1613574"/>
                    <a:pt x="170411" y="1613574"/>
                    <a:pt x="0" y="1613574"/>
                  </a:cubicBezTo>
                  <a:cubicBezTo>
                    <a:pt x="0" y="724291"/>
                    <a:pt x="724291" y="0"/>
                    <a:pt x="1613574" y="0"/>
                  </a:cubicBez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C700F865-871A-437D-8E21-ADAE2A75E6DC}"/>
                </a:ext>
              </a:extLst>
            </p:cNvPr>
            <p:cNvSpPr/>
            <p:nvPr/>
          </p:nvSpPr>
          <p:spPr bwMode="auto">
            <a:xfrm>
              <a:off x="6091169" y="3424170"/>
              <a:ext cx="1611964" cy="1611963"/>
            </a:xfrm>
            <a:custGeom>
              <a:avLst/>
              <a:gdLst>
                <a:gd name="connsiteX0" fmla="*/ 1242260 w 1611964"/>
                <a:gd name="connsiteY0" fmla="*/ 0 h 1611963"/>
                <a:gd name="connsiteX1" fmla="*/ 1244217 w 1611964"/>
                <a:gd name="connsiteY1" fmla="*/ 0 h 1611963"/>
                <a:gd name="connsiteX2" fmla="*/ 1611964 w 1611964"/>
                <a:gd name="connsiteY2" fmla="*/ 0 h 1611963"/>
                <a:gd name="connsiteX3" fmla="*/ 0 w 1611964"/>
                <a:gd name="connsiteY3" fmla="*/ 1611963 h 1611963"/>
                <a:gd name="connsiteX4" fmla="*/ 0 w 1611964"/>
                <a:gd name="connsiteY4" fmla="*/ 1247009 h 1611963"/>
                <a:gd name="connsiteX5" fmla="*/ 0 w 1611964"/>
                <a:gd name="connsiteY5" fmla="*/ 1242258 h 1611963"/>
                <a:gd name="connsiteX6" fmla="*/ 4831 w 1611964"/>
                <a:gd name="connsiteY6" fmla="*/ 1242502 h 1611963"/>
                <a:gd name="connsiteX7" fmla="*/ 1242504 w 1611964"/>
                <a:gd name="connsiteY7" fmla="*/ 4830 h 1611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11964" h="1611963">
                  <a:moveTo>
                    <a:pt x="1242260" y="0"/>
                  </a:moveTo>
                  <a:lnTo>
                    <a:pt x="1244217" y="0"/>
                  </a:lnTo>
                  <a:cubicBezTo>
                    <a:pt x="1324683" y="0"/>
                    <a:pt x="1441723" y="0"/>
                    <a:pt x="1611964" y="0"/>
                  </a:cubicBezTo>
                  <a:cubicBezTo>
                    <a:pt x="1611964" y="888396"/>
                    <a:pt x="888396" y="1611963"/>
                    <a:pt x="0" y="1611963"/>
                  </a:cubicBezTo>
                  <a:cubicBezTo>
                    <a:pt x="0" y="1611963"/>
                    <a:pt x="0" y="1611963"/>
                    <a:pt x="0" y="1247009"/>
                  </a:cubicBezTo>
                  <a:lnTo>
                    <a:pt x="0" y="1242258"/>
                  </a:lnTo>
                  <a:lnTo>
                    <a:pt x="4831" y="1242502"/>
                  </a:lnTo>
                  <a:cubicBezTo>
                    <a:pt x="688379" y="1242502"/>
                    <a:pt x="1242504" y="688377"/>
                    <a:pt x="1242504" y="4830"/>
                  </a:cubicBez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FBAA959-2685-4FF1-9443-EEBC83C517B3}"/>
                </a:ext>
              </a:extLst>
            </p:cNvPr>
            <p:cNvSpPr/>
            <p:nvPr/>
          </p:nvSpPr>
          <p:spPr bwMode="auto">
            <a:xfrm>
              <a:off x="6091169" y="1821867"/>
              <a:ext cx="1611964" cy="1613574"/>
            </a:xfrm>
            <a:custGeom>
              <a:avLst/>
              <a:gdLst>
                <a:gd name="connsiteX0" fmla="*/ 0 w 1611964"/>
                <a:gd name="connsiteY0" fmla="*/ 0 h 1613574"/>
                <a:gd name="connsiteX1" fmla="*/ 1611964 w 1611964"/>
                <a:gd name="connsiteY1" fmla="*/ 1613574 h 1613574"/>
                <a:gd name="connsiteX2" fmla="*/ 1247010 w 1611964"/>
                <a:gd name="connsiteY2" fmla="*/ 1613574 h 1613574"/>
                <a:gd name="connsiteX3" fmla="*/ 1242179 w 1611964"/>
                <a:gd name="connsiteY3" fmla="*/ 1613574 h 1613574"/>
                <a:gd name="connsiteX4" fmla="*/ 1242504 w 1611964"/>
                <a:gd name="connsiteY4" fmla="*/ 1607133 h 1613574"/>
                <a:gd name="connsiteX5" fmla="*/ 4831 w 1611964"/>
                <a:gd name="connsiteY5" fmla="*/ 369461 h 1613574"/>
                <a:gd name="connsiteX6" fmla="*/ 0 w 1611964"/>
                <a:gd name="connsiteY6" fmla="*/ 369705 h 1613574"/>
                <a:gd name="connsiteX7" fmla="*/ 0 w 1611964"/>
                <a:gd name="connsiteY7" fmla="*/ 366227 h 1613574"/>
                <a:gd name="connsiteX8" fmla="*/ 0 w 1611964"/>
                <a:gd name="connsiteY8" fmla="*/ 0 h 1613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11964" h="1613574">
                  <a:moveTo>
                    <a:pt x="0" y="0"/>
                  </a:moveTo>
                  <a:cubicBezTo>
                    <a:pt x="888396" y="0"/>
                    <a:pt x="1611964" y="724291"/>
                    <a:pt x="1611964" y="1613574"/>
                  </a:cubicBezTo>
                  <a:cubicBezTo>
                    <a:pt x="1611964" y="1613574"/>
                    <a:pt x="1611964" y="1613574"/>
                    <a:pt x="1247010" y="1613574"/>
                  </a:cubicBezTo>
                  <a:lnTo>
                    <a:pt x="1242179" y="1613574"/>
                  </a:lnTo>
                  <a:lnTo>
                    <a:pt x="1242504" y="1607133"/>
                  </a:lnTo>
                  <a:cubicBezTo>
                    <a:pt x="1242504" y="923586"/>
                    <a:pt x="688379" y="369461"/>
                    <a:pt x="4831" y="369461"/>
                  </a:cubicBezTo>
                  <a:lnTo>
                    <a:pt x="0" y="369705"/>
                  </a:lnTo>
                  <a:lnTo>
                    <a:pt x="0" y="366227"/>
                  </a:lnTo>
                  <a:cubicBezTo>
                    <a:pt x="0" y="286094"/>
                    <a:pt x="0" y="169537"/>
                    <a:pt x="0" y="0"/>
                  </a:cubicBezTo>
                  <a:close/>
                </a:path>
              </a:pathLst>
            </a:custGeom>
            <a:solidFill>
              <a:schemeClr val="accent1"/>
            </a:solidFill>
            <a:ln w="50800">
              <a:solidFill>
                <a:schemeClr val="bg1"/>
              </a:solidFill>
              <a:round/>
              <a:headEnd/>
              <a:tailEnd/>
            </a:ln>
          </p:spPr>
          <p:txBody>
            <a:bodyPr wrap="square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8" name="椭圆 7">
            <a:extLst>
              <a:ext uri="{FF2B5EF4-FFF2-40B4-BE49-F238E27FC236}">
                <a16:creationId xmlns:a16="http://schemas.microsoft.com/office/drawing/2014/main" id="{6641A70A-ADE4-48C2-822A-C7781DB35547}"/>
              </a:ext>
            </a:extLst>
          </p:cNvPr>
          <p:cNvSpPr/>
          <p:nvPr/>
        </p:nvSpPr>
        <p:spPr>
          <a:xfrm>
            <a:off x="4755054" y="2276337"/>
            <a:ext cx="689718" cy="68971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>
            <a:normAutofit/>
          </a:bodyPr>
          <a:lstStyle/>
          <a:p>
            <a:pPr algn="ctr"/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Q</a:t>
            </a:r>
            <a:r>
              <a:rPr lang="en-US" sz="100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1</a:t>
            </a:r>
            <a:endParaRPr sz="1600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391F2DEB-5EBE-430A-89E2-319DD2B2627B}"/>
              </a:ext>
            </a:extLst>
          </p:cNvPr>
          <p:cNvSpPr/>
          <p:nvPr/>
        </p:nvSpPr>
        <p:spPr>
          <a:xfrm>
            <a:off x="6755960" y="2276337"/>
            <a:ext cx="689718" cy="68971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>
            <a:normAutofit/>
          </a:bodyPr>
          <a:lstStyle/>
          <a:p>
            <a:pPr algn="ctr"/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Q</a:t>
            </a:r>
            <a:r>
              <a:rPr lang="en-US" sz="100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2</a:t>
            </a:r>
            <a:endParaRPr sz="1600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E12F3321-6D19-44BE-B8D0-41BD72A935B9}"/>
              </a:ext>
            </a:extLst>
          </p:cNvPr>
          <p:cNvSpPr/>
          <p:nvPr/>
        </p:nvSpPr>
        <p:spPr>
          <a:xfrm>
            <a:off x="4755054" y="4048020"/>
            <a:ext cx="689718" cy="68971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>
            <a:normAutofit/>
          </a:bodyPr>
          <a:lstStyle/>
          <a:p>
            <a:pPr algn="ctr"/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Q</a:t>
            </a:r>
            <a:r>
              <a:rPr lang="en-US" sz="100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4</a:t>
            </a:r>
            <a:endParaRPr sz="1600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D9A435BB-9CDE-4E94-A268-FE83A999DC95}"/>
              </a:ext>
            </a:extLst>
          </p:cNvPr>
          <p:cNvSpPr/>
          <p:nvPr/>
        </p:nvSpPr>
        <p:spPr>
          <a:xfrm>
            <a:off x="6755960" y="4048020"/>
            <a:ext cx="689718" cy="689717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0000" tIns="46800" rIns="90000" bIns="46800" anchor="ctr">
            <a:normAutofit/>
          </a:bodyPr>
          <a:lstStyle/>
          <a:p>
            <a:pPr algn="ctr"/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Q</a:t>
            </a:r>
            <a:r>
              <a:rPr lang="en-US" sz="100" i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600" i="1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sz="1600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45E6488B-42D4-478B-99FE-3243456B0734}"/>
              </a:ext>
            </a:extLst>
          </p:cNvPr>
          <p:cNvSpPr/>
          <p:nvPr/>
        </p:nvSpPr>
        <p:spPr bwMode="auto">
          <a:xfrm>
            <a:off x="5755818" y="2794900"/>
            <a:ext cx="627888" cy="647304"/>
          </a:xfrm>
          <a:custGeom>
            <a:avLst/>
            <a:gdLst>
              <a:gd name="T0" fmla="*/ 5363 w 5499"/>
              <a:gd name="T1" fmla="*/ 3729 h 5677"/>
              <a:gd name="T2" fmla="*/ 4520 w 5499"/>
              <a:gd name="T3" fmla="*/ 2649 h 5677"/>
              <a:gd name="T4" fmla="*/ 3673 w 5499"/>
              <a:gd name="T5" fmla="*/ 3040 h 5677"/>
              <a:gd name="T6" fmla="*/ 3023 w 5499"/>
              <a:gd name="T7" fmla="*/ 2741 h 5677"/>
              <a:gd name="T8" fmla="*/ 3454 w 5499"/>
              <a:gd name="T9" fmla="*/ 1972 h 5677"/>
              <a:gd name="T10" fmla="*/ 3507 w 5499"/>
              <a:gd name="T11" fmla="*/ 1328 h 5677"/>
              <a:gd name="T12" fmla="*/ 2170 w 5499"/>
              <a:gd name="T13" fmla="*/ 0 h 5677"/>
              <a:gd name="T14" fmla="*/ 1102 w 5499"/>
              <a:gd name="T15" fmla="*/ 1508 h 5677"/>
              <a:gd name="T16" fmla="*/ 1279 w 5499"/>
              <a:gd name="T17" fmla="*/ 2144 h 5677"/>
              <a:gd name="T18" fmla="*/ 1534 w 5499"/>
              <a:gd name="T19" fmla="*/ 2877 h 5677"/>
              <a:gd name="T20" fmla="*/ 3 w 5499"/>
              <a:gd name="T21" fmla="*/ 5432 h 5677"/>
              <a:gd name="T22" fmla="*/ 4372 w 5499"/>
              <a:gd name="T23" fmla="*/ 5653 h 5677"/>
              <a:gd name="T24" fmla="*/ 4996 w 5499"/>
              <a:gd name="T25" fmla="*/ 5161 h 5677"/>
              <a:gd name="T26" fmla="*/ 5363 w 5499"/>
              <a:gd name="T27" fmla="*/ 3960 h 5677"/>
              <a:gd name="T28" fmla="*/ 2075 w 5499"/>
              <a:gd name="T29" fmla="*/ 3721 h 5677"/>
              <a:gd name="T30" fmla="*/ 1829 w 5499"/>
              <a:gd name="T31" fmla="*/ 3415 h 5677"/>
              <a:gd name="T32" fmla="*/ 1924 w 5499"/>
              <a:gd name="T33" fmla="*/ 2970 h 5677"/>
              <a:gd name="T34" fmla="*/ 2135 w 5499"/>
              <a:gd name="T35" fmla="*/ 3252 h 5677"/>
              <a:gd name="T36" fmla="*/ 2140 w 5499"/>
              <a:gd name="T37" fmla="*/ 3663 h 5677"/>
              <a:gd name="T38" fmla="*/ 2592 w 5499"/>
              <a:gd name="T39" fmla="*/ 3721 h 5677"/>
              <a:gd name="T40" fmla="*/ 2492 w 5499"/>
              <a:gd name="T41" fmla="*/ 3318 h 5677"/>
              <a:gd name="T42" fmla="*/ 2533 w 5499"/>
              <a:gd name="T43" fmla="*/ 3090 h 5677"/>
              <a:gd name="T44" fmla="*/ 2807 w 5499"/>
              <a:gd name="T45" fmla="*/ 2972 h 5677"/>
              <a:gd name="T46" fmla="*/ 2825 w 5499"/>
              <a:gd name="T47" fmla="*/ 3454 h 5677"/>
              <a:gd name="T48" fmla="*/ 1776 w 5499"/>
              <a:gd name="T49" fmla="*/ 2351 h 5677"/>
              <a:gd name="T50" fmla="*/ 1477 w 5499"/>
              <a:gd name="T51" fmla="*/ 1747 h 5677"/>
              <a:gd name="T52" fmla="*/ 1513 w 5499"/>
              <a:gd name="T53" fmla="*/ 1522 h 5677"/>
              <a:gd name="T54" fmla="*/ 1575 w 5499"/>
              <a:gd name="T55" fmla="*/ 1348 h 5677"/>
              <a:gd name="T56" fmla="*/ 2781 w 5499"/>
              <a:gd name="T57" fmla="*/ 1554 h 5677"/>
              <a:gd name="T58" fmla="*/ 3119 w 5499"/>
              <a:gd name="T59" fmla="*/ 1522 h 5677"/>
              <a:gd name="T60" fmla="*/ 3219 w 5499"/>
              <a:gd name="T61" fmla="*/ 1693 h 5677"/>
              <a:gd name="T62" fmla="*/ 3123 w 5499"/>
              <a:gd name="T63" fmla="*/ 1815 h 5677"/>
              <a:gd name="T64" fmla="*/ 5035 w 5499"/>
              <a:gd name="T65" fmla="*/ 4769 h 5677"/>
              <a:gd name="T66" fmla="*/ 4520 w 5499"/>
              <a:gd name="T67" fmla="*/ 5367 h 5677"/>
              <a:gd name="T68" fmla="*/ 3887 w 5499"/>
              <a:gd name="T69" fmla="*/ 4672 h 5677"/>
              <a:gd name="T70" fmla="*/ 4121 w 5499"/>
              <a:gd name="T71" fmla="*/ 4395 h 5677"/>
              <a:gd name="T72" fmla="*/ 4693 w 5499"/>
              <a:gd name="T73" fmla="*/ 4475 h 5677"/>
              <a:gd name="T74" fmla="*/ 3985 w 5499"/>
              <a:gd name="T75" fmla="*/ 4136 h 5677"/>
              <a:gd name="T76" fmla="*/ 4355 w 5499"/>
              <a:gd name="T77" fmla="*/ 3316 h 5677"/>
              <a:gd name="T78" fmla="*/ 4686 w 5499"/>
              <a:gd name="T79" fmla="*/ 3124 h 5677"/>
              <a:gd name="T80" fmla="*/ 5064 w 5499"/>
              <a:gd name="T81" fmla="*/ 3650 h 5677"/>
              <a:gd name="T82" fmla="*/ 4693 w 5499"/>
              <a:gd name="T83" fmla="*/ 3744 h 5677"/>
              <a:gd name="T84" fmla="*/ 4379 w 5499"/>
              <a:gd name="T85" fmla="*/ 3819 h 5677"/>
              <a:gd name="T86" fmla="*/ 5110 w 5499"/>
              <a:gd name="T87" fmla="*/ 4137 h 56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499" h="5677">
                <a:moveTo>
                  <a:pt x="5363" y="3960"/>
                </a:moveTo>
                <a:cubicBezTo>
                  <a:pt x="5342" y="3930"/>
                  <a:pt x="5320" y="3902"/>
                  <a:pt x="5296" y="3876"/>
                </a:cubicBezTo>
                <a:cubicBezTo>
                  <a:pt x="5326" y="3832"/>
                  <a:pt x="5349" y="3782"/>
                  <a:pt x="5363" y="3729"/>
                </a:cubicBezTo>
                <a:cubicBezTo>
                  <a:pt x="5405" y="3570"/>
                  <a:pt x="5363" y="3403"/>
                  <a:pt x="5251" y="3283"/>
                </a:cubicBezTo>
                <a:cubicBezTo>
                  <a:pt x="5178" y="3205"/>
                  <a:pt x="5093" y="3143"/>
                  <a:pt x="4995" y="3096"/>
                </a:cubicBezTo>
                <a:cubicBezTo>
                  <a:pt x="4980" y="2847"/>
                  <a:pt x="4773" y="2649"/>
                  <a:pt x="4520" y="2649"/>
                </a:cubicBezTo>
                <a:cubicBezTo>
                  <a:pt x="4272" y="2649"/>
                  <a:pt x="4067" y="2841"/>
                  <a:pt x="4047" y="3085"/>
                </a:cubicBezTo>
                <a:cubicBezTo>
                  <a:pt x="4017" y="3098"/>
                  <a:pt x="3989" y="3112"/>
                  <a:pt x="3962" y="3128"/>
                </a:cubicBezTo>
                <a:lnTo>
                  <a:pt x="3673" y="3040"/>
                </a:lnTo>
                <a:cubicBezTo>
                  <a:pt x="3673" y="3040"/>
                  <a:pt x="3673" y="3041"/>
                  <a:pt x="3673" y="3041"/>
                </a:cubicBezTo>
                <a:lnTo>
                  <a:pt x="3133" y="2877"/>
                </a:lnTo>
                <a:cubicBezTo>
                  <a:pt x="3116" y="2825"/>
                  <a:pt x="3077" y="2779"/>
                  <a:pt x="3023" y="2741"/>
                </a:cubicBezTo>
                <a:cubicBezTo>
                  <a:pt x="3083" y="2675"/>
                  <a:pt x="3133" y="2608"/>
                  <a:pt x="3171" y="2553"/>
                </a:cubicBezTo>
                <a:cubicBezTo>
                  <a:pt x="3261" y="2421"/>
                  <a:pt x="3337" y="2280"/>
                  <a:pt x="3389" y="2144"/>
                </a:cubicBezTo>
                <a:cubicBezTo>
                  <a:pt x="3414" y="2087"/>
                  <a:pt x="3436" y="2029"/>
                  <a:pt x="3454" y="1972"/>
                </a:cubicBezTo>
                <a:cubicBezTo>
                  <a:pt x="3524" y="1914"/>
                  <a:pt x="3565" y="1826"/>
                  <a:pt x="3565" y="1734"/>
                </a:cubicBezTo>
                <a:lnTo>
                  <a:pt x="3565" y="1508"/>
                </a:lnTo>
                <a:cubicBezTo>
                  <a:pt x="3565" y="1443"/>
                  <a:pt x="3545" y="1380"/>
                  <a:pt x="3507" y="1328"/>
                </a:cubicBezTo>
                <a:lnTo>
                  <a:pt x="3507" y="1010"/>
                </a:lnTo>
                <a:cubicBezTo>
                  <a:pt x="3507" y="453"/>
                  <a:pt x="3054" y="0"/>
                  <a:pt x="2497" y="0"/>
                </a:cubicBezTo>
                <a:lnTo>
                  <a:pt x="2170" y="0"/>
                </a:lnTo>
                <a:cubicBezTo>
                  <a:pt x="1613" y="0"/>
                  <a:pt x="1160" y="453"/>
                  <a:pt x="1160" y="1010"/>
                </a:cubicBezTo>
                <a:lnTo>
                  <a:pt x="1160" y="1328"/>
                </a:lnTo>
                <a:cubicBezTo>
                  <a:pt x="1122" y="1380"/>
                  <a:pt x="1102" y="1444"/>
                  <a:pt x="1102" y="1508"/>
                </a:cubicBezTo>
                <a:lnTo>
                  <a:pt x="1102" y="1734"/>
                </a:lnTo>
                <a:cubicBezTo>
                  <a:pt x="1102" y="1826"/>
                  <a:pt x="1143" y="1914"/>
                  <a:pt x="1213" y="1972"/>
                </a:cubicBezTo>
                <a:cubicBezTo>
                  <a:pt x="1231" y="2029"/>
                  <a:pt x="1253" y="2087"/>
                  <a:pt x="1279" y="2144"/>
                </a:cubicBezTo>
                <a:cubicBezTo>
                  <a:pt x="1331" y="2280"/>
                  <a:pt x="1406" y="2421"/>
                  <a:pt x="1496" y="2552"/>
                </a:cubicBezTo>
                <a:cubicBezTo>
                  <a:pt x="1534" y="2608"/>
                  <a:pt x="1584" y="2674"/>
                  <a:pt x="1644" y="2740"/>
                </a:cubicBezTo>
                <a:cubicBezTo>
                  <a:pt x="1590" y="2779"/>
                  <a:pt x="1551" y="2825"/>
                  <a:pt x="1534" y="2877"/>
                </a:cubicBezTo>
                <a:lnTo>
                  <a:pt x="814" y="3095"/>
                </a:lnTo>
                <a:cubicBezTo>
                  <a:pt x="307" y="3241"/>
                  <a:pt x="3" y="5432"/>
                  <a:pt x="3" y="5432"/>
                </a:cubicBezTo>
                <a:lnTo>
                  <a:pt x="3" y="5432"/>
                </a:lnTo>
                <a:cubicBezTo>
                  <a:pt x="1" y="5442"/>
                  <a:pt x="0" y="5452"/>
                  <a:pt x="0" y="5462"/>
                </a:cubicBezTo>
                <a:cubicBezTo>
                  <a:pt x="0" y="5567"/>
                  <a:pt x="86" y="5653"/>
                  <a:pt x="191" y="5653"/>
                </a:cubicBezTo>
                <a:lnTo>
                  <a:pt x="4372" y="5653"/>
                </a:lnTo>
                <a:cubicBezTo>
                  <a:pt x="4418" y="5668"/>
                  <a:pt x="4468" y="5677"/>
                  <a:pt x="4520" y="5677"/>
                </a:cubicBezTo>
                <a:cubicBezTo>
                  <a:pt x="4783" y="5677"/>
                  <a:pt x="4996" y="5464"/>
                  <a:pt x="4996" y="5202"/>
                </a:cubicBezTo>
                <a:lnTo>
                  <a:pt x="4996" y="5161"/>
                </a:lnTo>
                <a:cubicBezTo>
                  <a:pt x="5091" y="5119"/>
                  <a:pt x="5175" y="5063"/>
                  <a:pt x="5248" y="4994"/>
                </a:cubicBezTo>
                <a:cubicBezTo>
                  <a:pt x="5412" y="4838"/>
                  <a:pt x="5499" y="4635"/>
                  <a:pt x="5499" y="4406"/>
                </a:cubicBezTo>
                <a:cubicBezTo>
                  <a:pt x="5499" y="4239"/>
                  <a:pt x="5453" y="4089"/>
                  <a:pt x="5363" y="3960"/>
                </a:cubicBezTo>
                <a:close/>
                <a:moveTo>
                  <a:pt x="2140" y="3663"/>
                </a:moveTo>
                <a:cubicBezTo>
                  <a:pt x="2137" y="3689"/>
                  <a:pt x="2118" y="3711"/>
                  <a:pt x="2093" y="3718"/>
                </a:cubicBezTo>
                <a:cubicBezTo>
                  <a:pt x="2087" y="3720"/>
                  <a:pt x="2081" y="3721"/>
                  <a:pt x="2075" y="3721"/>
                </a:cubicBezTo>
                <a:cubicBezTo>
                  <a:pt x="2055" y="3721"/>
                  <a:pt x="2036" y="3711"/>
                  <a:pt x="2024" y="3695"/>
                </a:cubicBezTo>
                <a:lnTo>
                  <a:pt x="1842" y="3454"/>
                </a:lnTo>
                <a:cubicBezTo>
                  <a:pt x="1833" y="3442"/>
                  <a:pt x="1829" y="3429"/>
                  <a:pt x="1829" y="3415"/>
                </a:cubicBezTo>
                <a:lnTo>
                  <a:pt x="1829" y="3028"/>
                </a:lnTo>
                <a:cubicBezTo>
                  <a:pt x="1829" y="3005"/>
                  <a:pt x="1841" y="2984"/>
                  <a:pt x="1860" y="2972"/>
                </a:cubicBezTo>
                <a:cubicBezTo>
                  <a:pt x="1880" y="2961"/>
                  <a:pt x="1904" y="2960"/>
                  <a:pt x="1924" y="2970"/>
                </a:cubicBezTo>
                <a:cubicBezTo>
                  <a:pt x="1977" y="2998"/>
                  <a:pt x="2030" y="3017"/>
                  <a:pt x="2081" y="3026"/>
                </a:cubicBezTo>
                <a:cubicBezTo>
                  <a:pt x="2112" y="3032"/>
                  <a:pt x="2135" y="3059"/>
                  <a:pt x="2135" y="3090"/>
                </a:cubicBezTo>
                <a:lnTo>
                  <a:pt x="2135" y="3252"/>
                </a:lnTo>
                <a:cubicBezTo>
                  <a:pt x="2144" y="3255"/>
                  <a:pt x="2152" y="3261"/>
                  <a:pt x="2159" y="3268"/>
                </a:cubicBezTo>
                <a:cubicBezTo>
                  <a:pt x="2171" y="3282"/>
                  <a:pt x="2177" y="3300"/>
                  <a:pt x="2175" y="3318"/>
                </a:cubicBezTo>
                <a:lnTo>
                  <a:pt x="2140" y="3663"/>
                </a:lnTo>
                <a:close/>
                <a:moveTo>
                  <a:pt x="2825" y="3454"/>
                </a:moveTo>
                <a:lnTo>
                  <a:pt x="2644" y="3695"/>
                </a:lnTo>
                <a:cubicBezTo>
                  <a:pt x="2631" y="3711"/>
                  <a:pt x="2612" y="3721"/>
                  <a:pt x="2592" y="3721"/>
                </a:cubicBezTo>
                <a:cubicBezTo>
                  <a:pt x="2586" y="3721"/>
                  <a:pt x="2580" y="3720"/>
                  <a:pt x="2574" y="3718"/>
                </a:cubicBezTo>
                <a:cubicBezTo>
                  <a:pt x="2549" y="3711"/>
                  <a:pt x="2530" y="3689"/>
                  <a:pt x="2527" y="3662"/>
                </a:cubicBezTo>
                <a:lnTo>
                  <a:pt x="2492" y="3318"/>
                </a:lnTo>
                <a:cubicBezTo>
                  <a:pt x="2490" y="3300"/>
                  <a:pt x="2496" y="3282"/>
                  <a:pt x="2508" y="3268"/>
                </a:cubicBezTo>
                <a:cubicBezTo>
                  <a:pt x="2515" y="3261"/>
                  <a:pt x="2523" y="3255"/>
                  <a:pt x="2533" y="3252"/>
                </a:cubicBezTo>
                <a:lnTo>
                  <a:pt x="2533" y="3090"/>
                </a:lnTo>
                <a:cubicBezTo>
                  <a:pt x="2533" y="3059"/>
                  <a:pt x="2555" y="3032"/>
                  <a:pt x="2586" y="3026"/>
                </a:cubicBezTo>
                <a:cubicBezTo>
                  <a:pt x="2637" y="3017"/>
                  <a:pt x="2690" y="2998"/>
                  <a:pt x="2743" y="2971"/>
                </a:cubicBezTo>
                <a:cubicBezTo>
                  <a:pt x="2763" y="2960"/>
                  <a:pt x="2787" y="2961"/>
                  <a:pt x="2807" y="2972"/>
                </a:cubicBezTo>
                <a:cubicBezTo>
                  <a:pt x="2826" y="2984"/>
                  <a:pt x="2838" y="3005"/>
                  <a:pt x="2838" y="3028"/>
                </a:cubicBezTo>
                <a:lnTo>
                  <a:pt x="2838" y="3415"/>
                </a:lnTo>
                <a:cubicBezTo>
                  <a:pt x="2838" y="3429"/>
                  <a:pt x="2834" y="3442"/>
                  <a:pt x="2825" y="3454"/>
                </a:cubicBezTo>
                <a:close/>
                <a:moveTo>
                  <a:pt x="2508" y="2684"/>
                </a:moveTo>
                <a:lnTo>
                  <a:pt x="2160" y="2684"/>
                </a:lnTo>
                <a:cubicBezTo>
                  <a:pt x="2083" y="2684"/>
                  <a:pt x="1934" y="2581"/>
                  <a:pt x="1776" y="2351"/>
                </a:cubicBezTo>
                <a:cubicBezTo>
                  <a:pt x="1651" y="2170"/>
                  <a:pt x="1564" y="1970"/>
                  <a:pt x="1544" y="1815"/>
                </a:cubicBezTo>
                <a:lnTo>
                  <a:pt x="1540" y="1788"/>
                </a:lnTo>
                <a:lnTo>
                  <a:pt x="1477" y="1747"/>
                </a:lnTo>
                <a:cubicBezTo>
                  <a:pt x="1459" y="1735"/>
                  <a:pt x="1448" y="1715"/>
                  <a:pt x="1448" y="1693"/>
                </a:cubicBezTo>
                <a:lnTo>
                  <a:pt x="1448" y="1586"/>
                </a:lnTo>
                <a:cubicBezTo>
                  <a:pt x="1448" y="1551"/>
                  <a:pt x="1477" y="1522"/>
                  <a:pt x="1513" y="1522"/>
                </a:cubicBezTo>
                <a:lnTo>
                  <a:pt x="1539" y="1522"/>
                </a:lnTo>
                <a:lnTo>
                  <a:pt x="1539" y="1406"/>
                </a:lnTo>
                <a:cubicBezTo>
                  <a:pt x="1539" y="1382"/>
                  <a:pt x="1553" y="1359"/>
                  <a:pt x="1575" y="1348"/>
                </a:cubicBezTo>
                <a:cubicBezTo>
                  <a:pt x="1664" y="1304"/>
                  <a:pt x="1841" y="1229"/>
                  <a:pt x="2024" y="1229"/>
                </a:cubicBezTo>
                <a:cubicBezTo>
                  <a:pt x="2170" y="1229"/>
                  <a:pt x="2292" y="1278"/>
                  <a:pt x="2384" y="1374"/>
                </a:cubicBezTo>
                <a:cubicBezTo>
                  <a:pt x="2500" y="1493"/>
                  <a:pt x="2633" y="1554"/>
                  <a:pt x="2781" y="1554"/>
                </a:cubicBezTo>
                <a:cubicBezTo>
                  <a:pt x="2864" y="1554"/>
                  <a:pt x="2950" y="1534"/>
                  <a:pt x="3037" y="1495"/>
                </a:cubicBezTo>
                <a:cubicBezTo>
                  <a:pt x="3057" y="1486"/>
                  <a:pt x="3080" y="1488"/>
                  <a:pt x="3098" y="1500"/>
                </a:cubicBezTo>
                <a:cubicBezTo>
                  <a:pt x="3107" y="1506"/>
                  <a:pt x="3114" y="1513"/>
                  <a:pt x="3119" y="1522"/>
                </a:cubicBezTo>
                <a:lnTo>
                  <a:pt x="3154" y="1522"/>
                </a:lnTo>
                <a:cubicBezTo>
                  <a:pt x="3190" y="1522"/>
                  <a:pt x="3219" y="1551"/>
                  <a:pt x="3219" y="1586"/>
                </a:cubicBezTo>
                <a:lnTo>
                  <a:pt x="3219" y="1693"/>
                </a:lnTo>
                <a:cubicBezTo>
                  <a:pt x="3219" y="1715"/>
                  <a:pt x="3208" y="1735"/>
                  <a:pt x="3190" y="1747"/>
                </a:cubicBezTo>
                <a:lnTo>
                  <a:pt x="3127" y="1788"/>
                </a:lnTo>
                <a:lnTo>
                  <a:pt x="3123" y="1815"/>
                </a:lnTo>
                <a:cubicBezTo>
                  <a:pt x="3103" y="1970"/>
                  <a:pt x="3016" y="2170"/>
                  <a:pt x="2891" y="2351"/>
                </a:cubicBezTo>
                <a:cubicBezTo>
                  <a:pt x="2733" y="2581"/>
                  <a:pt x="2584" y="2684"/>
                  <a:pt x="2508" y="2684"/>
                </a:cubicBezTo>
                <a:close/>
                <a:moveTo>
                  <a:pt x="5035" y="4769"/>
                </a:moveTo>
                <a:cubicBezTo>
                  <a:pt x="4947" y="4852"/>
                  <a:pt x="4830" y="4908"/>
                  <a:pt x="4686" y="4935"/>
                </a:cubicBezTo>
                <a:lnTo>
                  <a:pt x="4686" y="5202"/>
                </a:lnTo>
                <a:cubicBezTo>
                  <a:pt x="4686" y="5293"/>
                  <a:pt x="4612" y="5367"/>
                  <a:pt x="4520" y="5367"/>
                </a:cubicBezTo>
                <a:cubicBezTo>
                  <a:pt x="4429" y="5367"/>
                  <a:pt x="4355" y="5293"/>
                  <a:pt x="4355" y="5202"/>
                </a:cubicBezTo>
                <a:lnTo>
                  <a:pt x="4355" y="4944"/>
                </a:lnTo>
                <a:cubicBezTo>
                  <a:pt x="4144" y="4915"/>
                  <a:pt x="3987" y="4824"/>
                  <a:pt x="3887" y="4672"/>
                </a:cubicBezTo>
                <a:cubicBezTo>
                  <a:pt x="3857" y="4626"/>
                  <a:pt x="3851" y="4567"/>
                  <a:pt x="3873" y="4516"/>
                </a:cubicBezTo>
                <a:cubicBezTo>
                  <a:pt x="3895" y="4465"/>
                  <a:pt x="3941" y="4428"/>
                  <a:pt x="3995" y="4418"/>
                </a:cubicBezTo>
                <a:lnTo>
                  <a:pt x="4121" y="4395"/>
                </a:lnTo>
                <a:cubicBezTo>
                  <a:pt x="4185" y="4383"/>
                  <a:pt x="4250" y="4410"/>
                  <a:pt x="4287" y="4463"/>
                </a:cubicBezTo>
                <a:cubicBezTo>
                  <a:pt x="4334" y="4531"/>
                  <a:pt x="4414" y="4565"/>
                  <a:pt x="4524" y="4565"/>
                </a:cubicBezTo>
                <a:cubicBezTo>
                  <a:pt x="4693" y="4565"/>
                  <a:pt x="4693" y="4498"/>
                  <a:pt x="4693" y="4475"/>
                </a:cubicBezTo>
                <a:cubicBezTo>
                  <a:pt x="4693" y="4443"/>
                  <a:pt x="4681" y="4420"/>
                  <a:pt x="4656" y="4402"/>
                </a:cubicBezTo>
                <a:cubicBezTo>
                  <a:pt x="4629" y="4384"/>
                  <a:pt x="4581" y="4367"/>
                  <a:pt x="4512" y="4353"/>
                </a:cubicBezTo>
                <a:cubicBezTo>
                  <a:pt x="4237" y="4297"/>
                  <a:pt x="4059" y="4224"/>
                  <a:pt x="3985" y="4136"/>
                </a:cubicBezTo>
                <a:cubicBezTo>
                  <a:pt x="3909" y="4048"/>
                  <a:pt x="3872" y="3948"/>
                  <a:pt x="3872" y="3833"/>
                </a:cubicBezTo>
                <a:cubicBezTo>
                  <a:pt x="3872" y="3707"/>
                  <a:pt x="3914" y="3595"/>
                  <a:pt x="3995" y="3497"/>
                </a:cubicBezTo>
                <a:cubicBezTo>
                  <a:pt x="4074" y="3403"/>
                  <a:pt x="4195" y="3342"/>
                  <a:pt x="4355" y="3316"/>
                </a:cubicBezTo>
                <a:lnTo>
                  <a:pt x="4355" y="3124"/>
                </a:lnTo>
                <a:cubicBezTo>
                  <a:pt x="4355" y="3033"/>
                  <a:pt x="4429" y="2959"/>
                  <a:pt x="4520" y="2959"/>
                </a:cubicBezTo>
                <a:cubicBezTo>
                  <a:pt x="4612" y="2959"/>
                  <a:pt x="4686" y="3033"/>
                  <a:pt x="4686" y="3124"/>
                </a:cubicBezTo>
                <a:lnTo>
                  <a:pt x="4686" y="3319"/>
                </a:lnTo>
                <a:cubicBezTo>
                  <a:pt x="4829" y="3346"/>
                  <a:pt x="4940" y="3404"/>
                  <a:pt x="5024" y="3494"/>
                </a:cubicBezTo>
                <a:cubicBezTo>
                  <a:pt x="5063" y="3536"/>
                  <a:pt x="5078" y="3595"/>
                  <a:pt x="5064" y="3650"/>
                </a:cubicBezTo>
                <a:cubicBezTo>
                  <a:pt x="5049" y="3705"/>
                  <a:pt x="5007" y="3749"/>
                  <a:pt x="4953" y="3766"/>
                </a:cubicBezTo>
                <a:lnTo>
                  <a:pt x="4867" y="3793"/>
                </a:lnTo>
                <a:cubicBezTo>
                  <a:pt x="4805" y="3812"/>
                  <a:pt x="4737" y="3793"/>
                  <a:pt x="4693" y="3744"/>
                </a:cubicBezTo>
                <a:cubicBezTo>
                  <a:pt x="4650" y="3696"/>
                  <a:pt x="4586" y="3671"/>
                  <a:pt x="4503" y="3671"/>
                </a:cubicBezTo>
                <a:cubicBezTo>
                  <a:pt x="4436" y="3671"/>
                  <a:pt x="4356" y="3687"/>
                  <a:pt x="4356" y="3763"/>
                </a:cubicBezTo>
                <a:cubicBezTo>
                  <a:pt x="4356" y="3785"/>
                  <a:pt x="4364" y="3804"/>
                  <a:pt x="4379" y="3819"/>
                </a:cubicBezTo>
                <a:cubicBezTo>
                  <a:pt x="4396" y="3835"/>
                  <a:pt x="4444" y="3852"/>
                  <a:pt x="4521" y="3870"/>
                </a:cubicBezTo>
                <a:cubicBezTo>
                  <a:pt x="4701" y="3909"/>
                  <a:pt x="4832" y="3945"/>
                  <a:pt x="4910" y="3976"/>
                </a:cubicBezTo>
                <a:cubicBezTo>
                  <a:pt x="4990" y="4008"/>
                  <a:pt x="5057" y="4062"/>
                  <a:pt x="5110" y="4137"/>
                </a:cubicBezTo>
                <a:cubicBezTo>
                  <a:pt x="5162" y="4213"/>
                  <a:pt x="5189" y="4303"/>
                  <a:pt x="5189" y="4406"/>
                </a:cubicBezTo>
                <a:cubicBezTo>
                  <a:pt x="5189" y="4550"/>
                  <a:pt x="5137" y="4672"/>
                  <a:pt x="5035" y="47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B6E5FD5-A833-4736-8FE3-5E41D730087E}"/>
              </a:ext>
            </a:extLst>
          </p:cNvPr>
          <p:cNvSpPr txBox="1"/>
          <p:nvPr/>
        </p:nvSpPr>
        <p:spPr>
          <a:xfrm>
            <a:off x="5376038" y="3451679"/>
            <a:ext cx="13874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ctr" defTabSz="914378">
              <a:spcBef>
                <a:spcPct val="0"/>
              </a:spcBef>
              <a:defRPr/>
            </a:pPr>
            <a:r>
              <a:rPr lang="en-US" altLang="zh-CN" b="1">
                <a:cs typeface="+mn-ea"/>
                <a:sym typeface="+mn-lt"/>
              </a:rPr>
              <a:t>… 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ext</a:t>
            </a:r>
            <a:endParaRPr lang="zh-CN" altLang="en-US" b="1" dirty="0">
              <a:cs typeface="+mn-ea"/>
              <a:sym typeface="+mn-lt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DCCC23F2-1E4F-4321-A9F4-B354ADAEC557}"/>
              </a:ext>
            </a:extLst>
          </p:cNvPr>
          <p:cNvCxnSpPr>
            <a:cxnSpLocks/>
          </p:cNvCxnSpPr>
          <p:nvPr/>
        </p:nvCxnSpPr>
        <p:spPr>
          <a:xfrm>
            <a:off x="669925" y="3433815"/>
            <a:ext cx="379402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060A4BE6-AA38-4F0A-A992-1E7CD0EE6293}"/>
              </a:ext>
            </a:extLst>
          </p:cNvPr>
          <p:cNvCxnSpPr>
            <a:cxnSpLocks/>
          </p:cNvCxnSpPr>
          <p:nvPr/>
        </p:nvCxnSpPr>
        <p:spPr>
          <a:xfrm>
            <a:off x="7726461" y="3433815"/>
            <a:ext cx="379402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FAA034FA-D461-484D-9534-972C90AA2488}"/>
              </a:ext>
            </a:extLst>
          </p:cNvPr>
          <p:cNvGrpSpPr/>
          <p:nvPr/>
        </p:nvGrpSpPr>
        <p:grpSpPr>
          <a:xfrm>
            <a:off x="673101" y="1419805"/>
            <a:ext cx="2428318" cy="1094393"/>
            <a:chOff x="673101" y="1535685"/>
            <a:chExt cx="2098380" cy="1094393"/>
          </a:xfrm>
        </p:grpSpPr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61E909B5-8FBF-4805-B31C-F4EF2C6F0053}"/>
                </a:ext>
              </a:extLst>
            </p:cNvPr>
            <p:cNvSpPr txBox="1"/>
            <p:nvPr/>
          </p:nvSpPr>
          <p:spPr>
            <a:xfrm>
              <a:off x="673101" y="1535685"/>
              <a:ext cx="2098380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DC4001D2-ACA8-4231-A4CA-34B9A7B3E204}"/>
                </a:ext>
              </a:extLst>
            </p:cNvPr>
            <p:cNvSpPr/>
            <p:nvPr/>
          </p:nvSpPr>
          <p:spPr bwMode="auto">
            <a:xfrm>
              <a:off x="673101" y="2019207"/>
              <a:ext cx="2098380" cy="610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D4FDFE46-738D-4D92-A99C-4F0B3B67EF3C}"/>
              </a:ext>
            </a:extLst>
          </p:cNvPr>
          <p:cNvGrpSpPr/>
          <p:nvPr/>
        </p:nvGrpSpPr>
        <p:grpSpPr>
          <a:xfrm>
            <a:off x="673101" y="4163109"/>
            <a:ext cx="2428318" cy="1094393"/>
            <a:chOff x="673101" y="1535685"/>
            <a:chExt cx="2098380" cy="1094393"/>
          </a:xfrm>
        </p:grpSpPr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1AC58C3F-A6EE-4B56-8964-9CF1949AA58F}"/>
                </a:ext>
              </a:extLst>
            </p:cNvPr>
            <p:cNvSpPr txBox="1"/>
            <p:nvPr/>
          </p:nvSpPr>
          <p:spPr>
            <a:xfrm>
              <a:off x="673101" y="1535685"/>
              <a:ext cx="2098380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F8122052-C694-40D7-B0CF-A4BAE1B7942D}"/>
                </a:ext>
              </a:extLst>
            </p:cNvPr>
            <p:cNvSpPr/>
            <p:nvPr/>
          </p:nvSpPr>
          <p:spPr bwMode="auto">
            <a:xfrm>
              <a:off x="673101" y="2019207"/>
              <a:ext cx="2098380" cy="610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742F39A7-90DA-4B4E-831F-58B513692123}"/>
              </a:ext>
            </a:extLst>
          </p:cNvPr>
          <p:cNvGrpSpPr/>
          <p:nvPr/>
        </p:nvGrpSpPr>
        <p:grpSpPr>
          <a:xfrm>
            <a:off x="9090600" y="1419805"/>
            <a:ext cx="2428318" cy="1094393"/>
            <a:chOff x="673101" y="1535685"/>
            <a:chExt cx="2098380" cy="1094393"/>
          </a:xfrm>
        </p:grpSpPr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33213192-4BFF-4518-963C-AD0E8CD08D44}"/>
                </a:ext>
              </a:extLst>
            </p:cNvPr>
            <p:cNvSpPr txBox="1"/>
            <p:nvPr/>
          </p:nvSpPr>
          <p:spPr>
            <a:xfrm>
              <a:off x="673101" y="1535685"/>
              <a:ext cx="2098380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7C0E56B8-16A8-490E-92E2-19912B4EBB40}"/>
                </a:ext>
              </a:extLst>
            </p:cNvPr>
            <p:cNvSpPr/>
            <p:nvPr/>
          </p:nvSpPr>
          <p:spPr bwMode="auto">
            <a:xfrm>
              <a:off x="673101" y="2019207"/>
              <a:ext cx="2098380" cy="610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28E0420B-14C8-4F5F-89FB-9D2D5416757A}"/>
              </a:ext>
            </a:extLst>
          </p:cNvPr>
          <p:cNvGrpSpPr/>
          <p:nvPr/>
        </p:nvGrpSpPr>
        <p:grpSpPr>
          <a:xfrm>
            <a:off x="9090600" y="4163109"/>
            <a:ext cx="2428318" cy="1094393"/>
            <a:chOff x="673101" y="1535685"/>
            <a:chExt cx="2098380" cy="1094393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2499157A-727E-4CB0-AC03-079625A7BEBB}"/>
                </a:ext>
              </a:extLst>
            </p:cNvPr>
            <p:cNvSpPr txBox="1"/>
            <p:nvPr/>
          </p:nvSpPr>
          <p:spPr>
            <a:xfrm>
              <a:off x="673101" y="1535685"/>
              <a:ext cx="2098380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Text </a:t>
              </a:r>
              <a:r>
                <a:rPr lang="en-US" altLang="zh-CN" sz="100" b="1">
                  <a:cs typeface="+mn-ea"/>
                  <a:sym typeface="+mn-lt"/>
                </a:rPr>
                <a:t> </a:t>
              </a:r>
              <a:r>
                <a:rPr lang="en-US" altLang="zh-CN" b="1">
                  <a:cs typeface="+mn-ea"/>
                  <a:sym typeface="+mn-lt"/>
                </a:rPr>
                <a:t>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51A2F8BC-5197-4F71-8787-7832F9D2144B}"/>
                </a:ext>
              </a:extLst>
            </p:cNvPr>
            <p:cNvSpPr/>
            <p:nvPr/>
          </p:nvSpPr>
          <p:spPr bwMode="auto">
            <a:xfrm>
              <a:off x="673101" y="2019207"/>
              <a:ext cx="2098380" cy="6108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100">
                  <a:cs typeface="+mn-ea"/>
                  <a:sym typeface="+mn-lt"/>
                </a:rPr>
                <a:t>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20536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方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F5C9C2B-4A91-4A6B-96ED-BC7B23D85714}"/>
              </a:ext>
            </a:extLst>
          </p:cNvPr>
          <p:cNvCxnSpPr/>
          <p:nvPr/>
        </p:nvCxnSpPr>
        <p:spPr>
          <a:xfrm>
            <a:off x="673100" y="3422784"/>
            <a:ext cx="10845800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  <a:prstDash val="dash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椭圆 34">
            <a:extLst>
              <a:ext uri="{FF2B5EF4-FFF2-40B4-BE49-F238E27FC236}">
                <a16:creationId xmlns:a16="http://schemas.microsoft.com/office/drawing/2014/main" id="{AD45C7E0-7384-43D3-8221-15138562F226}"/>
              </a:ext>
            </a:extLst>
          </p:cNvPr>
          <p:cNvSpPr/>
          <p:nvPr/>
        </p:nvSpPr>
        <p:spPr>
          <a:xfrm>
            <a:off x="1581534" y="3069772"/>
            <a:ext cx="706024" cy="7060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A27AC49C-2820-42D7-88EE-6AB54D8CA04C}"/>
              </a:ext>
            </a:extLst>
          </p:cNvPr>
          <p:cNvSpPr/>
          <p:nvPr/>
        </p:nvSpPr>
        <p:spPr bwMode="auto">
          <a:xfrm>
            <a:off x="1742202" y="3230730"/>
            <a:ext cx="384687" cy="384108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</a:ln>
        </p:spPr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43DC0EB5-DECF-42B2-A0A8-FC5D1341AA5D}"/>
              </a:ext>
            </a:extLst>
          </p:cNvPr>
          <p:cNvSpPr/>
          <p:nvPr/>
        </p:nvSpPr>
        <p:spPr>
          <a:xfrm>
            <a:off x="3662261" y="3069772"/>
            <a:ext cx="706024" cy="7060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4D557CB5-297D-4A32-9242-60FB985FA213}"/>
              </a:ext>
            </a:extLst>
          </p:cNvPr>
          <p:cNvSpPr/>
          <p:nvPr/>
        </p:nvSpPr>
        <p:spPr bwMode="auto">
          <a:xfrm>
            <a:off x="3822929" y="3230730"/>
            <a:ext cx="384687" cy="384108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</a:ln>
        </p:spPr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1B1BDCA5-944E-4A4F-A5D7-D95AEAD1E29C}"/>
              </a:ext>
            </a:extLst>
          </p:cNvPr>
          <p:cNvSpPr/>
          <p:nvPr/>
        </p:nvSpPr>
        <p:spPr>
          <a:xfrm>
            <a:off x="5399314" y="2726098"/>
            <a:ext cx="1393372" cy="1393372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E969B816-27C6-414F-8AA7-A76A3222F7A1}"/>
              </a:ext>
            </a:extLst>
          </p:cNvPr>
          <p:cNvSpPr/>
          <p:nvPr/>
        </p:nvSpPr>
        <p:spPr bwMode="auto">
          <a:xfrm>
            <a:off x="5716401" y="3043756"/>
            <a:ext cx="759199" cy="758056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bg1"/>
          </a:solidFill>
          <a:ln w="9525">
            <a:noFill/>
            <a:round/>
          </a:ln>
        </p:spPr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B106B5CF-358C-4D7C-B7DB-282937E58673}"/>
              </a:ext>
            </a:extLst>
          </p:cNvPr>
          <p:cNvSpPr/>
          <p:nvPr/>
        </p:nvSpPr>
        <p:spPr>
          <a:xfrm>
            <a:off x="7823715" y="3069772"/>
            <a:ext cx="706024" cy="7060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534A74AE-DB50-4EE8-A7B9-3AFB5282737B}"/>
              </a:ext>
            </a:extLst>
          </p:cNvPr>
          <p:cNvSpPr/>
          <p:nvPr/>
        </p:nvSpPr>
        <p:spPr bwMode="auto">
          <a:xfrm>
            <a:off x="7984383" y="3230730"/>
            <a:ext cx="384687" cy="384108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</a:ln>
        </p:spPr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856D5ED0-2654-43D0-826D-7CE2DED0810C}"/>
              </a:ext>
            </a:extLst>
          </p:cNvPr>
          <p:cNvSpPr/>
          <p:nvPr/>
        </p:nvSpPr>
        <p:spPr>
          <a:xfrm>
            <a:off x="9904442" y="3069772"/>
            <a:ext cx="706024" cy="70602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0C1BCF7-57E4-41C6-9FE7-FEAFFE86B7E1}"/>
              </a:ext>
            </a:extLst>
          </p:cNvPr>
          <p:cNvSpPr/>
          <p:nvPr/>
        </p:nvSpPr>
        <p:spPr bwMode="auto">
          <a:xfrm>
            <a:off x="10065110" y="3230730"/>
            <a:ext cx="384687" cy="384108"/>
          </a:xfrm>
          <a:custGeom>
            <a:avLst/>
            <a:gdLst>
              <a:gd name="T0" fmla="*/ 9608 w 10667"/>
              <a:gd name="T1" fmla="*/ 4056 h 10667"/>
              <a:gd name="T2" fmla="*/ 9642 w 10667"/>
              <a:gd name="T3" fmla="*/ 4561 h 10667"/>
              <a:gd name="T4" fmla="*/ 9398 w 10667"/>
              <a:gd name="T5" fmla="*/ 5365 h 10667"/>
              <a:gd name="T6" fmla="*/ 9237 w 10667"/>
              <a:gd name="T7" fmla="*/ 4433 h 10667"/>
              <a:gd name="T8" fmla="*/ 8869 w 10667"/>
              <a:gd name="T9" fmla="*/ 4582 h 10667"/>
              <a:gd name="T10" fmla="*/ 8709 w 10667"/>
              <a:gd name="T11" fmla="*/ 5514 h 10667"/>
              <a:gd name="T12" fmla="*/ 8952 w 10667"/>
              <a:gd name="T13" fmla="*/ 5395 h 10667"/>
              <a:gd name="T14" fmla="*/ 8998 w 10667"/>
              <a:gd name="T15" fmla="*/ 6944 h 10667"/>
              <a:gd name="T16" fmla="*/ 9239 w 10667"/>
              <a:gd name="T17" fmla="*/ 5720 h 10667"/>
              <a:gd name="T18" fmla="*/ 9377 w 10667"/>
              <a:gd name="T19" fmla="*/ 6807 h 10667"/>
              <a:gd name="T20" fmla="*/ 9687 w 10667"/>
              <a:gd name="T21" fmla="*/ 6787 h 10667"/>
              <a:gd name="T22" fmla="*/ 9559 w 10667"/>
              <a:gd name="T23" fmla="*/ 4821 h 10667"/>
              <a:gd name="T24" fmla="*/ 9939 w 10667"/>
              <a:gd name="T25" fmla="*/ 5391 h 10667"/>
              <a:gd name="T26" fmla="*/ 6566 w 10667"/>
              <a:gd name="T27" fmla="*/ 1130 h 10667"/>
              <a:gd name="T28" fmla="*/ 5448 w 10667"/>
              <a:gd name="T29" fmla="*/ 2261 h 10667"/>
              <a:gd name="T30" fmla="*/ 7197 w 10667"/>
              <a:gd name="T31" fmla="*/ 8282 h 10667"/>
              <a:gd name="T32" fmla="*/ 6553 w 10667"/>
              <a:gd name="T33" fmla="*/ 5860 h 10667"/>
              <a:gd name="T34" fmla="*/ 6867 w 10667"/>
              <a:gd name="T35" fmla="*/ 5540 h 10667"/>
              <a:gd name="T36" fmla="*/ 6677 w 10667"/>
              <a:gd name="T37" fmla="*/ 2794 h 10667"/>
              <a:gd name="T38" fmla="*/ 5875 w 10667"/>
              <a:gd name="T39" fmla="*/ 5440 h 10667"/>
              <a:gd name="T40" fmla="*/ 5344 w 10667"/>
              <a:gd name="T41" fmla="*/ 2372 h 10667"/>
              <a:gd name="T42" fmla="*/ 4134 w 10667"/>
              <a:gd name="T43" fmla="*/ 2863 h 10667"/>
              <a:gd name="T44" fmla="*/ 3606 w 10667"/>
              <a:gd name="T45" fmla="*/ 5931 h 10667"/>
              <a:gd name="T46" fmla="*/ 4406 w 10667"/>
              <a:gd name="T47" fmla="*/ 5536 h 10667"/>
              <a:gd name="T48" fmla="*/ 3036 w 10667"/>
              <a:gd name="T49" fmla="*/ 8836 h 10667"/>
              <a:gd name="T50" fmla="*/ 1301 w 10667"/>
              <a:gd name="T51" fmla="*/ 9187 h 10667"/>
              <a:gd name="T52" fmla="*/ 3942 w 10667"/>
              <a:gd name="T53" fmla="*/ 10566 h 10667"/>
              <a:gd name="T54" fmla="*/ 8368 w 10667"/>
              <a:gd name="T55" fmla="*/ 10227 h 10667"/>
              <a:gd name="T56" fmla="*/ 5409 w 10667"/>
              <a:gd name="T57" fmla="*/ 9687 h 10667"/>
              <a:gd name="T58" fmla="*/ 5462 w 10667"/>
              <a:gd name="T59" fmla="*/ 6588 h 10667"/>
              <a:gd name="T60" fmla="*/ 5409 w 10667"/>
              <a:gd name="T61" fmla="*/ 9687 h 10667"/>
              <a:gd name="T62" fmla="*/ 9674 w 10667"/>
              <a:gd name="T63" fmla="*/ 7185 h 10667"/>
              <a:gd name="T64" fmla="*/ 9255 w 10667"/>
              <a:gd name="T65" fmla="*/ 7228 h 10667"/>
              <a:gd name="T66" fmla="*/ 8691 w 10667"/>
              <a:gd name="T67" fmla="*/ 6602 h 10667"/>
              <a:gd name="T68" fmla="*/ 10667 w 10667"/>
              <a:gd name="T69" fmla="*/ 7058 h 10667"/>
              <a:gd name="T70" fmla="*/ 1068 w 10667"/>
              <a:gd name="T71" fmla="*/ 4056 h 10667"/>
              <a:gd name="T72" fmla="*/ 1407 w 10667"/>
              <a:gd name="T73" fmla="*/ 4399 h 10667"/>
              <a:gd name="T74" fmla="*/ 1620 w 10667"/>
              <a:gd name="T75" fmla="*/ 4469 h 10667"/>
              <a:gd name="T76" fmla="*/ 1410 w 10667"/>
              <a:gd name="T77" fmla="*/ 5515 h 10667"/>
              <a:gd name="T78" fmla="*/ 1189 w 10667"/>
              <a:gd name="T79" fmla="*/ 4467 h 10667"/>
              <a:gd name="T80" fmla="*/ 728 w 10667"/>
              <a:gd name="T81" fmla="*/ 5387 h 10667"/>
              <a:gd name="T82" fmla="*/ 967 w 10667"/>
              <a:gd name="T83" fmla="*/ 5399 h 10667"/>
              <a:gd name="T84" fmla="*/ 1088 w 10667"/>
              <a:gd name="T85" fmla="*/ 5407 h 10667"/>
              <a:gd name="T86" fmla="*/ 1148 w 10667"/>
              <a:gd name="T87" fmla="*/ 6944 h 10667"/>
              <a:gd name="T88" fmla="*/ 1411 w 10667"/>
              <a:gd name="T89" fmla="*/ 5714 h 10667"/>
              <a:gd name="T90" fmla="*/ 1671 w 10667"/>
              <a:gd name="T91" fmla="*/ 6954 h 10667"/>
              <a:gd name="T92" fmla="*/ 1743 w 10667"/>
              <a:gd name="T93" fmla="*/ 5493 h 10667"/>
              <a:gd name="T94" fmla="*/ 1838 w 10667"/>
              <a:gd name="T95" fmla="*/ 5396 h 10667"/>
              <a:gd name="T96" fmla="*/ 1780 w 10667"/>
              <a:gd name="T97" fmla="*/ 4561 h 10667"/>
              <a:gd name="T98" fmla="*/ 1813 w 10667"/>
              <a:gd name="T99" fmla="*/ 7185 h 10667"/>
              <a:gd name="T100" fmla="*/ 1394 w 10667"/>
              <a:gd name="T101" fmla="*/ 7228 h 10667"/>
              <a:gd name="T102" fmla="*/ 830 w 10667"/>
              <a:gd name="T103" fmla="*/ 6602 h 10667"/>
              <a:gd name="T104" fmla="*/ 2805 w 10667"/>
              <a:gd name="T105" fmla="*/ 7058 h 10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0667" h="10667">
                <a:moveTo>
                  <a:pt x="8929" y="4056"/>
                </a:moveTo>
                <a:cubicBezTo>
                  <a:pt x="8929" y="3866"/>
                  <a:pt x="9081" y="3713"/>
                  <a:pt x="9268" y="3713"/>
                </a:cubicBezTo>
                <a:cubicBezTo>
                  <a:pt x="9456" y="3713"/>
                  <a:pt x="9608" y="3866"/>
                  <a:pt x="9608" y="4056"/>
                </a:cubicBezTo>
                <a:cubicBezTo>
                  <a:pt x="9608" y="4246"/>
                  <a:pt x="9456" y="4399"/>
                  <a:pt x="9268" y="4399"/>
                </a:cubicBezTo>
                <a:cubicBezTo>
                  <a:pt x="9081" y="4399"/>
                  <a:pt x="8929" y="4246"/>
                  <a:pt x="8929" y="4056"/>
                </a:cubicBezTo>
                <a:close/>
                <a:moveTo>
                  <a:pt x="9642" y="4561"/>
                </a:moveTo>
                <a:cubicBezTo>
                  <a:pt x="9592" y="4523"/>
                  <a:pt x="9541" y="4489"/>
                  <a:pt x="9482" y="4469"/>
                </a:cubicBezTo>
                <a:cubicBezTo>
                  <a:pt x="9427" y="4449"/>
                  <a:pt x="9369" y="4439"/>
                  <a:pt x="9310" y="4434"/>
                </a:cubicBezTo>
                <a:lnTo>
                  <a:pt x="9398" y="5365"/>
                </a:lnTo>
                <a:lnTo>
                  <a:pt x="9272" y="5515"/>
                </a:lnTo>
                <a:lnTo>
                  <a:pt x="9127" y="5365"/>
                </a:lnTo>
                <a:lnTo>
                  <a:pt x="9237" y="4433"/>
                </a:lnTo>
                <a:cubicBezTo>
                  <a:pt x="9173" y="4435"/>
                  <a:pt x="9110" y="4446"/>
                  <a:pt x="9050" y="4467"/>
                </a:cubicBezTo>
                <a:cubicBezTo>
                  <a:pt x="9025" y="4476"/>
                  <a:pt x="9002" y="4487"/>
                  <a:pt x="8979" y="4500"/>
                </a:cubicBezTo>
                <a:cubicBezTo>
                  <a:pt x="8940" y="4523"/>
                  <a:pt x="8903" y="4551"/>
                  <a:pt x="8869" y="4582"/>
                </a:cubicBezTo>
                <a:cubicBezTo>
                  <a:pt x="8700" y="4734"/>
                  <a:pt x="8609" y="4997"/>
                  <a:pt x="8589" y="5387"/>
                </a:cubicBezTo>
                <a:cubicBezTo>
                  <a:pt x="8586" y="5454"/>
                  <a:pt x="8637" y="5511"/>
                  <a:pt x="8703" y="5514"/>
                </a:cubicBezTo>
                <a:cubicBezTo>
                  <a:pt x="8705" y="5514"/>
                  <a:pt x="8707" y="5514"/>
                  <a:pt x="8709" y="5514"/>
                </a:cubicBezTo>
                <a:cubicBezTo>
                  <a:pt x="8772" y="5514"/>
                  <a:pt x="8825" y="5464"/>
                  <a:pt x="8828" y="5399"/>
                </a:cubicBezTo>
                <a:cubicBezTo>
                  <a:pt x="8842" y="5135"/>
                  <a:pt x="8893" y="4938"/>
                  <a:pt x="8978" y="4821"/>
                </a:cubicBezTo>
                <a:cubicBezTo>
                  <a:pt x="8972" y="4944"/>
                  <a:pt x="8961" y="5167"/>
                  <a:pt x="8952" y="5395"/>
                </a:cubicBezTo>
                <a:cubicBezTo>
                  <a:pt x="8951" y="5399"/>
                  <a:pt x="8950" y="5403"/>
                  <a:pt x="8950" y="5407"/>
                </a:cubicBezTo>
                <a:lnTo>
                  <a:pt x="8854" y="6776"/>
                </a:lnTo>
                <a:cubicBezTo>
                  <a:pt x="8848" y="6863"/>
                  <a:pt x="8912" y="6938"/>
                  <a:pt x="8998" y="6944"/>
                </a:cubicBezTo>
                <a:cubicBezTo>
                  <a:pt x="9002" y="6944"/>
                  <a:pt x="9005" y="6944"/>
                  <a:pt x="9009" y="6944"/>
                </a:cubicBezTo>
                <a:cubicBezTo>
                  <a:pt x="9090" y="6944"/>
                  <a:pt x="9158" y="6881"/>
                  <a:pt x="9163" y="6798"/>
                </a:cubicBezTo>
                <a:lnTo>
                  <a:pt x="9239" y="5720"/>
                </a:lnTo>
                <a:cubicBezTo>
                  <a:pt x="9251" y="5717"/>
                  <a:pt x="9262" y="5714"/>
                  <a:pt x="9273" y="5714"/>
                </a:cubicBezTo>
                <a:cubicBezTo>
                  <a:pt x="9284" y="5714"/>
                  <a:pt x="9296" y="5716"/>
                  <a:pt x="9307" y="5717"/>
                </a:cubicBezTo>
                <a:lnTo>
                  <a:pt x="9377" y="6807"/>
                </a:lnTo>
                <a:cubicBezTo>
                  <a:pt x="9382" y="6890"/>
                  <a:pt x="9451" y="6954"/>
                  <a:pt x="9532" y="6954"/>
                </a:cubicBezTo>
                <a:cubicBezTo>
                  <a:pt x="9535" y="6954"/>
                  <a:pt x="9539" y="6954"/>
                  <a:pt x="9542" y="6954"/>
                </a:cubicBezTo>
                <a:cubicBezTo>
                  <a:pt x="9628" y="6948"/>
                  <a:pt x="9692" y="6873"/>
                  <a:pt x="9687" y="6787"/>
                </a:cubicBezTo>
                <a:lnTo>
                  <a:pt x="9604" y="5493"/>
                </a:lnTo>
                <a:cubicBezTo>
                  <a:pt x="9604" y="5486"/>
                  <a:pt x="9602" y="5479"/>
                  <a:pt x="9601" y="5472"/>
                </a:cubicBezTo>
                <a:cubicBezTo>
                  <a:pt x="9594" y="5274"/>
                  <a:pt x="9571" y="4981"/>
                  <a:pt x="9559" y="4821"/>
                </a:cubicBezTo>
                <a:cubicBezTo>
                  <a:pt x="9645" y="4939"/>
                  <a:pt x="9694" y="5134"/>
                  <a:pt x="9700" y="5396"/>
                </a:cubicBezTo>
                <a:cubicBezTo>
                  <a:pt x="9701" y="5462"/>
                  <a:pt x="9754" y="5514"/>
                  <a:pt x="9822" y="5514"/>
                </a:cubicBezTo>
                <a:cubicBezTo>
                  <a:pt x="9888" y="5513"/>
                  <a:pt x="9940" y="5458"/>
                  <a:pt x="9939" y="5391"/>
                </a:cubicBezTo>
                <a:cubicBezTo>
                  <a:pt x="9931" y="4988"/>
                  <a:pt x="9831" y="4709"/>
                  <a:pt x="9642" y="4561"/>
                </a:cubicBezTo>
                <a:close/>
                <a:moveTo>
                  <a:pt x="5448" y="2261"/>
                </a:moveTo>
                <a:cubicBezTo>
                  <a:pt x="6065" y="2261"/>
                  <a:pt x="6566" y="1755"/>
                  <a:pt x="6566" y="1130"/>
                </a:cubicBezTo>
                <a:cubicBezTo>
                  <a:pt x="6566" y="506"/>
                  <a:pt x="6065" y="0"/>
                  <a:pt x="5448" y="0"/>
                </a:cubicBezTo>
                <a:cubicBezTo>
                  <a:pt x="4832" y="0"/>
                  <a:pt x="4332" y="506"/>
                  <a:pt x="4332" y="1130"/>
                </a:cubicBezTo>
                <a:cubicBezTo>
                  <a:pt x="4332" y="1755"/>
                  <a:pt x="4832" y="2261"/>
                  <a:pt x="5448" y="2261"/>
                </a:cubicBezTo>
                <a:close/>
                <a:moveTo>
                  <a:pt x="9566" y="9187"/>
                </a:moveTo>
                <a:cubicBezTo>
                  <a:pt x="9566" y="8589"/>
                  <a:pt x="8569" y="8079"/>
                  <a:pt x="7146" y="7846"/>
                </a:cubicBezTo>
                <a:lnTo>
                  <a:pt x="7197" y="8282"/>
                </a:lnTo>
                <a:cubicBezTo>
                  <a:pt x="7559" y="8431"/>
                  <a:pt x="7781" y="8624"/>
                  <a:pt x="7781" y="8836"/>
                </a:cubicBezTo>
                <a:cubicBezTo>
                  <a:pt x="7781" y="9120"/>
                  <a:pt x="7386" y="9369"/>
                  <a:pt x="6788" y="9523"/>
                </a:cubicBezTo>
                <a:lnTo>
                  <a:pt x="6553" y="5860"/>
                </a:lnTo>
                <a:cubicBezTo>
                  <a:pt x="6552" y="5836"/>
                  <a:pt x="6547" y="5814"/>
                  <a:pt x="6542" y="5791"/>
                </a:cubicBezTo>
                <a:cubicBezTo>
                  <a:pt x="6519" y="5139"/>
                  <a:pt x="6446" y="4174"/>
                  <a:pt x="6403" y="3649"/>
                </a:cubicBezTo>
                <a:cubicBezTo>
                  <a:pt x="6689" y="4036"/>
                  <a:pt x="6850" y="4677"/>
                  <a:pt x="6867" y="5540"/>
                </a:cubicBezTo>
                <a:cubicBezTo>
                  <a:pt x="6872" y="5758"/>
                  <a:pt x="7047" y="5931"/>
                  <a:pt x="7269" y="5931"/>
                </a:cubicBezTo>
                <a:cubicBezTo>
                  <a:pt x="7487" y="5926"/>
                  <a:pt x="7660" y="5744"/>
                  <a:pt x="7655" y="5524"/>
                </a:cubicBezTo>
                <a:cubicBezTo>
                  <a:pt x="7628" y="4200"/>
                  <a:pt x="7299" y="3281"/>
                  <a:pt x="6677" y="2794"/>
                </a:cubicBezTo>
                <a:cubicBezTo>
                  <a:pt x="6515" y="2666"/>
                  <a:pt x="6346" y="2557"/>
                  <a:pt x="6150" y="2489"/>
                </a:cubicBezTo>
                <a:cubicBezTo>
                  <a:pt x="5969" y="2425"/>
                  <a:pt x="5778" y="2390"/>
                  <a:pt x="5587" y="2376"/>
                </a:cubicBezTo>
                <a:lnTo>
                  <a:pt x="5875" y="5440"/>
                </a:lnTo>
                <a:lnTo>
                  <a:pt x="5459" y="5934"/>
                </a:lnTo>
                <a:lnTo>
                  <a:pt x="4983" y="5440"/>
                </a:lnTo>
                <a:lnTo>
                  <a:pt x="5344" y="2372"/>
                </a:lnTo>
                <a:cubicBezTo>
                  <a:pt x="5135" y="2379"/>
                  <a:pt x="4926" y="2413"/>
                  <a:pt x="4729" y="2484"/>
                </a:cubicBezTo>
                <a:cubicBezTo>
                  <a:pt x="4648" y="2513"/>
                  <a:pt x="4570" y="2548"/>
                  <a:pt x="4496" y="2592"/>
                </a:cubicBezTo>
                <a:cubicBezTo>
                  <a:pt x="4366" y="2669"/>
                  <a:pt x="4247" y="2762"/>
                  <a:pt x="4134" y="2863"/>
                </a:cubicBezTo>
                <a:cubicBezTo>
                  <a:pt x="3578" y="3362"/>
                  <a:pt x="3276" y="4228"/>
                  <a:pt x="3213" y="5512"/>
                </a:cubicBezTo>
                <a:cubicBezTo>
                  <a:pt x="3202" y="5732"/>
                  <a:pt x="3369" y="5919"/>
                  <a:pt x="3586" y="5930"/>
                </a:cubicBezTo>
                <a:cubicBezTo>
                  <a:pt x="3593" y="5931"/>
                  <a:pt x="3600" y="5931"/>
                  <a:pt x="3606" y="5931"/>
                </a:cubicBezTo>
                <a:cubicBezTo>
                  <a:pt x="3815" y="5931"/>
                  <a:pt x="3989" y="5765"/>
                  <a:pt x="4000" y="5552"/>
                </a:cubicBezTo>
                <a:cubicBezTo>
                  <a:pt x="4043" y="4683"/>
                  <a:pt x="4213" y="4034"/>
                  <a:pt x="4493" y="3649"/>
                </a:cubicBezTo>
                <a:cubicBezTo>
                  <a:pt x="4473" y="4053"/>
                  <a:pt x="4437" y="4787"/>
                  <a:pt x="4406" y="5536"/>
                </a:cubicBezTo>
                <a:cubicBezTo>
                  <a:pt x="4404" y="5550"/>
                  <a:pt x="4400" y="5563"/>
                  <a:pt x="4399" y="5577"/>
                </a:cubicBezTo>
                <a:lnTo>
                  <a:pt x="4121" y="9550"/>
                </a:lnTo>
                <a:cubicBezTo>
                  <a:pt x="3469" y="9398"/>
                  <a:pt x="3036" y="9136"/>
                  <a:pt x="3036" y="8836"/>
                </a:cubicBezTo>
                <a:cubicBezTo>
                  <a:pt x="3036" y="8606"/>
                  <a:pt x="3298" y="8398"/>
                  <a:pt x="3715" y="8245"/>
                </a:cubicBezTo>
                <a:lnTo>
                  <a:pt x="3745" y="7843"/>
                </a:lnTo>
                <a:cubicBezTo>
                  <a:pt x="2309" y="8075"/>
                  <a:pt x="1301" y="8586"/>
                  <a:pt x="1301" y="9187"/>
                </a:cubicBezTo>
                <a:cubicBezTo>
                  <a:pt x="1301" y="9666"/>
                  <a:pt x="1867" y="9963"/>
                  <a:pt x="2241" y="10125"/>
                </a:cubicBezTo>
                <a:cubicBezTo>
                  <a:pt x="2579" y="10272"/>
                  <a:pt x="2936" y="10374"/>
                  <a:pt x="3295" y="10452"/>
                </a:cubicBezTo>
                <a:cubicBezTo>
                  <a:pt x="3509" y="10498"/>
                  <a:pt x="3725" y="10536"/>
                  <a:pt x="3942" y="10566"/>
                </a:cubicBezTo>
                <a:cubicBezTo>
                  <a:pt x="4438" y="10635"/>
                  <a:pt x="4931" y="10667"/>
                  <a:pt x="5434" y="10667"/>
                </a:cubicBezTo>
                <a:cubicBezTo>
                  <a:pt x="5609" y="10667"/>
                  <a:pt x="5784" y="10662"/>
                  <a:pt x="5959" y="10654"/>
                </a:cubicBezTo>
                <a:cubicBezTo>
                  <a:pt x="6767" y="10615"/>
                  <a:pt x="7596" y="10506"/>
                  <a:pt x="8368" y="10227"/>
                </a:cubicBezTo>
                <a:cubicBezTo>
                  <a:pt x="8794" y="10073"/>
                  <a:pt x="9463" y="9799"/>
                  <a:pt x="9557" y="9286"/>
                </a:cubicBezTo>
                <a:cubicBezTo>
                  <a:pt x="9563" y="9253"/>
                  <a:pt x="9566" y="9220"/>
                  <a:pt x="9566" y="9187"/>
                </a:cubicBezTo>
                <a:close/>
                <a:moveTo>
                  <a:pt x="5409" y="9687"/>
                </a:moveTo>
                <a:cubicBezTo>
                  <a:pt x="5316" y="9687"/>
                  <a:pt x="5226" y="9685"/>
                  <a:pt x="5136" y="9681"/>
                </a:cubicBezTo>
                <a:lnTo>
                  <a:pt x="5351" y="6608"/>
                </a:lnTo>
                <a:cubicBezTo>
                  <a:pt x="5390" y="6597"/>
                  <a:pt x="5429" y="6588"/>
                  <a:pt x="5462" y="6588"/>
                </a:cubicBezTo>
                <a:cubicBezTo>
                  <a:pt x="5501" y="6588"/>
                  <a:pt x="5539" y="6595"/>
                  <a:pt x="5577" y="6599"/>
                </a:cubicBezTo>
                <a:lnTo>
                  <a:pt x="5773" y="9671"/>
                </a:lnTo>
                <a:cubicBezTo>
                  <a:pt x="5653" y="9678"/>
                  <a:pt x="5535" y="9687"/>
                  <a:pt x="5409" y="9687"/>
                </a:cubicBezTo>
                <a:close/>
                <a:moveTo>
                  <a:pt x="9863" y="6751"/>
                </a:moveTo>
                <a:cubicBezTo>
                  <a:pt x="9985" y="6801"/>
                  <a:pt x="10061" y="6867"/>
                  <a:pt x="10061" y="6939"/>
                </a:cubicBezTo>
                <a:cubicBezTo>
                  <a:pt x="10061" y="7043"/>
                  <a:pt x="9905" y="7134"/>
                  <a:pt x="9674" y="7185"/>
                </a:cubicBezTo>
                <a:cubicBezTo>
                  <a:pt x="9657" y="7190"/>
                  <a:pt x="9638" y="7195"/>
                  <a:pt x="9619" y="7197"/>
                </a:cubicBezTo>
                <a:cubicBezTo>
                  <a:pt x="9614" y="7198"/>
                  <a:pt x="9609" y="7198"/>
                  <a:pt x="9605" y="7198"/>
                </a:cubicBezTo>
                <a:cubicBezTo>
                  <a:pt x="9499" y="7217"/>
                  <a:pt x="9382" y="7228"/>
                  <a:pt x="9255" y="7228"/>
                </a:cubicBezTo>
                <a:cubicBezTo>
                  <a:pt x="8811" y="7228"/>
                  <a:pt x="8451" y="7098"/>
                  <a:pt x="8451" y="6939"/>
                </a:cubicBezTo>
                <a:cubicBezTo>
                  <a:pt x="8451" y="6861"/>
                  <a:pt x="8539" y="6790"/>
                  <a:pt x="8681" y="6739"/>
                </a:cubicBezTo>
                <a:lnTo>
                  <a:pt x="8691" y="6602"/>
                </a:lnTo>
                <a:cubicBezTo>
                  <a:pt x="8203" y="6681"/>
                  <a:pt x="7861" y="6854"/>
                  <a:pt x="7861" y="7058"/>
                </a:cubicBezTo>
                <a:cubicBezTo>
                  <a:pt x="7861" y="7335"/>
                  <a:pt x="8489" y="7560"/>
                  <a:pt x="9264" y="7560"/>
                </a:cubicBezTo>
                <a:cubicBezTo>
                  <a:pt x="10039" y="7560"/>
                  <a:pt x="10667" y="7335"/>
                  <a:pt x="10667" y="7058"/>
                </a:cubicBezTo>
                <a:cubicBezTo>
                  <a:pt x="10667" y="6855"/>
                  <a:pt x="10328" y="6682"/>
                  <a:pt x="9845" y="6603"/>
                </a:cubicBezTo>
                <a:lnTo>
                  <a:pt x="9863" y="6751"/>
                </a:lnTo>
                <a:close/>
                <a:moveTo>
                  <a:pt x="1068" y="4056"/>
                </a:moveTo>
                <a:cubicBezTo>
                  <a:pt x="1068" y="3866"/>
                  <a:pt x="1220" y="3713"/>
                  <a:pt x="1407" y="3713"/>
                </a:cubicBezTo>
                <a:cubicBezTo>
                  <a:pt x="1594" y="3713"/>
                  <a:pt x="1747" y="3866"/>
                  <a:pt x="1747" y="4056"/>
                </a:cubicBezTo>
                <a:cubicBezTo>
                  <a:pt x="1747" y="4246"/>
                  <a:pt x="1594" y="4399"/>
                  <a:pt x="1407" y="4399"/>
                </a:cubicBezTo>
                <a:cubicBezTo>
                  <a:pt x="1220" y="4399"/>
                  <a:pt x="1068" y="4246"/>
                  <a:pt x="1068" y="4056"/>
                </a:cubicBezTo>
                <a:close/>
                <a:moveTo>
                  <a:pt x="1780" y="4561"/>
                </a:moveTo>
                <a:cubicBezTo>
                  <a:pt x="1731" y="4523"/>
                  <a:pt x="1680" y="4489"/>
                  <a:pt x="1620" y="4469"/>
                </a:cubicBezTo>
                <a:cubicBezTo>
                  <a:pt x="1565" y="4449"/>
                  <a:pt x="1507" y="4439"/>
                  <a:pt x="1449" y="4434"/>
                </a:cubicBezTo>
                <a:lnTo>
                  <a:pt x="1537" y="5365"/>
                </a:lnTo>
                <a:lnTo>
                  <a:pt x="1410" y="5515"/>
                </a:lnTo>
                <a:lnTo>
                  <a:pt x="1266" y="5365"/>
                </a:lnTo>
                <a:lnTo>
                  <a:pt x="1376" y="4433"/>
                </a:lnTo>
                <a:cubicBezTo>
                  <a:pt x="1312" y="4435"/>
                  <a:pt x="1248" y="4446"/>
                  <a:pt x="1189" y="4467"/>
                </a:cubicBezTo>
                <a:cubicBezTo>
                  <a:pt x="1164" y="4476"/>
                  <a:pt x="1140" y="4487"/>
                  <a:pt x="1118" y="4500"/>
                </a:cubicBezTo>
                <a:cubicBezTo>
                  <a:pt x="1078" y="4523"/>
                  <a:pt x="1042" y="4551"/>
                  <a:pt x="1008" y="4582"/>
                </a:cubicBezTo>
                <a:cubicBezTo>
                  <a:pt x="839" y="4734"/>
                  <a:pt x="747" y="4997"/>
                  <a:pt x="728" y="5387"/>
                </a:cubicBezTo>
                <a:cubicBezTo>
                  <a:pt x="725" y="5454"/>
                  <a:pt x="775" y="5511"/>
                  <a:pt x="841" y="5514"/>
                </a:cubicBezTo>
                <a:cubicBezTo>
                  <a:pt x="843" y="5514"/>
                  <a:pt x="845" y="5514"/>
                  <a:pt x="848" y="5514"/>
                </a:cubicBezTo>
                <a:cubicBezTo>
                  <a:pt x="911" y="5514"/>
                  <a:pt x="964" y="5464"/>
                  <a:pt x="967" y="5399"/>
                </a:cubicBezTo>
                <a:cubicBezTo>
                  <a:pt x="980" y="5135"/>
                  <a:pt x="1032" y="4938"/>
                  <a:pt x="1117" y="4821"/>
                </a:cubicBezTo>
                <a:cubicBezTo>
                  <a:pt x="1111" y="4944"/>
                  <a:pt x="1100" y="5167"/>
                  <a:pt x="1090" y="5395"/>
                </a:cubicBezTo>
                <a:cubicBezTo>
                  <a:pt x="1090" y="5399"/>
                  <a:pt x="1089" y="5403"/>
                  <a:pt x="1088" y="5407"/>
                </a:cubicBezTo>
                <a:lnTo>
                  <a:pt x="993" y="6776"/>
                </a:lnTo>
                <a:cubicBezTo>
                  <a:pt x="987" y="6863"/>
                  <a:pt x="1051" y="6938"/>
                  <a:pt x="1136" y="6944"/>
                </a:cubicBezTo>
                <a:cubicBezTo>
                  <a:pt x="1140" y="6944"/>
                  <a:pt x="1144" y="6944"/>
                  <a:pt x="1148" y="6944"/>
                </a:cubicBezTo>
                <a:cubicBezTo>
                  <a:pt x="1228" y="6944"/>
                  <a:pt x="1296" y="6881"/>
                  <a:pt x="1302" y="6798"/>
                </a:cubicBezTo>
                <a:lnTo>
                  <a:pt x="1378" y="5720"/>
                </a:lnTo>
                <a:cubicBezTo>
                  <a:pt x="1389" y="5717"/>
                  <a:pt x="1401" y="5714"/>
                  <a:pt x="1411" y="5714"/>
                </a:cubicBezTo>
                <a:cubicBezTo>
                  <a:pt x="1423" y="5714"/>
                  <a:pt x="1435" y="5716"/>
                  <a:pt x="1446" y="5717"/>
                </a:cubicBezTo>
                <a:lnTo>
                  <a:pt x="1516" y="6807"/>
                </a:lnTo>
                <a:cubicBezTo>
                  <a:pt x="1521" y="6890"/>
                  <a:pt x="1589" y="6954"/>
                  <a:pt x="1671" y="6954"/>
                </a:cubicBezTo>
                <a:cubicBezTo>
                  <a:pt x="1674" y="6954"/>
                  <a:pt x="1677" y="6954"/>
                  <a:pt x="1681" y="6954"/>
                </a:cubicBezTo>
                <a:cubicBezTo>
                  <a:pt x="1766" y="6948"/>
                  <a:pt x="1831" y="6873"/>
                  <a:pt x="1826" y="6787"/>
                </a:cubicBezTo>
                <a:lnTo>
                  <a:pt x="1743" y="5493"/>
                </a:lnTo>
                <a:cubicBezTo>
                  <a:pt x="1742" y="5486"/>
                  <a:pt x="1741" y="5479"/>
                  <a:pt x="1739" y="5472"/>
                </a:cubicBezTo>
                <a:cubicBezTo>
                  <a:pt x="1732" y="5274"/>
                  <a:pt x="1710" y="4981"/>
                  <a:pt x="1697" y="4821"/>
                </a:cubicBezTo>
                <a:cubicBezTo>
                  <a:pt x="1784" y="4939"/>
                  <a:pt x="1833" y="5134"/>
                  <a:pt x="1838" y="5396"/>
                </a:cubicBezTo>
                <a:cubicBezTo>
                  <a:pt x="1840" y="5462"/>
                  <a:pt x="1893" y="5514"/>
                  <a:pt x="1960" y="5514"/>
                </a:cubicBezTo>
                <a:cubicBezTo>
                  <a:pt x="2027" y="5513"/>
                  <a:pt x="2079" y="5458"/>
                  <a:pt x="2078" y="5391"/>
                </a:cubicBezTo>
                <a:cubicBezTo>
                  <a:pt x="2069" y="4988"/>
                  <a:pt x="1969" y="4709"/>
                  <a:pt x="1780" y="4561"/>
                </a:cubicBezTo>
                <a:close/>
                <a:moveTo>
                  <a:pt x="2002" y="6751"/>
                </a:moveTo>
                <a:cubicBezTo>
                  <a:pt x="2124" y="6801"/>
                  <a:pt x="2200" y="6867"/>
                  <a:pt x="2200" y="6939"/>
                </a:cubicBezTo>
                <a:cubicBezTo>
                  <a:pt x="2200" y="7043"/>
                  <a:pt x="2044" y="7134"/>
                  <a:pt x="1813" y="7185"/>
                </a:cubicBezTo>
                <a:cubicBezTo>
                  <a:pt x="1795" y="7190"/>
                  <a:pt x="1777" y="7195"/>
                  <a:pt x="1758" y="7197"/>
                </a:cubicBezTo>
                <a:cubicBezTo>
                  <a:pt x="1753" y="7198"/>
                  <a:pt x="1748" y="7198"/>
                  <a:pt x="1743" y="7198"/>
                </a:cubicBezTo>
                <a:cubicBezTo>
                  <a:pt x="1637" y="7217"/>
                  <a:pt x="1520" y="7228"/>
                  <a:pt x="1394" y="7228"/>
                </a:cubicBezTo>
                <a:cubicBezTo>
                  <a:pt x="950" y="7228"/>
                  <a:pt x="589" y="7098"/>
                  <a:pt x="589" y="6939"/>
                </a:cubicBezTo>
                <a:cubicBezTo>
                  <a:pt x="589" y="6861"/>
                  <a:pt x="678" y="6790"/>
                  <a:pt x="820" y="6739"/>
                </a:cubicBezTo>
                <a:lnTo>
                  <a:pt x="830" y="6602"/>
                </a:lnTo>
                <a:cubicBezTo>
                  <a:pt x="342" y="6681"/>
                  <a:pt x="0" y="6854"/>
                  <a:pt x="0" y="7058"/>
                </a:cubicBezTo>
                <a:cubicBezTo>
                  <a:pt x="0" y="7335"/>
                  <a:pt x="628" y="7560"/>
                  <a:pt x="1403" y="7560"/>
                </a:cubicBezTo>
                <a:cubicBezTo>
                  <a:pt x="2177" y="7560"/>
                  <a:pt x="2805" y="7335"/>
                  <a:pt x="2805" y="7058"/>
                </a:cubicBezTo>
                <a:cubicBezTo>
                  <a:pt x="2805" y="6855"/>
                  <a:pt x="2467" y="6682"/>
                  <a:pt x="1984" y="6603"/>
                </a:cubicBezTo>
                <a:lnTo>
                  <a:pt x="2002" y="6751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</a:ln>
        </p:spPr>
        <p:txBody>
          <a:bodyPr lIns="0" tIns="0" rIns="0" bIns="0"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ECC8FA32-5E42-4983-9D0B-8C97D4DF2C61}"/>
              </a:ext>
            </a:extLst>
          </p:cNvPr>
          <p:cNvSpPr/>
          <p:nvPr/>
        </p:nvSpPr>
        <p:spPr bwMode="auto">
          <a:xfrm>
            <a:off x="1009839" y="3973869"/>
            <a:ext cx="1849411" cy="3795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>
                <a:cs typeface="+mn-ea"/>
                <a:sym typeface="+mn-lt"/>
              </a:rPr>
              <a:t>T</a:t>
            </a:r>
            <a:r>
              <a:rPr lang="en-US" altLang="zh-CN" sz="100" b="1" kern="0">
                <a:cs typeface="+mn-ea"/>
                <a:sym typeface="+mn-lt"/>
              </a:rPr>
              <a:t> </a:t>
            </a:r>
            <a:r>
              <a:rPr lang="en-US" altLang="zh-CN" sz="1600" b="1" kern="0">
                <a:cs typeface="+mn-ea"/>
                <a:sym typeface="+mn-lt"/>
              </a:rPr>
              <a:t>ext </a:t>
            </a:r>
            <a:r>
              <a:rPr lang="en-US" altLang="zh-CN" sz="1600" b="1" kern="0" dirty="0">
                <a:cs typeface="+mn-ea"/>
                <a:sym typeface="+mn-lt"/>
              </a:rPr>
              <a:t>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DE0D30D-54C5-4CB9-8B3D-EA5F0E35ADFE}"/>
              </a:ext>
            </a:extLst>
          </p:cNvPr>
          <p:cNvSpPr/>
          <p:nvPr/>
        </p:nvSpPr>
        <p:spPr>
          <a:xfrm>
            <a:off x="1009839" y="4353423"/>
            <a:ext cx="1849411" cy="6176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porting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8724BA88-89B1-4E51-8307-CF322D13641D}"/>
              </a:ext>
            </a:extLst>
          </p:cNvPr>
          <p:cNvSpPr/>
          <p:nvPr/>
        </p:nvSpPr>
        <p:spPr bwMode="auto">
          <a:xfrm>
            <a:off x="3090566" y="3973869"/>
            <a:ext cx="1849411" cy="3795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>
                <a:cs typeface="+mn-ea"/>
                <a:sym typeface="+mn-lt"/>
              </a:rPr>
              <a:t>T</a:t>
            </a:r>
            <a:r>
              <a:rPr lang="en-US" altLang="zh-CN" sz="100" b="1" kern="0">
                <a:cs typeface="+mn-ea"/>
                <a:sym typeface="+mn-lt"/>
              </a:rPr>
              <a:t> </a:t>
            </a:r>
            <a:r>
              <a:rPr lang="en-US" altLang="zh-CN" sz="1600" b="1" kern="0">
                <a:cs typeface="+mn-ea"/>
                <a:sym typeface="+mn-lt"/>
              </a:rPr>
              <a:t>ext </a:t>
            </a:r>
            <a:r>
              <a:rPr lang="en-US" altLang="zh-CN" sz="1600" b="1" kern="0" dirty="0">
                <a:cs typeface="+mn-ea"/>
                <a:sym typeface="+mn-lt"/>
              </a:rPr>
              <a:t>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8077C3F9-A9DC-47F5-AD88-9ED22DBF47AD}"/>
              </a:ext>
            </a:extLst>
          </p:cNvPr>
          <p:cNvSpPr/>
          <p:nvPr/>
        </p:nvSpPr>
        <p:spPr>
          <a:xfrm>
            <a:off x="3090566" y="4353423"/>
            <a:ext cx="1849411" cy="6176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porting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9F157CB4-8562-4DD6-84EC-9D53D4D5CE93}"/>
              </a:ext>
            </a:extLst>
          </p:cNvPr>
          <p:cNvSpPr/>
          <p:nvPr/>
        </p:nvSpPr>
        <p:spPr bwMode="auto">
          <a:xfrm>
            <a:off x="5171293" y="1494920"/>
            <a:ext cx="1849411" cy="3795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>
                <a:cs typeface="+mn-ea"/>
                <a:sym typeface="+mn-lt"/>
              </a:rPr>
              <a:t>T</a:t>
            </a:r>
            <a:r>
              <a:rPr lang="en-US" altLang="zh-CN" sz="100" b="1" kern="0">
                <a:cs typeface="+mn-ea"/>
                <a:sym typeface="+mn-lt"/>
              </a:rPr>
              <a:t> </a:t>
            </a:r>
            <a:r>
              <a:rPr lang="en-US" altLang="zh-CN" sz="1600" b="1" kern="0">
                <a:cs typeface="+mn-ea"/>
                <a:sym typeface="+mn-lt"/>
              </a:rPr>
              <a:t>ext </a:t>
            </a:r>
            <a:r>
              <a:rPr lang="en-US" altLang="zh-CN" sz="1600" b="1" kern="0" dirty="0">
                <a:cs typeface="+mn-ea"/>
                <a:sym typeface="+mn-lt"/>
              </a:rPr>
              <a:t>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C6CE4D1-37A3-47CE-BD7E-D9F4DF1942E6}"/>
              </a:ext>
            </a:extLst>
          </p:cNvPr>
          <p:cNvSpPr/>
          <p:nvPr/>
        </p:nvSpPr>
        <p:spPr>
          <a:xfrm>
            <a:off x="5171293" y="1874474"/>
            <a:ext cx="1849411" cy="6176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porting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5820974-7EC8-4375-86AE-E4C30FE1EAE9}"/>
              </a:ext>
            </a:extLst>
          </p:cNvPr>
          <p:cNvSpPr/>
          <p:nvPr/>
        </p:nvSpPr>
        <p:spPr bwMode="auto">
          <a:xfrm>
            <a:off x="7252020" y="3973869"/>
            <a:ext cx="1849411" cy="3795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>
                <a:cs typeface="+mn-ea"/>
                <a:sym typeface="+mn-lt"/>
              </a:rPr>
              <a:t>T</a:t>
            </a:r>
            <a:r>
              <a:rPr lang="en-US" altLang="zh-CN" sz="100" b="1" kern="0">
                <a:cs typeface="+mn-ea"/>
                <a:sym typeface="+mn-lt"/>
              </a:rPr>
              <a:t> </a:t>
            </a:r>
            <a:r>
              <a:rPr lang="en-US" altLang="zh-CN" sz="1600" b="1" kern="0">
                <a:cs typeface="+mn-ea"/>
                <a:sym typeface="+mn-lt"/>
              </a:rPr>
              <a:t>ext </a:t>
            </a:r>
            <a:r>
              <a:rPr lang="en-US" altLang="zh-CN" sz="1600" b="1" kern="0" dirty="0">
                <a:cs typeface="+mn-ea"/>
                <a:sym typeface="+mn-lt"/>
              </a:rPr>
              <a:t>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1A53AA3B-0EC0-4039-986D-F3369CA00F6F}"/>
              </a:ext>
            </a:extLst>
          </p:cNvPr>
          <p:cNvSpPr/>
          <p:nvPr/>
        </p:nvSpPr>
        <p:spPr>
          <a:xfrm>
            <a:off x="7252020" y="4353423"/>
            <a:ext cx="1849411" cy="6176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porting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D418AB33-C541-4ECA-BBC7-E1080905DF18}"/>
              </a:ext>
            </a:extLst>
          </p:cNvPr>
          <p:cNvSpPr/>
          <p:nvPr/>
        </p:nvSpPr>
        <p:spPr bwMode="auto">
          <a:xfrm>
            <a:off x="9332747" y="3973869"/>
            <a:ext cx="1849411" cy="379554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>
                <a:cs typeface="+mn-ea"/>
                <a:sym typeface="+mn-lt"/>
              </a:rPr>
              <a:t>T</a:t>
            </a:r>
            <a:r>
              <a:rPr lang="en-US" altLang="zh-CN" sz="100" b="1" kern="0">
                <a:cs typeface="+mn-ea"/>
                <a:sym typeface="+mn-lt"/>
              </a:rPr>
              <a:t> </a:t>
            </a:r>
            <a:r>
              <a:rPr lang="en-US" altLang="zh-CN" sz="1600" b="1" kern="0">
                <a:cs typeface="+mn-ea"/>
                <a:sym typeface="+mn-lt"/>
              </a:rPr>
              <a:t>ext </a:t>
            </a:r>
            <a:r>
              <a:rPr lang="en-US" altLang="zh-CN" sz="1600" b="1" kern="0" dirty="0">
                <a:cs typeface="+mn-ea"/>
                <a:sym typeface="+mn-lt"/>
              </a:rPr>
              <a:t>here</a:t>
            </a:r>
            <a:endParaRPr lang="zh-CN" altLang="en-US" sz="1600" b="1" kern="0" dirty="0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0B4EA58B-19E5-4946-88F4-00772E468729}"/>
              </a:ext>
            </a:extLst>
          </p:cNvPr>
          <p:cNvSpPr/>
          <p:nvPr/>
        </p:nvSpPr>
        <p:spPr>
          <a:xfrm>
            <a:off x="9332747" y="4353423"/>
            <a:ext cx="1849411" cy="61767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porting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9871956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结果一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8039933" y="2978142"/>
            <a:ext cx="3478967" cy="13208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kern="0">
                <a:solidFill>
                  <a:schemeClr val="tx1"/>
                </a:solidFill>
                <a:cs typeface="+mn-ea"/>
                <a:sym typeface="+mn-lt"/>
              </a:rPr>
              <a:t>…T</a:t>
            </a:r>
            <a:r>
              <a:rPr lang="en-US" altLang="zh-CN" sz="100" b="1" kern="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b="1" kern="0">
                <a:solidFill>
                  <a:schemeClr val="tx1"/>
                </a:solidFill>
                <a:cs typeface="+mn-ea"/>
                <a:sym typeface="+mn-lt"/>
              </a:rPr>
              <a:t>EXT</a:t>
            </a:r>
            <a:endParaRPr lang="en-US" altLang="zh-CN" b="1" kern="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673099" y="2978142"/>
            <a:ext cx="3478967" cy="1320816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 anchorCtr="0">
            <a:normAutofit/>
          </a:bodyPr>
          <a:lstStyle/>
          <a:p>
            <a:pPr algn="ctr">
              <a:lnSpc>
                <a:spcPct val="150000"/>
              </a:lnSpc>
            </a:pPr>
            <a:r>
              <a:rPr lang="en-US" altLang="zh-CN" b="1" kern="0">
                <a:solidFill>
                  <a:schemeClr val="tx1"/>
                </a:solidFill>
                <a:cs typeface="+mn-ea"/>
                <a:sym typeface="+mn-lt"/>
              </a:rPr>
              <a:t>…T</a:t>
            </a:r>
            <a:r>
              <a:rPr lang="en-US" altLang="zh-CN" sz="100" b="1" kern="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b="1" kern="0">
                <a:solidFill>
                  <a:schemeClr val="tx1"/>
                </a:solidFill>
                <a:cs typeface="+mn-ea"/>
                <a:sym typeface="+mn-lt"/>
              </a:rPr>
              <a:t>EXT</a:t>
            </a:r>
            <a:endParaRPr lang="en-US" altLang="zh-CN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C4DEE7B5-B7D3-4B78-9276-2925B217FCF7}"/>
              </a:ext>
            </a:extLst>
          </p:cNvPr>
          <p:cNvSpPr/>
          <p:nvPr/>
        </p:nvSpPr>
        <p:spPr bwMode="auto">
          <a:xfrm>
            <a:off x="4152066" y="1684946"/>
            <a:ext cx="3865570" cy="3907208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10800" y="0"/>
                </a:moveTo>
                <a:lnTo>
                  <a:pt x="21600" y="0"/>
                </a:lnTo>
                <a:lnTo>
                  <a:pt x="21600" y="21599"/>
                </a:lnTo>
                <a:lnTo>
                  <a:pt x="0" y="21599"/>
                </a:lnTo>
                <a:lnTo>
                  <a:pt x="0" y="0"/>
                </a:lnTo>
                <a:cubicBezTo>
                  <a:pt x="3599" y="0"/>
                  <a:pt x="7199" y="0"/>
                  <a:pt x="10800" y="0"/>
                </a:cubicBezTo>
              </a:path>
            </a:pathLst>
          </a:custGeom>
          <a:pattFill prst="dkDn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dirty="0">
              <a:solidFill>
                <a:schemeClr val="lt1"/>
              </a:solidFill>
              <a:cs typeface="+mn-ea"/>
              <a:sym typeface="+mn-lt"/>
            </a:endParaRPr>
          </a:p>
        </p:txBody>
      </p:sp>
      <p:sp>
        <p:nvSpPr>
          <p:cNvPr id="43" name="流程图: 接点 42">
            <a:extLst>
              <a:ext uri="{FF2B5EF4-FFF2-40B4-BE49-F238E27FC236}">
                <a16:creationId xmlns:a16="http://schemas.microsoft.com/office/drawing/2014/main" id="{3964C6A6-1838-40A5-BA31-0F7CC00D58F7}"/>
              </a:ext>
            </a:extLst>
          </p:cNvPr>
          <p:cNvSpPr/>
          <p:nvPr/>
        </p:nvSpPr>
        <p:spPr>
          <a:xfrm>
            <a:off x="5912337" y="1512432"/>
            <a:ext cx="345028" cy="345028"/>
          </a:xfrm>
          <a:prstGeom prst="flowChartConnector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4" name="等腰三角形 43">
            <a:extLst>
              <a:ext uri="{FF2B5EF4-FFF2-40B4-BE49-F238E27FC236}">
                <a16:creationId xmlns:a16="http://schemas.microsoft.com/office/drawing/2014/main" id="{B528C8E1-7A14-4DB0-B6BB-D0BBA31D64B1}"/>
              </a:ext>
            </a:extLst>
          </p:cNvPr>
          <p:cNvSpPr/>
          <p:nvPr/>
        </p:nvSpPr>
        <p:spPr>
          <a:xfrm rot="5400000">
            <a:off x="6005229" y="1616307"/>
            <a:ext cx="159244" cy="137279"/>
          </a:xfrm>
          <a:prstGeom prst="triangl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流程图: 接点 40">
            <a:extLst>
              <a:ext uri="{FF2B5EF4-FFF2-40B4-BE49-F238E27FC236}">
                <a16:creationId xmlns:a16="http://schemas.microsoft.com/office/drawing/2014/main" id="{3964C6A6-1838-40A5-BA31-0F7CC00D58F7}"/>
              </a:ext>
            </a:extLst>
          </p:cNvPr>
          <p:cNvSpPr/>
          <p:nvPr/>
        </p:nvSpPr>
        <p:spPr>
          <a:xfrm>
            <a:off x="5912337" y="5419640"/>
            <a:ext cx="345028" cy="345028"/>
          </a:xfrm>
          <a:prstGeom prst="flowChartConnector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等腰三角形 41">
            <a:extLst>
              <a:ext uri="{FF2B5EF4-FFF2-40B4-BE49-F238E27FC236}">
                <a16:creationId xmlns:a16="http://schemas.microsoft.com/office/drawing/2014/main" id="{B528C8E1-7A14-4DB0-B6BB-D0BBA31D64B1}"/>
              </a:ext>
            </a:extLst>
          </p:cNvPr>
          <p:cNvSpPr/>
          <p:nvPr/>
        </p:nvSpPr>
        <p:spPr>
          <a:xfrm rot="16200000" flipH="1">
            <a:off x="6005229" y="5523515"/>
            <a:ext cx="159244" cy="137279"/>
          </a:xfrm>
          <a:prstGeom prst="triangl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9" name="流程图: 接点 38">
            <a:extLst>
              <a:ext uri="{FF2B5EF4-FFF2-40B4-BE49-F238E27FC236}">
                <a16:creationId xmlns:a16="http://schemas.microsoft.com/office/drawing/2014/main" id="{3964C6A6-1838-40A5-BA31-0F7CC00D58F7}"/>
              </a:ext>
            </a:extLst>
          </p:cNvPr>
          <p:cNvSpPr/>
          <p:nvPr/>
        </p:nvSpPr>
        <p:spPr>
          <a:xfrm>
            <a:off x="7848341" y="3466036"/>
            <a:ext cx="345028" cy="345028"/>
          </a:xfrm>
          <a:prstGeom prst="flowChartConnector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0" name="等腰三角形 39">
            <a:extLst>
              <a:ext uri="{FF2B5EF4-FFF2-40B4-BE49-F238E27FC236}">
                <a16:creationId xmlns:a16="http://schemas.microsoft.com/office/drawing/2014/main" id="{B528C8E1-7A14-4DB0-B6BB-D0BBA31D64B1}"/>
              </a:ext>
            </a:extLst>
          </p:cNvPr>
          <p:cNvSpPr/>
          <p:nvPr/>
        </p:nvSpPr>
        <p:spPr>
          <a:xfrm rot="10800000">
            <a:off x="7941233" y="3569911"/>
            <a:ext cx="159244" cy="137278"/>
          </a:xfrm>
          <a:prstGeom prst="triangl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流程图: 接点 36">
            <a:extLst>
              <a:ext uri="{FF2B5EF4-FFF2-40B4-BE49-F238E27FC236}">
                <a16:creationId xmlns:a16="http://schemas.microsoft.com/office/drawing/2014/main" id="{3964C6A6-1838-40A5-BA31-0F7CC00D58F7}"/>
              </a:ext>
            </a:extLst>
          </p:cNvPr>
          <p:cNvSpPr/>
          <p:nvPr/>
        </p:nvSpPr>
        <p:spPr>
          <a:xfrm flipV="1">
            <a:off x="3976333" y="3466037"/>
            <a:ext cx="345028" cy="345028"/>
          </a:xfrm>
          <a:prstGeom prst="flowChartConnector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等腰三角形 37">
            <a:extLst>
              <a:ext uri="{FF2B5EF4-FFF2-40B4-BE49-F238E27FC236}">
                <a16:creationId xmlns:a16="http://schemas.microsoft.com/office/drawing/2014/main" id="{B528C8E1-7A14-4DB0-B6BB-D0BBA31D64B1}"/>
              </a:ext>
            </a:extLst>
          </p:cNvPr>
          <p:cNvSpPr/>
          <p:nvPr/>
        </p:nvSpPr>
        <p:spPr>
          <a:xfrm rot="10800000" flipV="1">
            <a:off x="4069225" y="3569912"/>
            <a:ext cx="159244" cy="137279"/>
          </a:xfrm>
          <a:prstGeom prst="triangle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FAC7BDBF-3E95-4E63-81A3-4047A0958E5F}"/>
              </a:ext>
            </a:extLst>
          </p:cNvPr>
          <p:cNvSpPr/>
          <p:nvPr/>
        </p:nvSpPr>
        <p:spPr>
          <a:xfrm>
            <a:off x="3807816" y="1478206"/>
            <a:ext cx="708440" cy="708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8CC13D89-BC5E-47D7-8C69-684048FA5C8D}"/>
              </a:ext>
            </a:extLst>
          </p:cNvPr>
          <p:cNvSpPr/>
          <p:nvPr/>
        </p:nvSpPr>
        <p:spPr>
          <a:xfrm>
            <a:off x="4008103" y="1691204"/>
            <a:ext cx="307865" cy="282445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1857077" y="1317314"/>
            <a:ext cx="1763279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1857077" y="1709427"/>
            <a:ext cx="1763279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FAC7BDBF-3E95-4E63-81A3-4047A0958E5F}"/>
              </a:ext>
            </a:extLst>
          </p:cNvPr>
          <p:cNvSpPr/>
          <p:nvPr/>
        </p:nvSpPr>
        <p:spPr>
          <a:xfrm>
            <a:off x="7653446" y="1478206"/>
            <a:ext cx="708440" cy="708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8CC13D89-BC5E-47D7-8C69-684048FA5C8D}"/>
              </a:ext>
            </a:extLst>
          </p:cNvPr>
          <p:cNvSpPr/>
          <p:nvPr/>
        </p:nvSpPr>
        <p:spPr>
          <a:xfrm>
            <a:off x="7853733" y="1691204"/>
            <a:ext cx="307865" cy="282445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8549346" y="1317314"/>
            <a:ext cx="1763279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8549346" y="1709427"/>
            <a:ext cx="1763279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FAC7BDBF-3E95-4E63-81A3-4047A0958E5F}"/>
              </a:ext>
            </a:extLst>
          </p:cNvPr>
          <p:cNvSpPr/>
          <p:nvPr/>
        </p:nvSpPr>
        <p:spPr>
          <a:xfrm>
            <a:off x="3807816" y="5090454"/>
            <a:ext cx="708440" cy="708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8CC13D89-BC5E-47D7-8C69-684048FA5C8D}"/>
              </a:ext>
            </a:extLst>
          </p:cNvPr>
          <p:cNvSpPr/>
          <p:nvPr/>
        </p:nvSpPr>
        <p:spPr>
          <a:xfrm>
            <a:off x="4008103" y="5303452"/>
            <a:ext cx="307865" cy="282445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1857077" y="4929562"/>
            <a:ext cx="1763279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1857077" y="5321675"/>
            <a:ext cx="1763279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r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r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FAC7BDBF-3E95-4E63-81A3-4047A0958E5F}"/>
              </a:ext>
            </a:extLst>
          </p:cNvPr>
          <p:cNvSpPr/>
          <p:nvPr/>
        </p:nvSpPr>
        <p:spPr>
          <a:xfrm>
            <a:off x="7653446" y="5090454"/>
            <a:ext cx="708440" cy="708440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8CC13D89-BC5E-47D7-8C69-684048FA5C8D}"/>
              </a:ext>
            </a:extLst>
          </p:cNvPr>
          <p:cNvSpPr/>
          <p:nvPr/>
        </p:nvSpPr>
        <p:spPr>
          <a:xfrm>
            <a:off x="7853733" y="5303452"/>
            <a:ext cx="307865" cy="282445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8549346" y="4929562"/>
            <a:ext cx="1763279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8549346" y="5321675"/>
            <a:ext cx="1763279" cy="63811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>
              <a:lnSpc>
                <a:spcPct val="150000"/>
              </a:lnSpc>
            </a:pP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>
              <a:lnSpc>
                <a:spcPct val="150000"/>
              </a:lnSpc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11389478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结果二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/>
          <p:cNvCxnSpPr>
            <a:stCxn id="11" idx="2"/>
          </p:cNvCxnSpPr>
          <p:nvPr/>
        </p:nvCxnSpPr>
        <p:spPr>
          <a:xfrm flipH="1" flipV="1">
            <a:off x="669925" y="2330626"/>
            <a:ext cx="508927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/>
          <p:cNvCxnSpPr>
            <a:stCxn id="21" idx="2"/>
          </p:cNvCxnSpPr>
          <p:nvPr/>
        </p:nvCxnSpPr>
        <p:spPr>
          <a:xfrm flipH="1">
            <a:off x="669925" y="3710826"/>
            <a:ext cx="36833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stCxn id="18" idx="5"/>
          </p:cNvCxnSpPr>
          <p:nvPr/>
        </p:nvCxnSpPr>
        <p:spPr>
          <a:xfrm flipV="1">
            <a:off x="7634139" y="5172076"/>
            <a:ext cx="388634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AAEF09E0-563E-48AF-8D32-D11CAF2EE4F2}"/>
              </a:ext>
            </a:extLst>
          </p:cNvPr>
          <p:cNvSpPr/>
          <p:nvPr/>
        </p:nvSpPr>
        <p:spPr>
          <a:xfrm rot="18900000">
            <a:off x="6366185" y="2504995"/>
            <a:ext cx="858431" cy="881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2960" y="2851"/>
                  <a:pt x="4637" y="6730"/>
                  <a:pt x="4660" y="10784"/>
                </a:cubicBezTo>
                <a:cubicBezTo>
                  <a:pt x="4684" y="14829"/>
                  <a:pt x="3060" y="18718"/>
                  <a:pt x="144" y="21600"/>
                </a:cubicBezTo>
                <a:lnTo>
                  <a:pt x="21358" y="21288"/>
                </a:lnTo>
                <a:cubicBezTo>
                  <a:pt x="18644" y="18590"/>
                  <a:pt x="17078" y="14994"/>
                  <a:pt x="16974" y="11219"/>
                </a:cubicBezTo>
                <a:cubicBezTo>
                  <a:pt x="16858" y="7040"/>
                  <a:pt x="18534" y="3002"/>
                  <a:pt x="21600" y="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/>
            <a:endParaRPr sz="11200">
              <a:solidFill>
                <a:srgbClr val="070707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DE11B487-943B-4701-912D-E5C758814444}"/>
              </a:ext>
            </a:extLst>
          </p:cNvPr>
          <p:cNvSpPr/>
          <p:nvPr/>
        </p:nvSpPr>
        <p:spPr>
          <a:xfrm rot="18900000">
            <a:off x="5573044" y="1720619"/>
            <a:ext cx="1216243" cy="12162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defTabSz="609524"/>
            <a:endParaRPr sz="11200">
              <a:solidFill>
                <a:srgbClr val="070707"/>
              </a:solidFill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3FEC61C1-9FFC-4F63-9E1E-5C3268C534F7}"/>
              </a:ext>
            </a:extLst>
          </p:cNvPr>
          <p:cNvSpPr/>
          <p:nvPr/>
        </p:nvSpPr>
        <p:spPr>
          <a:xfrm>
            <a:off x="5759197" y="1909442"/>
            <a:ext cx="851076" cy="851056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8DA80954-7B8F-4B49-92A8-CB3A90CC969B}"/>
              </a:ext>
            </a:extLst>
          </p:cNvPr>
          <p:cNvSpPr/>
          <p:nvPr/>
        </p:nvSpPr>
        <p:spPr>
          <a:xfrm rot="18900000">
            <a:off x="6806286" y="2951829"/>
            <a:ext cx="1216243" cy="12162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77500" lnSpcReduction="20000"/>
          </a:bodyPr>
          <a:lstStyle/>
          <a:p>
            <a:pPr defTabSz="609524"/>
            <a:endParaRPr sz="11200">
              <a:solidFill>
                <a:srgbClr val="070707"/>
              </a:solidFill>
              <a:cs typeface="+mn-ea"/>
              <a:sym typeface="+mn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52A3C7B8-5AF2-437B-879C-C483476CB16E}"/>
              </a:ext>
            </a:extLst>
          </p:cNvPr>
          <p:cNvSpPr/>
          <p:nvPr/>
        </p:nvSpPr>
        <p:spPr>
          <a:xfrm>
            <a:off x="6993514" y="3143700"/>
            <a:ext cx="851075" cy="851056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3E27391A-60ED-4407-8822-C7C25C56E541}"/>
              </a:ext>
            </a:extLst>
          </p:cNvPr>
          <p:cNvSpPr/>
          <p:nvPr/>
        </p:nvSpPr>
        <p:spPr>
          <a:xfrm rot="18900000">
            <a:off x="6278686" y="3817466"/>
            <a:ext cx="858430" cy="881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2960" y="2851"/>
                  <a:pt x="4637" y="6730"/>
                  <a:pt x="4660" y="10784"/>
                </a:cubicBezTo>
                <a:cubicBezTo>
                  <a:pt x="4684" y="14829"/>
                  <a:pt x="3060" y="18718"/>
                  <a:pt x="144" y="21600"/>
                </a:cubicBezTo>
                <a:lnTo>
                  <a:pt x="21358" y="21288"/>
                </a:lnTo>
                <a:cubicBezTo>
                  <a:pt x="18644" y="18590"/>
                  <a:pt x="17078" y="14994"/>
                  <a:pt x="16974" y="11219"/>
                </a:cubicBezTo>
                <a:cubicBezTo>
                  <a:pt x="16858" y="7040"/>
                  <a:pt x="18534" y="3002"/>
                  <a:pt x="21600" y="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8400">
                <a:solidFill>
                  <a:srgbClr val="070707"/>
                </a:solidFill>
              </a:defRPr>
            </a:pPr>
            <a:endParaRPr sz="11200"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00D11EC4-5DA4-4238-AEC5-45C5822D4D8F}"/>
              </a:ext>
            </a:extLst>
          </p:cNvPr>
          <p:cNvSpPr/>
          <p:nvPr/>
        </p:nvSpPr>
        <p:spPr>
          <a:xfrm rot="18900000">
            <a:off x="5485545" y="3033089"/>
            <a:ext cx="1216243" cy="12162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11600">
                <a:solidFill>
                  <a:srgbClr val="77716C"/>
                </a:solidFill>
              </a:defRPr>
            </a:pPr>
            <a:endParaRPr sz="15467">
              <a:cs typeface="+mn-ea"/>
              <a:sym typeface="+mn-lt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3BEFAD97-F232-47BB-9B2A-5471944A6509}"/>
              </a:ext>
            </a:extLst>
          </p:cNvPr>
          <p:cNvSpPr/>
          <p:nvPr/>
        </p:nvSpPr>
        <p:spPr>
          <a:xfrm>
            <a:off x="5680966" y="3218288"/>
            <a:ext cx="851075" cy="851055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6319C286-7134-4C94-8BE7-4590D55AEC17}"/>
              </a:ext>
            </a:extLst>
          </p:cNvPr>
          <p:cNvSpPr/>
          <p:nvPr/>
        </p:nvSpPr>
        <p:spPr>
          <a:xfrm rot="18900000">
            <a:off x="6718786" y="4264300"/>
            <a:ext cx="1216243" cy="121624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11600">
                <a:solidFill>
                  <a:srgbClr val="77716C"/>
                </a:solidFill>
              </a:defRPr>
            </a:pPr>
            <a:endParaRPr sz="15467"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A5C61313-034E-4805-A346-772ABB9E59A8}"/>
              </a:ext>
            </a:extLst>
          </p:cNvPr>
          <p:cNvSpPr/>
          <p:nvPr/>
        </p:nvSpPr>
        <p:spPr>
          <a:xfrm>
            <a:off x="6907701" y="4452547"/>
            <a:ext cx="851075" cy="851055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F912C8CF-FE67-4BDD-A5AD-0A3B1C3E4B1B}"/>
              </a:ext>
            </a:extLst>
          </p:cNvPr>
          <p:cNvSpPr/>
          <p:nvPr/>
        </p:nvSpPr>
        <p:spPr>
          <a:xfrm rot="18900000">
            <a:off x="4962611" y="3893404"/>
            <a:ext cx="858430" cy="88177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0" y="0"/>
                </a:moveTo>
                <a:cubicBezTo>
                  <a:pt x="2960" y="2851"/>
                  <a:pt x="4637" y="6730"/>
                  <a:pt x="4660" y="10784"/>
                </a:cubicBezTo>
                <a:cubicBezTo>
                  <a:pt x="4684" y="14829"/>
                  <a:pt x="3060" y="18718"/>
                  <a:pt x="144" y="21600"/>
                </a:cubicBezTo>
                <a:lnTo>
                  <a:pt x="21358" y="21288"/>
                </a:lnTo>
                <a:cubicBezTo>
                  <a:pt x="18644" y="18590"/>
                  <a:pt x="17078" y="14994"/>
                  <a:pt x="16974" y="11219"/>
                </a:cubicBezTo>
                <a:cubicBezTo>
                  <a:pt x="16858" y="7040"/>
                  <a:pt x="18534" y="3002"/>
                  <a:pt x="21600" y="75"/>
                </a:cubicBez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8400">
                <a:solidFill>
                  <a:srgbClr val="070707"/>
                </a:solidFill>
              </a:defRPr>
            </a:pPr>
            <a:endParaRPr sz="11200"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6F25413A-64DE-4EE7-8341-C49619281A66}"/>
              </a:ext>
            </a:extLst>
          </p:cNvPr>
          <p:cNvSpPr/>
          <p:nvPr/>
        </p:nvSpPr>
        <p:spPr>
          <a:xfrm rot="18900000">
            <a:off x="4169471" y="3109028"/>
            <a:ext cx="1216243" cy="12162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11600">
                <a:solidFill>
                  <a:srgbClr val="77716C"/>
                </a:solidFill>
              </a:defRPr>
            </a:pPr>
            <a:endParaRPr sz="15467"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52E6D6B8-9A3E-4045-8146-96957E14EB4B}"/>
              </a:ext>
            </a:extLst>
          </p:cNvPr>
          <p:cNvSpPr/>
          <p:nvPr/>
        </p:nvSpPr>
        <p:spPr>
          <a:xfrm>
            <a:off x="4353258" y="3285298"/>
            <a:ext cx="851076" cy="851056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944580C7-3704-4810-8DD4-BBF5F327D64D}"/>
              </a:ext>
            </a:extLst>
          </p:cNvPr>
          <p:cNvSpPr/>
          <p:nvPr/>
        </p:nvSpPr>
        <p:spPr>
          <a:xfrm rot="18900000">
            <a:off x="5402713" y="4340240"/>
            <a:ext cx="1216243" cy="121624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55000" lnSpcReduction="20000"/>
          </a:bodyPr>
          <a:lstStyle/>
          <a:p>
            <a:pPr defTabSz="609524">
              <a:defRPr sz="11600">
                <a:solidFill>
                  <a:srgbClr val="77716C"/>
                </a:solidFill>
              </a:defRPr>
            </a:pPr>
            <a:endParaRPr sz="15467">
              <a:cs typeface="+mn-ea"/>
              <a:sym typeface="+mn-lt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8BCD81D1-B72A-45CA-B616-0321D6E8C9E5}"/>
              </a:ext>
            </a:extLst>
          </p:cNvPr>
          <p:cNvSpPr/>
          <p:nvPr/>
        </p:nvSpPr>
        <p:spPr>
          <a:xfrm>
            <a:off x="5579996" y="4519557"/>
            <a:ext cx="851075" cy="851056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</p:spPr>
        <p:txBody>
          <a:bodyPr wrap="square" lIns="91440" tIns="45720" rIns="91440" bIns="45720" anchor="ctr">
            <a:normAutofit fontScale="62500" lnSpcReduction="20000"/>
          </a:bodyPr>
          <a:lstStyle/>
          <a:p>
            <a:pPr defTabSz="609524">
              <a:defRPr sz="4800">
                <a:solidFill>
                  <a:srgbClr val="070707"/>
                </a:solidFill>
              </a:defRPr>
            </a:pPr>
            <a:endParaRPr sz="6400"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77A4A94B-352C-4F20-97D8-56FC05C91DEB}"/>
              </a:ext>
            </a:extLst>
          </p:cNvPr>
          <p:cNvSpPr/>
          <p:nvPr/>
        </p:nvSpPr>
        <p:spPr bwMode="auto">
          <a:xfrm>
            <a:off x="6016295" y="2189645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1957D280-F8A8-4DA3-942E-FC110C5B7304}"/>
              </a:ext>
            </a:extLst>
          </p:cNvPr>
          <p:cNvSpPr/>
          <p:nvPr/>
        </p:nvSpPr>
        <p:spPr bwMode="auto">
          <a:xfrm>
            <a:off x="5938063" y="3498489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B49DCAF5-559A-4BA2-B984-FC9916E1CF9B}"/>
              </a:ext>
            </a:extLst>
          </p:cNvPr>
          <p:cNvSpPr/>
          <p:nvPr/>
        </p:nvSpPr>
        <p:spPr bwMode="auto">
          <a:xfrm>
            <a:off x="5837093" y="4799760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任意多边形: 形状 26">
            <a:extLst>
              <a:ext uri="{FF2B5EF4-FFF2-40B4-BE49-F238E27FC236}">
                <a16:creationId xmlns:a16="http://schemas.microsoft.com/office/drawing/2014/main" id="{7CFA3A28-8565-4451-9510-24AE8686F18A}"/>
              </a:ext>
            </a:extLst>
          </p:cNvPr>
          <p:cNvSpPr/>
          <p:nvPr/>
        </p:nvSpPr>
        <p:spPr bwMode="auto">
          <a:xfrm>
            <a:off x="7250611" y="3423903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582EEC4F-AC58-4FCC-84CA-5B74E1A40397}"/>
              </a:ext>
            </a:extLst>
          </p:cNvPr>
          <p:cNvSpPr/>
          <p:nvPr/>
        </p:nvSpPr>
        <p:spPr bwMode="auto">
          <a:xfrm>
            <a:off x="4610356" y="3565501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A9A3F230-2741-4045-A70B-9CB34F8E7061}"/>
              </a:ext>
            </a:extLst>
          </p:cNvPr>
          <p:cNvSpPr/>
          <p:nvPr/>
        </p:nvSpPr>
        <p:spPr bwMode="auto">
          <a:xfrm>
            <a:off x="7164798" y="4732749"/>
            <a:ext cx="336880" cy="290653"/>
          </a:xfrm>
          <a:custGeom>
            <a:avLst/>
            <a:gdLst>
              <a:gd name="connsiteX0" fmla="*/ 470014 w 606298"/>
              <a:gd name="connsiteY0" fmla="*/ 471938 h 523102"/>
              <a:gd name="connsiteX1" fmla="*/ 453448 w 606298"/>
              <a:gd name="connsiteY1" fmla="*/ 488480 h 523102"/>
              <a:gd name="connsiteX2" fmla="*/ 455470 w 606298"/>
              <a:gd name="connsiteY2" fmla="*/ 495885 h 523102"/>
              <a:gd name="connsiteX3" fmla="*/ 470014 w 606298"/>
              <a:gd name="connsiteY3" fmla="*/ 504925 h 523102"/>
              <a:gd name="connsiteX4" fmla="*/ 484557 w 606298"/>
              <a:gd name="connsiteY4" fmla="*/ 495885 h 523102"/>
              <a:gd name="connsiteX5" fmla="*/ 486483 w 606298"/>
              <a:gd name="connsiteY5" fmla="*/ 488480 h 523102"/>
              <a:gd name="connsiteX6" fmla="*/ 470014 w 606298"/>
              <a:gd name="connsiteY6" fmla="*/ 471938 h 523102"/>
              <a:gd name="connsiteX7" fmla="*/ 381212 w 606298"/>
              <a:gd name="connsiteY7" fmla="*/ 203804 h 523102"/>
              <a:gd name="connsiteX8" fmla="*/ 374278 w 606298"/>
              <a:gd name="connsiteY8" fmla="*/ 210728 h 523102"/>
              <a:gd name="connsiteX9" fmla="*/ 374278 w 606298"/>
              <a:gd name="connsiteY9" fmla="*/ 456646 h 523102"/>
              <a:gd name="connsiteX10" fmla="*/ 565653 w 606298"/>
              <a:gd name="connsiteY10" fmla="*/ 456646 h 523102"/>
              <a:gd name="connsiteX11" fmla="*/ 565653 w 606298"/>
              <a:gd name="connsiteY11" fmla="*/ 210728 h 523102"/>
              <a:gd name="connsiteX12" fmla="*/ 558719 w 606298"/>
              <a:gd name="connsiteY12" fmla="*/ 203804 h 523102"/>
              <a:gd name="connsiteX13" fmla="*/ 381212 w 606298"/>
              <a:gd name="connsiteY13" fmla="*/ 163218 h 523102"/>
              <a:gd name="connsiteX14" fmla="*/ 558719 w 606298"/>
              <a:gd name="connsiteY14" fmla="*/ 163218 h 523102"/>
              <a:gd name="connsiteX15" fmla="*/ 606298 w 606298"/>
              <a:gd name="connsiteY15" fmla="*/ 210728 h 523102"/>
              <a:gd name="connsiteX16" fmla="*/ 606298 w 606298"/>
              <a:gd name="connsiteY16" fmla="*/ 475592 h 523102"/>
              <a:gd name="connsiteX17" fmla="*/ 558719 w 606298"/>
              <a:gd name="connsiteY17" fmla="*/ 523102 h 523102"/>
              <a:gd name="connsiteX18" fmla="*/ 381212 w 606298"/>
              <a:gd name="connsiteY18" fmla="*/ 523102 h 523102"/>
              <a:gd name="connsiteX19" fmla="*/ 333633 w 606298"/>
              <a:gd name="connsiteY19" fmla="*/ 475592 h 523102"/>
              <a:gd name="connsiteX20" fmla="*/ 333633 w 606298"/>
              <a:gd name="connsiteY20" fmla="*/ 210728 h 523102"/>
              <a:gd name="connsiteX21" fmla="*/ 381212 w 606298"/>
              <a:gd name="connsiteY21" fmla="*/ 163218 h 523102"/>
              <a:gd name="connsiteX22" fmla="*/ 43821 w 606298"/>
              <a:gd name="connsiteY22" fmla="*/ 0 h 523102"/>
              <a:gd name="connsiteX23" fmla="*/ 452369 w 606298"/>
              <a:gd name="connsiteY23" fmla="*/ 0 h 523102"/>
              <a:gd name="connsiteX24" fmla="*/ 496287 w 606298"/>
              <a:gd name="connsiteY24" fmla="*/ 43855 h 523102"/>
              <a:gd name="connsiteX25" fmla="*/ 496287 w 606298"/>
              <a:gd name="connsiteY25" fmla="*/ 122621 h 523102"/>
              <a:gd name="connsiteX26" fmla="*/ 455644 w 606298"/>
              <a:gd name="connsiteY26" fmla="*/ 122621 h 523102"/>
              <a:gd name="connsiteX27" fmla="*/ 455644 w 606298"/>
              <a:gd name="connsiteY27" fmla="*/ 43855 h 523102"/>
              <a:gd name="connsiteX28" fmla="*/ 452369 w 606298"/>
              <a:gd name="connsiteY28" fmla="*/ 40585 h 523102"/>
              <a:gd name="connsiteX29" fmla="*/ 43821 w 606298"/>
              <a:gd name="connsiteY29" fmla="*/ 40585 h 523102"/>
              <a:gd name="connsiteX30" fmla="*/ 40643 w 606298"/>
              <a:gd name="connsiteY30" fmla="*/ 43855 h 523102"/>
              <a:gd name="connsiteX31" fmla="*/ 40643 w 606298"/>
              <a:gd name="connsiteY31" fmla="*/ 320738 h 523102"/>
              <a:gd name="connsiteX32" fmla="*/ 43821 w 606298"/>
              <a:gd name="connsiteY32" fmla="*/ 323911 h 523102"/>
              <a:gd name="connsiteX33" fmla="*/ 292976 w 606298"/>
              <a:gd name="connsiteY33" fmla="*/ 323911 h 523102"/>
              <a:gd name="connsiteX34" fmla="*/ 292976 w 606298"/>
              <a:gd name="connsiteY34" fmla="*/ 344204 h 523102"/>
              <a:gd name="connsiteX35" fmla="*/ 292976 w 606298"/>
              <a:gd name="connsiteY35" fmla="*/ 418161 h 523102"/>
              <a:gd name="connsiteX36" fmla="*/ 292976 w 606298"/>
              <a:gd name="connsiteY36" fmla="*/ 458746 h 523102"/>
              <a:gd name="connsiteX37" fmla="*/ 159201 w 606298"/>
              <a:gd name="connsiteY37" fmla="*/ 458746 h 523102"/>
              <a:gd name="connsiteX38" fmla="*/ 138879 w 606298"/>
              <a:gd name="connsiteY38" fmla="*/ 438454 h 523102"/>
              <a:gd name="connsiteX39" fmla="*/ 159201 w 606298"/>
              <a:gd name="connsiteY39" fmla="*/ 418161 h 523102"/>
              <a:gd name="connsiteX40" fmla="*/ 180774 w 606298"/>
              <a:gd name="connsiteY40" fmla="*/ 418161 h 523102"/>
              <a:gd name="connsiteX41" fmla="*/ 180774 w 606298"/>
              <a:gd name="connsiteY41" fmla="*/ 364497 h 523102"/>
              <a:gd name="connsiteX42" fmla="*/ 43821 w 606298"/>
              <a:gd name="connsiteY42" fmla="*/ 364497 h 523102"/>
              <a:gd name="connsiteX43" fmla="*/ 0 w 606298"/>
              <a:gd name="connsiteY43" fmla="*/ 320738 h 523102"/>
              <a:gd name="connsiteX44" fmla="*/ 0 w 606298"/>
              <a:gd name="connsiteY44" fmla="*/ 43855 h 523102"/>
              <a:gd name="connsiteX45" fmla="*/ 43821 w 606298"/>
              <a:gd name="connsiteY45" fmla="*/ 0 h 52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606298" h="523102">
                <a:moveTo>
                  <a:pt x="470014" y="471938"/>
                </a:moveTo>
                <a:cubicBezTo>
                  <a:pt x="460864" y="471938"/>
                  <a:pt x="453448" y="479343"/>
                  <a:pt x="453448" y="488480"/>
                </a:cubicBezTo>
                <a:cubicBezTo>
                  <a:pt x="453448" y="491172"/>
                  <a:pt x="454314" y="493577"/>
                  <a:pt x="455470" y="495885"/>
                </a:cubicBezTo>
                <a:cubicBezTo>
                  <a:pt x="458167" y="501175"/>
                  <a:pt x="463561" y="504925"/>
                  <a:pt x="470014" y="504925"/>
                </a:cubicBezTo>
                <a:cubicBezTo>
                  <a:pt x="476370" y="504925"/>
                  <a:pt x="481764" y="501175"/>
                  <a:pt x="484557" y="495885"/>
                </a:cubicBezTo>
                <a:cubicBezTo>
                  <a:pt x="485713" y="493577"/>
                  <a:pt x="486483" y="491172"/>
                  <a:pt x="486483" y="488480"/>
                </a:cubicBezTo>
                <a:cubicBezTo>
                  <a:pt x="486483" y="479343"/>
                  <a:pt x="479067" y="471938"/>
                  <a:pt x="470014" y="471938"/>
                </a:cubicBezTo>
                <a:close/>
                <a:moveTo>
                  <a:pt x="381212" y="203804"/>
                </a:moveTo>
                <a:cubicBezTo>
                  <a:pt x="377456" y="203804"/>
                  <a:pt x="374278" y="206881"/>
                  <a:pt x="374278" y="210728"/>
                </a:cubicBezTo>
                <a:lnTo>
                  <a:pt x="374278" y="456646"/>
                </a:lnTo>
                <a:lnTo>
                  <a:pt x="565653" y="456646"/>
                </a:lnTo>
                <a:lnTo>
                  <a:pt x="565653" y="210728"/>
                </a:lnTo>
                <a:cubicBezTo>
                  <a:pt x="565653" y="206881"/>
                  <a:pt x="562571" y="203804"/>
                  <a:pt x="558719" y="203804"/>
                </a:cubicBezTo>
                <a:close/>
                <a:moveTo>
                  <a:pt x="381212" y="163218"/>
                </a:moveTo>
                <a:lnTo>
                  <a:pt x="558719" y="163218"/>
                </a:lnTo>
                <a:cubicBezTo>
                  <a:pt x="585013" y="163218"/>
                  <a:pt x="606298" y="184473"/>
                  <a:pt x="606298" y="210728"/>
                </a:cubicBezTo>
                <a:lnTo>
                  <a:pt x="606298" y="475592"/>
                </a:lnTo>
                <a:cubicBezTo>
                  <a:pt x="606298" y="501752"/>
                  <a:pt x="585013" y="523102"/>
                  <a:pt x="558719" y="523102"/>
                </a:cubicBezTo>
                <a:lnTo>
                  <a:pt x="381212" y="523102"/>
                </a:lnTo>
                <a:cubicBezTo>
                  <a:pt x="355015" y="523102"/>
                  <a:pt x="333633" y="501752"/>
                  <a:pt x="333633" y="475592"/>
                </a:cubicBezTo>
                <a:lnTo>
                  <a:pt x="333633" y="210728"/>
                </a:lnTo>
                <a:cubicBezTo>
                  <a:pt x="333633" y="184473"/>
                  <a:pt x="355015" y="163218"/>
                  <a:pt x="381212" y="163218"/>
                </a:cubicBezTo>
                <a:close/>
                <a:moveTo>
                  <a:pt x="43821" y="0"/>
                </a:moveTo>
                <a:lnTo>
                  <a:pt x="452369" y="0"/>
                </a:lnTo>
                <a:cubicBezTo>
                  <a:pt x="476543" y="0"/>
                  <a:pt x="496287" y="19715"/>
                  <a:pt x="496287" y="43855"/>
                </a:cubicBezTo>
                <a:lnTo>
                  <a:pt x="496287" y="122621"/>
                </a:lnTo>
                <a:lnTo>
                  <a:pt x="455644" y="122621"/>
                </a:lnTo>
                <a:lnTo>
                  <a:pt x="455644" y="43855"/>
                </a:lnTo>
                <a:cubicBezTo>
                  <a:pt x="455644" y="42027"/>
                  <a:pt x="454199" y="40585"/>
                  <a:pt x="452369" y="40585"/>
                </a:cubicBezTo>
                <a:lnTo>
                  <a:pt x="43821" y="40585"/>
                </a:lnTo>
                <a:cubicBezTo>
                  <a:pt x="42088" y="40585"/>
                  <a:pt x="40643" y="42027"/>
                  <a:pt x="40643" y="43855"/>
                </a:cubicBezTo>
                <a:lnTo>
                  <a:pt x="40643" y="320738"/>
                </a:lnTo>
                <a:cubicBezTo>
                  <a:pt x="40643" y="322469"/>
                  <a:pt x="42088" y="323911"/>
                  <a:pt x="43821" y="323911"/>
                </a:cubicBezTo>
                <a:lnTo>
                  <a:pt x="292976" y="323911"/>
                </a:lnTo>
                <a:lnTo>
                  <a:pt x="292976" y="344204"/>
                </a:lnTo>
                <a:lnTo>
                  <a:pt x="292976" y="418161"/>
                </a:lnTo>
                <a:lnTo>
                  <a:pt x="292976" y="458746"/>
                </a:lnTo>
                <a:lnTo>
                  <a:pt x="159201" y="458746"/>
                </a:lnTo>
                <a:cubicBezTo>
                  <a:pt x="148029" y="458746"/>
                  <a:pt x="138879" y="449610"/>
                  <a:pt x="138879" y="438454"/>
                </a:cubicBezTo>
                <a:cubicBezTo>
                  <a:pt x="138879" y="427201"/>
                  <a:pt x="148029" y="418161"/>
                  <a:pt x="159201" y="418161"/>
                </a:cubicBezTo>
                <a:lnTo>
                  <a:pt x="180774" y="418161"/>
                </a:lnTo>
                <a:lnTo>
                  <a:pt x="180774" y="364497"/>
                </a:lnTo>
                <a:lnTo>
                  <a:pt x="43821" y="364497"/>
                </a:lnTo>
                <a:cubicBezTo>
                  <a:pt x="19647" y="364497"/>
                  <a:pt x="0" y="344877"/>
                  <a:pt x="0" y="320738"/>
                </a:cubicBezTo>
                <a:lnTo>
                  <a:pt x="0" y="43855"/>
                </a:lnTo>
                <a:cubicBezTo>
                  <a:pt x="0" y="19715"/>
                  <a:pt x="19647" y="0"/>
                  <a:pt x="43821" y="0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673101" y="1412004"/>
            <a:ext cx="1479550" cy="918622"/>
            <a:chOff x="2548037" y="1010576"/>
            <a:chExt cx="1763279" cy="918622"/>
          </a:xfrm>
        </p:grpSpPr>
        <p:sp>
          <p:nvSpPr>
            <p:cNvPr id="48" name="矩形 47">
              <a:extLst>
                <a:ext uri="{FF2B5EF4-FFF2-40B4-BE49-F238E27FC236}">
                  <a16:creationId xmlns:a16="http://schemas.microsoft.com/office/drawing/2014/main" id="{48DACE44-6E90-431C-9FE3-349D8C191F4E}"/>
                </a:ext>
              </a:extLst>
            </p:cNvPr>
            <p:cNvSpPr/>
            <p:nvPr/>
          </p:nvSpPr>
          <p:spPr bwMode="auto">
            <a:xfrm>
              <a:off x="2548037" y="1010576"/>
              <a:ext cx="1763279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kern="0" dirty="0">
                  <a:cs typeface="+mn-ea"/>
                  <a:sym typeface="+mn-lt"/>
                </a:rPr>
                <a:t>…</a:t>
              </a:r>
              <a:r>
                <a:rPr lang="zh-CN" altLang="en-US" sz="1600" b="1" kern="0" dirty="0">
                  <a:cs typeface="+mn-ea"/>
                  <a:sym typeface="+mn-lt"/>
                </a:rPr>
                <a:t>结果</a:t>
              </a:r>
            </a:p>
          </p:txBody>
        </p:sp>
        <p:sp>
          <p:nvSpPr>
            <p:cNvPr id="49" name="矩形 48">
              <a:extLst>
                <a:ext uri="{FF2B5EF4-FFF2-40B4-BE49-F238E27FC236}">
                  <a16:creationId xmlns:a16="http://schemas.microsoft.com/office/drawing/2014/main" id="{EDE4F4AA-0234-437F-89DD-AB47FCBF4AB2}"/>
                </a:ext>
              </a:extLst>
            </p:cNvPr>
            <p:cNvSpPr/>
            <p:nvPr/>
          </p:nvSpPr>
          <p:spPr>
            <a:xfrm>
              <a:off x="2548037" y="1402690"/>
              <a:ext cx="1763279" cy="52650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  <a:endParaRPr lang="en-US" altLang="zh-CN" sz="1000" dirty="0">
                <a:solidFill>
                  <a:schemeClr val="tx1"/>
                </a:solidFill>
                <a:cs typeface="+mn-ea"/>
                <a:sym typeface="+mn-lt"/>
              </a:endParaRPr>
            </a:p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45" name="组合 44"/>
          <p:cNvGrpSpPr/>
          <p:nvPr/>
        </p:nvGrpSpPr>
        <p:grpSpPr>
          <a:xfrm>
            <a:off x="673101" y="2792204"/>
            <a:ext cx="1479550" cy="918622"/>
            <a:chOff x="2548037" y="1010576"/>
            <a:chExt cx="1763279" cy="918622"/>
          </a:xfrm>
        </p:grpSpPr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48DACE44-6E90-431C-9FE3-349D8C191F4E}"/>
                </a:ext>
              </a:extLst>
            </p:cNvPr>
            <p:cNvSpPr/>
            <p:nvPr/>
          </p:nvSpPr>
          <p:spPr bwMode="auto">
            <a:xfrm>
              <a:off x="2548037" y="1010576"/>
              <a:ext cx="1763279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kern="0" dirty="0">
                  <a:cs typeface="+mn-ea"/>
                  <a:sym typeface="+mn-lt"/>
                </a:rPr>
                <a:t>…</a:t>
              </a:r>
              <a:r>
                <a:rPr lang="zh-CN" altLang="en-US" sz="1600" b="1" kern="0" dirty="0">
                  <a:cs typeface="+mn-ea"/>
                  <a:sym typeface="+mn-lt"/>
                </a:rPr>
                <a:t>结果</a:t>
              </a:r>
            </a:p>
          </p:txBody>
        </p:sp>
        <p:sp>
          <p:nvSpPr>
            <p:cNvPr id="47" name="矩形 46">
              <a:extLst>
                <a:ext uri="{FF2B5EF4-FFF2-40B4-BE49-F238E27FC236}">
                  <a16:creationId xmlns:a16="http://schemas.microsoft.com/office/drawing/2014/main" id="{EDE4F4AA-0234-437F-89DD-AB47FCBF4AB2}"/>
                </a:ext>
              </a:extLst>
            </p:cNvPr>
            <p:cNvSpPr/>
            <p:nvPr/>
          </p:nvSpPr>
          <p:spPr>
            <a:xfrm>
              <a:off x="2548037" y="1402690"/>
              <a:ext cx="1763279" cy="52650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text h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ere</a:t>
              </a: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2526900" y="1412004"/>
            <a:ext cx="1479550" cy="918622"/>
            <a:chOff x="2548037" y="1010576"/>
            <a:chExt cx="1763279" cy="918622"/>
          </a:xfrm>
        </p:grpSpPr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8DACE44-6E90-431C-9FE3-349D8C191F4E}"/>
                </a:ext>
              </a:extLst>
            </p:cNvPr>
            <p:cNvSpPr/>
            <p:nvPr/>
          </p:nvSpPr>
          <p:spPr bwMode="auto">
            <a:xfrm>
              <a:off x="2548037" y="1010576"/>
              <a:ext cx="1763279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kern="0" dirty="0">
                  <a:cs typeface="+mn-ea"/>
                  <a:sym typeface="+mn-lt"/>
                </a:rPr>
                <a:t>…</a:t>
              </a:r>
              <a:r>
                <a:rPr lang="zh-CN" altLang="en-US" sz="1600" b="1" kern="0" dirty="0">
                  <a:cs typeface="+mn-ea"/>
                  <a:sym typeface="+mn-lt"/>
                </a:rPr>
                <a:t>结果</a:t>
              </a:r>
            </a:p>
          </p:txBody>
        </p:sp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EDE4F4AA-0234-437F-89DD-AB47FCBF4AB2}"/>
                </a:ext>
              </a:extLst>
            </p:cNvPr>
            <p:cNvSpPr/>
            <p:nvPr/>
          </p:nvSpPr>
          <p:spPr>
            <a:xfrm>
              <a:off x="2548037" y="1402690"/>
              <a:ext cx="1763279" cy="52650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text h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ere</a:t>
              </a: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39" name="组合 38"/>
          <p:cNvGrpSpPr/>
          <p:nvPr/>
        </p:nvGrpSpPr>
        <p:grpSpPr>
          <a:xfrm>
            <a:off x="2526900" y="2792204"/>
            <a:ext cx="1479550" cy="918622"/>
            <a:chOff x="2548037" y="1010576"/>
            <a:chExt cx="1763279" cy="918622"/>
          </a:xfrm>
        </p:grpSpPr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48DACE44-6E90-431C-9FE3-349D8C191F4E}"/>
                </a:ext>
              </a:extLst>
            </p:cNvPr>
            <p:cNvSpPr/>
            <p:nvPr/>
          </p:nvSpPr>
          <p:spPr bwMode="auto">
            <a:xfrm>
              <a:off x="2548037" y="1010576"/>
              <a:ext cx="1763279" cy="39211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kern="0" dirty="0">
                  <a:cs typeface="+mn-ea"/>
                  <a:sym typeface="+mn-lt"/>
                </a:rPr>
                <a:t>…</a:t>
              </a:r>
              <a:r>
                <a:rPr lang="zh-CN" altLang="en-US" sz="1600" b="1" kern="0" dirty="0">
                  <a:cs typeface="+mn-ea"/>
                  <a:sym typeface="+mn-lt"/>
                </a:rPr>
                <a:t>结果</a:t>
              </a:r>
            </a:p>
          </p:txBody>
        </p:sp>
        <p:sp>
          <p:nvSpPr>
            <p:cNvPr id="41" name="矩形 40">
              <a:extLst>
                <a:ext uri="{FF2B5EF4-FFF2-40B4-BE49-F238E27FC236}">
                  <a16:creationId xmlns:a16="http://schemas.microsoft.com/office/drawing/2014/main" id="{EDE4F4AA-0234-437F-89DD-AB47FCBF4AB2}"/>
                </a:ext>
              </a:extLst>
            </p:cNvPr>
            <p:cNvSpPr/>
            <p:nvPr/>
          </p:nvSpPr>
          <p:spPr>
            <a:xfrm>
              <a:off x="2548037" y="1402690"/>
              <a:ext cx="1763279" cy="526508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text h</a:t>
              </a:r>
              <a:r>
                <a:rPr lang="en-US" altLang="zh-CN" sz="100">
                  <a:solidFill>
                    <a:schemeClr val="tx1"/>
                  </a:solidFill>
                  <a:cs typeface="+mn-ea"/>
                  <a:sym typeface="+mn-lt"/>
                </a:rPr>
                <a:t> </a:t>
              </a:r>
              <a:r>
                <a:rPr lang="en-US" altLang="zh-CN" sz="1000">
                  <a:solidFill>
                    <a:schemeClr val="tx1"/>
                  </a:solidFill>
                  <a:cs typeface="+mn-ea"/>
                  <a:sym typeface="+mn-lt"/>
                </a:rPr>
                <a:t>ere</a:t>
              </a: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.</a:t>
              </a:r>
            </a:p>
            <a:p>
              <a:pPr lvl="0"/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</p:grpSp>
      <p:sp>
        <p:nvSpPr>
          <p:cNvPr id="36" name="矩形 35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8185552" y="4253454"/>
            <a:ext cx="1479550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8185552" y="4645568"/>
            <a:ext cx="1479550" cy="526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e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48DACE44-6E90-431C-9FE3-349D8C191F4E}"/>
              </a:ext>
            </a:extLst>
          </p:cNvPr>
          <p:cNvSpPr/>
          <p:nvPr/>
        </p:nvSpPr>
        <p:spPr bwMode="auto">
          <a:xfrm>
            <a:off x="10039351" y="4253454"/>
            <a:ext cx="1479550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结果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EDE4F4AA-0234-437F-89DD-AB47FCBF4AB2}"/>
              </a:ext>
            </a:extLst>
          </p:cNvPr>
          <p:cNvSpPr/>
          <p:nvPr/>
        </p:nvSpPr>
        <p:spPr>
          <a:xfrm>
            <a:off x="10039351" y="4645568"/>
            <a:ext cx="1479550" cy="52650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Supporting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text h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ere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.</a:t>
            </a:r>
          </a:p>
          <a:p>
            <a:pPr lvl="0" algn="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245848779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研究讨论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F5D4478-85D1-42F6-9F84-6CF396778DFC}"/>
              </a:ext>
            </a:extLst>
          </p:cNvPr>
          <p:cNvSpPr txBox="1"/>
          <p:nvPr/>
        </p:nvSpPr>
        <p:spPr>
          <a:xfrm>
            <a:off x="1129466" y="2971089"/>
            <a:ext cx="2507299" cy="7404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br>
              <a:rPr lang="zh-CN" altLang="en-US" sz="1100" dirty="0">
                <a:cs typeface="+mn-ea"/>
                <a:sym typeface="+mn-lt"/>
              </a:rPr>
            </a:br>
            <a:r>
              <a:rPr lang="en-US" altLang="zh-CN" sz="1100" dirty="0">
                <a:cs typeface="+mn-ea"/>
                <a:sym typeface="+mn-lt"/>
              </a:rPr>
              <a:t>Supporting text here</a:t>
            </a:r>
            <a:br>
              <a:rPr lang="zh-CN" altLang="en-US" sz="1100" dirty="0">
                <a:cs typeface="+mn-ea"/>
                <a:sym typeface="+mn-lt"/>
              </a:rPr>
            </a:b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46B7D336-D30F-4792-B2A1-7BB1C928A543}"/>
              </a:ext>
            </a:extLst>
          </p:cNvPr>
          <p:cNvSpPr/>
          <p:nvPr/>
        </p:nvSpPr>
        <p:spPr>
          <a:xfrm>
            <a:off x="1129466" y="2604340"/>
            <a:ext cx="2507299" cy="366749"/>
          </a:xfrm>
          <a:prstGeom prst="rect">
            <a:avLst/>
          </a:prstGeom>
        </p:spPr>
        <p:txBody>
          <a:bodyPr wrap="square" lIns="91440" tIns="45720" rIns="91440" bIns="45720" anchor="b">
            <a:noAutofit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关键</a:t>
            </a: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4DAE5FEE-9D93-4793-B1FC-F7A85FA95DE8}"/>
              </a:ext>
            </a:extLst>
          </p:cNvPr>
          <p:cNvSpPr/>
          <p:nvPr/>
        </p:nvSpPr>
        <p:spPr>
          <a:xfrm>
            <a:off x="4799187" y="2629420"/>
            <a:ext cx="3026792" cy="302679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altLang="zh-CN" sz="4000">
                <a:cs typeface="+mn-ea"/>
                <a:sym typeface="+mn-lt"/>
              </a:rPr>
              <a:t> 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4000">
                <a:cs typeface="+mn-ea"/>
                <a:sym typeface="+mn-lt"/>
              </a:rPr>
              <a:t> </a:t>
            </a:r>
            <a:r>
              <a:rPr lang="en-US" altLang="zh-CN" sz="4000" dirty="0">
                <a:cs typeface="+mn-ea"/>
                <a:sym typeface="+mn-lt"/>
              </a:rPr>
              <a:t>50%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97CBD5C3-4A08-43CC-9577-FE6481FDB57A}"/>
              </a:ext>
            </a:extLst>
          </p:cNvPr>
          <p:cNvSpPr/>
          <p:nvPr/>
        </p:nvSpPr>
        <p:spPr>
          <a:xfrm>
            <a:off x="4144800" y="3747786"/>
            <a:ext cx="1816074" cy="1816075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altLang="zh-CN" sz="2800">
                <a:cs typeface="+mn-ea"/>
                <a:sym typeface="+mn-lt"/>
              </a:rPr>
              <a:t>3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2800">
                <a:cs typeface="+mn-ea"/>
                <a:sym typeface="+mn-lt"/>
              </a:rPr>
              <a:t>0%</a:t>
            </a:r>
            <a:endParaRPr lang="en-US" altLang="zh-CN" sz="2800" dirty="0"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8CE8E484-2FD2-4A08-809B-51F4267BE01F}"/>
              </a:ext>
            </a:extLst>
          </p:cNvPr>
          <p:cNvSpPr/>
          <p:nvPr/>
        </p:nvSpPr>
        <p:spPr>
          <a:xfrm>
            <a:off x="4074952" y="2744626"/>
            <a:ext cx="1210717" cy="1210718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91440" tIns="45720" rIns="91440" bIns="45720" anchor="ctr">
            <a:noAutofit/>
          </a:bodyPr>
          <a:lstStyle/>
          <a:p>
            <a:pPr algn="ctr"/>
            <a:r>
              <a:rPr lang="en-US" altLang="zh-CN" sz="2400">
                <a:cs typeface="+mn-ea"/>
                <a:sym typeface="+mn-lt"/>
              </a:rPr>
              <a:t>2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2400">
                <a:cs typeface="+mn-ea"/>
                <a:sym typeface="+mn-lt"/>
              </a:rPr>
              <a:t>0</a:t>
            </a:r>
            <a:r>
              <a:rPr lang="en-US" altLang="zh-CN" sz="2400" dirty="0">
                <a:cs typeface="+mn-ea"/>
                <a:sym typeface="+mn-lt"/>
              </a:rPr>
              <a:t>%</a:t>
            </a: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3D2CBEB4-B6CC-48A5-894B-95424BAA1C0A}"/>
              </a:ext>
            </a:extLst>
          </p:cNvPr>
          <p:cNvSpPr/>
          <p:nvPr/>
        </p:nvSpPr>
        <p:spPr>
          <a:xfrm>
            <a:off x="3894108" y="1982115"/>
            <a:ext cx="3931872" cy="3931873"/>
          </a:xfrm>
          <a:prstGeom prst="ellipse">
            <a:avLst/>
          </a:prstGeom>
          <a:noFill/>
          <a:ln w="9525"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760E036E-495A-44F1-A9E7-A24AB7377FA7}"/>
              </a:ext>
            </a:extLst>
          </p:cNvPr>
          <p:cNvSpPr/>
          <p:nvPr/>
        </p:nvSpPr>
        <p:spPr>
          <a:xfrm>
            <a:off x="7430815" y="4563351"/>
            <a:ext cx="498143" cy="49814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A67DB6C3-891E-42BE-8BA4-D1AA1A433849}"/>
              </a:ext>
            </a:extLst>
          </p:cNvPr>
          <p:cNvSpPr/>
          <p:nvPr/>
        </p:nvSpPr>
        <p:spPr bwMode="auto">
          <a:xfrm>
            <a:off x="7533730" y="4675243"/>
            <a:ext cx="292314" cy="274359"/>
          </a:xfrm>
          <a:custGeom>
            <a:avLst/>
            <a:gdLst>
              <a:gd name="connsiteX0" fmla="*/ 171677 w 606580"/>
              <a:gd name="connsiteY0" fmla="*/ 318744 h 569322"/>
              <a:gd name="connsiteX1" fmla="*/ 228500 w 606580"/>
              <a:gd name="connsiteY1" fmla="*/ 375386 h 569322"/>
              <a:gd name="connsiteX2" fmla="*/ 227108 w 606580"/>
              <a:gd name="connsiteY2" fmla="*/ 387623 h 569322"/>
              <a:gd name="connsiteX3" fmla="*/ 356167 w 606580"/>
              <a:gd name="connsiteY3" fmla="*/ 468739 h 569322"/>
              <a:gd name="connsiteX4" fmla="*/ 391728 w 606580"/>
              <a:gd name="connsiteY4" fmla="*/ 455945 h 569322"/>
              <a:gd name="connsiteX5" fmla="*/ 419490 w 606580"/>
              <a:gd name="connsiteY5" fmla="*/ 463454 h 569322"/>
              <a:gd name="connsiteX6" fmla="*/ 497019 w 606580"/>
              <a:gd name="connsiteY6" fmla="*/ 395874 h 569322"/>
              <a:gd name="connsiteX7" fmla="*/ 493026 w 606580"/>
              <a:gd name="connsiteY7" fmla="*/ 375386 h 569322"/>
              <a:gd name="connsiteX8" fmla="*/ 549849 w 606580"/>
              <a:gd name="connsiteY8" fmla="*/ 318744 h 569322"/>
              <a:gd name="connsiteX9" fmla="*/ 606580 w 606580"/>
              <a:gd name="connsiteY9" fmla="*/ 375386 h 569322"/>
              <a:gd name="connsiteX10" fmla="*/ 549849 w 606580"/>
              <a:gd name="connsiteY10" fmla="*/ 432121 h 569322"/>
              <a:gd name="connsiteX11" fmla="*/ 521809 w 606580"/>
              <a:gd name="connsiteY11" fmla="*/ 424519 h 569322"/>
              <a:gd name="connsiteX12" fmla="*/ 444466 w 606580"/>
              <a:gd name="connsiteY12" fmla="*/ 491915 h 569322"/>
              <a:gd name="connsiteX13" fmla="*/ 448459 w 606580"/>
              <a:gd name="connsiteY13" fmla="*/ 512587 h 569322"/>
              <a:gd name="connsiteX14" fmla="*/ 391728 w 606580"/>
              <a:gd name="connsiteY14" fmla="*/ 569322 h 569322"/>
              <a:gd name="connsiteX15" fmla="*/ 334905 w 606580"/>
              <a:gd name="connsiteY15" fmla="*/ 512587 h 569322"/>
              <a:gd name="connsiteX16" fmla="*/ 336112 w 606580"/>
              <a:gd name="connsiteY16" fmla="*/ 500907 h 569322"/>
              <a:gd name="connsiteX17" fmla="*/ 206867 w 606580"/>
              <a:gd name="connsiteY17" fmla="*/ 419606 h 569322"/>
              <a:gd name="connsiteX18" fmla="*/ 171677 w 606580"/>
              <a:gd name="connsiteY18" fmla="*/ 432121 h 569322"/>
              <a:gd name="connsiteX19" fmla="*/ 152736 w 606580"/>
              <a:gd name="connsiteY19" fmla="*/ 428598 h 569322"/>
              <a:gd name="connsiteX20" fmla="*/ 105847 w 606580"/>
              <a:gd name="connsiteY20" fmla="*/ 484498 h 569322"/>
              <a:gd name="connsiteX21" fmla="*/ 113554 w 606580"/>
              <a:gd name="connsiteY21" fmla="*/ 512587 h 569322"/>
              <a:gd name="connsiteX22" fmla="*/ 56823 w 606580"/>
              <a:gd name="connsiteY22" fmla="*/ 569322 h 569322"/>
              <a:gd name="connsiteX23" fmla="*/ 0 w 606580"/>
              <a:gd name="connsiteY23" fmla="*/ 512587 h 569322"/>
              <a:gd name="connsiteX24" fmla="*/ 56823 w 606580"/>
              <a:gd name="connsiteY24" fmla="*/ 455945 h 569322"/>
              <a:gd name="connsiteX25" fmla="*/ 77157 w 606580"/>
              <a:gd name="connsiteY25" fmla="*/ 459839 h 569322"/>
              <a:gd name="connsiteX26" fmla="*/ 123303 w 606580"/>
              <a:gd name="connsiteY26" fmla="*/ 404773 h 569322"/>
              <a:gd name="connsiteX27" fmla="*/ 114854 w 606580"/>
              <a:gd name="connsiteY27" fmla="*/ 375386 h 569322"/>
              <a:gd name="connsiteX28" fmla="*/ 171677 w 606580"/>
              <a:gd name="connsiteY28" fmla="*/ 318744 h 569322"/>
              <a:gd name="connsiteX29" fmla="*/ 316484 w 606580"/>
              <a:gd name="connsiteY29" fmla="*/ 174937 h 569322"/>
              <a:gd name="connsiteX30" fmla="*/ 316577 w 606580"/>
              <a:gd name="connsiteY30" fmla="*/ 174991 h 569322"/>
              <a:gd name="connsiteX31" fmla="*/ 316577 w 606580"/>
              <a:gd name="connsiteY31" fmla="*/ 243818 h 569322"/>
              <a:gd name="connsiteX32" fmla="*/ 338115 w 606580"/>
              <a:gd name="connsiteY32" fmla="*/ 231488 h 569322"/>
              <a:gd name="connsiteX33" fmla="*/ 346378 w 606580"/>
              <a:gd name="connsiteY33" fmla="*/ 208497 h 569322"/>
              <a:gd name="connsiteX34" fmla="*/ 339415 w 606580"/>
              <a:gd name="connsiteY34" fmla="*/ 188102 h 569322"/>
              <a:gd name="connsiteX35" fmla="*/ 316577 w 606580"/>
              <a:gd name="connsiteY35" fmla="*/ 174991 h 569322"/>
              <a:gd name="connsiteX36" fmla="*/ 316577 w 606580"/>
              <a:gd name="connsiteY36" fmla="*/ 174937 h 569322"/>
              <a:gd name="connsiteX37" fmla="*/ 290954 w 606580"/>
              <a:gd name="connsiteY37" fmla="*/ 55995 h 569322"/>
              <a:gd name="connsiteX38" fmla="*/ 274243 w 606580"/>
              <a:gd name="connsiteY38" fmla="*/ 67954 h 569322"/>
              <a:gd name="connsiteX39" fmla="*/ 268116 w 606580"/>
              <a:gd name="connsiteY39" fmla="*/ 86681 h 569322"/>
              <a:gd name="connsiteX40" fmla="*/ 273779 w 606580"/>
              <a:gd name="connsiteY40" fmla="*/ 104109 h 569322"/>
              <a:gd name="connsiteX41" fmla="*/ 290954 w 606580"/>
              <a:gd name="connsiteY41" fmla="*/ 117088 h 569322"/>
              <a:gd name="connsiteX42" fmla="*/ 290861 w 606580"/>
              <a:gd name="connsiteY42" fmla="*/ 0 h 569322"/>
              <a:gd name="connsiteX43" fmla="*/ 316484 w 606580"/>
              <a:gd name="connsiteY43" fmla="*/ 0 h 569322"/>
              <a:gd name="connsiteX44" fmla="*/ 316484 w 606580"/>
              <a:gd name="connsiteY44" fmla="*/ 17522 h 569322"/>
              <a:gd name="connsiteX45" fmla="*/ 361232 w 606580"/>
              <a:gd name="connsiteY45" fmla="*/ 36619 h 569322"/>
              <a:gd name="connsiteX46" fmla="*/ 382492 w 606580"/>
              <a:gd name="connsiteY46" fmla="*/ 78893 h 569322"/>
              <a:gd name="connsiteX47" fmla="*/ 337744 w 606580"/>
              <a:gd name="connsiteY47" fmla="*/ 84734 h 569322"/>
              <a:gd name="connsiteX48" fmla="*/ 316484 w 606580"/>
              <a:gd name="connsiteY48" fmla="*/ 56458 h 569322"/>
              <a:gd name="connsiteX49" fmla="*/ 316484 w 606580"/>
              <a:gd name="connsiteY49" fmla="*/ 125525 h 569322"/>
              <a:gd name="connsiteX50" fmla="*/ 374322 w 606580"/>
              <a:gd name="connsiteY50" fmla="*/ 155283 h 569322"/>
              <a:gd name="connsiteX51" fmla="*/ 389733 w 606580"/>
              <a:gd name="connsiteY51" fmla="*/ 202193 h 569322"/>
              <a:gd name="connsiteX52" fmla="*/ 370330 w 606580"/>
              <a:gd name="connsiteY52" fmla="*/ 255963 h 569322"/>
              <a:gd name="connsiteX53" fmla="*/ 316484 w 606580"/>
              <a:gd name="connsiteY53" fmla="*/ 282755 h 569322"/>
              <a:gd name="connsiteX54" fmla="*/ 316484 w 606580"/>
              <a:gd name="connsiteY54" fmla="*/ 315851 h 569322"/>
              <a:gd name="connsiteX55" fmla="*/ 290861 w 606580"/>
              <a:gd name="connsiteY55" fmla="*/ 315851 h 569322"/>
              <a:gd name="connsiteX56" fmla="*/ 290861 w 606580"/>
              <a:gd name="connsiteY56" fmla="*/ 283682 h 569322"/>
              <a:gd name="connsiteX57" fmla="*/ 241193 w 606580"/>
              <a:gd name="connsiteY57" fmla="*/ 260876 h 569322"/>
              <a:gd name="connsiteX58" fmla="*/ 216777 w 606580"/>
              <a:gd name="connsiteY58" fmla="*/ 207106 h 569322"/>
              <a:gd name="connsiteX59" fmla="*/ 262917 w 606580"/>
              <a:gd name="connsiteY59" fmla="*/ 202100 h 569322"/>
              <a:gd name="connsiteX60" fmla="*/ 273593 w 606580"/>
              <a:gd name="connsiteY60" fmla="*/ 226482 h 569322"/>
              <a:gd name="connsiteX61" fmla="*/ 290861 w 606580"/>
              <a:gd name="connsiteY61" fmla="*/ 241315 h 569322"/>
              <a:gd name="connsiteX62" fmla="*/ 290861 w 606580"/>
              <a:gd name="connsiteY62" fmla="*/ 167335 h 569322"/>
              <a:gd name="connsiteX63" fmla="*/ 240079 w 606580"/>
              <a:gd name="connsiteY63" fmla="*/ 137484 h 569322"/>
              <a:gd name="connsiteX64" fmla="*/ 223833 w 606580"/>
              <a:gd name="connsiteY64" fmla="*/ 88813 h 569322"/>
              <a:gd name="connsiteX65" fmla="*/ 242214 w 606580"/>
              <a:gd name="connsiteY65" fmla="*/ 40142 h 569322"/>
              <a:gd name="connsiteX66" fmla="*/ 290861 w 606580"/>
              <a:gd name="connsiteY66" fmla="*/ 17522 h 569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6580" h="569322">
                <a:moveTo>
                  <a:pt x="171677" y="318744"/>
                </a:moveTo>
                <a:cubicBezTo>
                  <a:pt x="203060" y="318744"/>
                  <a:pt x="228500" y="344145"/>
                  <a:pt x="228500" y="375386"/>
                </a:cubicBezTo>
                <a:cubicBezTo>
                  <a:pt x="228500" y="379650"/>
                  <a:pt x="227943" y="383729"/>
                  <a:pt x="227108" y="387623"/>
                </a:cubicBezTo>
                <a:lnTo>
                  <a:pt x="356167" y="468739"/>
                </a:lnTo>
                <a:cubicBezTo>
                  <a:pt x="365916" y="460859"/>
                  <a:pt x="378172" y="455945"/>
                  <a:pt x="391728" y="455945"/>
                </a:cubicBezTo>
                <a:cubicBezTo>
                  <a:pt x="401849" y="455945"/>
                  <a:pt x="411227" y="458819"/>
                  <a:pt x="419490" y="463454"/>
                </a:cubicBezTo>
                <a:lnTo>
                  <a:pt x="497019" y="395874"/>
                </a:lnTo>
                <a:cubicBezTo>
                  <a:pt x="494512" y="389570"/>
                  <a:pt x="493026" y="382617"/>
                  <a:pt x="493026" y="375386"/>
                </a:cubicBezTo>
                <a:cubicBezTo>
                  <a:pt x="493026" y="344052"/>
                  <a:pt x="518467" y="318744"/>
                  <a:pt x="549849" y="318744"/>
                </a:cubicBezTo>
                <a:cubicBezTo>
                  <a:pt x="581232" y="318744"/>
                  <a:pt x="606580" y="344052"/>
                  <a:pt x="606580" y="375386"/>
                </a:cubicBezTo>
                <a:cubicBezTo>
                  <a:pt x="606580" y="406720"/>
                  <a:pt x="581232" y="432121"/>
                  <a:pt x="549849" y="432121"/>
                </a:cubicBezTo>
                <a:cubicBezTo>
                  <a:pt x="539636" y="432121"/>
                  <a:pt x="530166" y="429154"/>
                  <a:pt x="521809" y="424519"/>
                </a:cubicBezTo>
                <a:lnTo>
                  <a:pt x="444466" y="491915"/>
                </a:lnTo>
                <a:cubicBezTo>
                  <a:pt x="446973" y="498311"/>
                  <a:pt x="448459" y="505264"/>
                  <a:pt x="448459" y="512587"/>
                </a:cubicBezTo>
                <a:cubicBezTo>
                  <a:pt x="448459" y="543921"/>
                  <a:pt x="423111" y="569322"/>
                  <a:pt x="391728" y="569322"/>
                </a:cubicBezTo>
                <a:cubicBezTo>
                  <a:pt x="360345" y="569322"/>
                  <a:pt x="334905" y="543921"/>
                  <a:pt x="334905" y="512587"/>
                </a:cubicBezTo>
                <a:cubicBezTo>
                  <a:pt x="334905" y="508601"/>
                  <a:pt x="335369" y="504708"/>
                  <a:pt x="336112" y="500907"/>
                </a:cubicBezTo>
                <a:lnTo>
                  <a:pt x="206867" y="419606"/>
                </a:lnTo>
                <a:cubicBezTo>
                  <a:pt x="197118" y="427300"/>
                  <a:pt x="185047" y="432121"/>
                  <a:pt x="171677" y="432121"/>
                </a:cubicBezTo>
                <a:cubicBezTo>
                  <a:pt x="164992" y="432121"/>
                  <a:pt x="158678" y="430730"/>
                  <a:pt x="152736" y="428598"/>
                </a:cubicBezTo>
                <a:lnTo>
                  <a:pt x="105847" y="484498"/>
                </a:lnTo>
                <a:cubicBezTo>
                  <a:pt x="110676" y="492842"/>
                  <a:pt x="113554" y="502390"/>
                  <a:pt x="113554" y="512587"/>
                </a:cubicBezTo>
                <a:cubicBezTo>
                  <a:pt x="113554" y="543921"/>
                  <a:pt x="88206" y="569322"/>
                  <a:pt x="56823" y="569322"/>
                </a:cubicBezTo>
                <a:cubicBezTo>
                  <a:pt x="25441" y="569322"/>
                  <a:pt x="0" y="543921"/>
                  <a:pt x="0" y="512587"/>
                </a:cubicBezTo>
                <a:cubicBezTo>
                  <a:pt x="0" y="481346"/>
                  <a:pt x="25441" y="455945"/>
                  <a:pt x="56823" y="455945"/>
                </a:cubicBezTo>
                <a:cubicBezTo>
                  <a:pt x="63973" y="455945"/>
                  <a:pt x="70843" y="457429"/>
                  <a:pt x="77157" y="459839"/>
                </a:cubicBezTo>
                <a:lnTo>
                  <a:pt x="123303" y="404773"/>
                </a:lnTo>
                <a:cubicBezTo>
                  <a:pt x="118103" y="396152"/>
                  <a:pt x="114854" y="386232"/>
                  <a:pt x="114854" y="375386"/>
                </a:cubicBezTo>
                <a:cubicBezTo>
                  <a:pt x="114854" y="344145"/>
                  <a:pt x="140294" y="318744"/>
                  <a:pt x="171677" y="318744"/>
                </a:cubicBezTo>
                <a:close/>
                <a:moveTo>
                  <a:pt x="316484" y="174937"/>
                </a:moveTo>
                <a:lnTo>
                  <a:pt x="316577" y="174991"/>
                </a:lnTo>
                <a:lnTo>
                  <a:pt x="316577" y="243818"/>
                </a:lnTo>
                <a:cubicBezTo>
                  <a:pt x="325397" y="242149"/>
                  <a:pt x="332545" y="238070"/>
                  <a:pt x="338115" y="231488"/>
                </a:cubicBezTo>
                <a:cubicBezTo>
                  <a:pt x="343593" y="224999"/>
                  <a:pt x="346378" y="217304"/>
                  <a:pt x="346378" y="208497"/>
                </a:cubicBezTo>
                <a:cubicBezTo>
                  <a:pt x="346378" y="200617"/>
                  <a:pt x="344057" y="193757"/>
                  <a:pt x="339415" y="188102"/>
                </a:cubicBezTo>
                <a:lnTo>
                  <a:pt x="316577" y="174991"/>
                </a:lnTo>
                <a:lnTo>
                  <a:pt x="316577" y="174937"/>
                </a:lnTo>
                <a:close/>
                <a:moveTo>
                  <a:pt x="290954" y="55995"/>
                </a:moveTo>
                <a:cubicBezTo>
                  <a:pt x="283991" y="58312"/>
                  <a:pt x="278421" y="62299"/>
                  <a:pt x="274243" y="67954"/>
                </a:cubicBezTo>
                <a:cubicBezTo>
                  <a:pt x="270158" y="73609"/>
                  <a:pt x="268116" y="79913"/>
                  <a:pt x="268116" y="86681"/>
                </a:cubicBezTo>
                <a:cubicBezTo>
                  <a:pt x="268116" y="92892"/>
                  <a:pt x="269973" y="98732"/>
                  <a:pt x="273779" y="104109"/>
                </a:cubicBezTo>
                <a:cubicBezTo>
                  <a:pt x="277493" y="109394"/>
                  <a:pt x="283249" y="113751"/>
                  <a:pt x="290954" y="117088"/>
                </a:cubicBezTo>
                <a:close/>
                <a:moveTo>
                  <a:pt x="290861" y="0"/>
                </a:moveTo>
                <a:lnTo>
                  <a:pt x="316484" y="0"/>
                </a:lnTo>
                <a:lnTo>
                  <a:pt x="316484" y="17522"/>
                </a:lnTo>
                <a:cubicBezTo>
                  <a:pt x="335237" y="19747"/>
                  <a:pt x="350184" y="26143"/>
                  <a:pt x="361232" y="36619"/>
                </a:cubicBezTo>
                <a:cubicBezTo>
                  <a:pt x="372280" y="47188"/>
                  <a:pt x="379428" y="61279"/>
                  <a:pt x="382492" y="78893"/>
                </a:cubicBezTo>
                <a:lnTo>
                  <a:pt x="337744" y="84734"/>
                </a:lnTo>
                <a:cubicBezTo>
                  <a:pt x="335052" y="70828"/>
                  <a:pt x="327903" y="61464"/>
                  <a:pt x="316484" y="56458"/>
                </a:cubicBezTo>
                <a:lnTo>
                  <a:pt x="316484" y="125525"/>
                </a:lnTo>
                <a:cubicBezTo>
                  <a:pt x="344800" y="133219"/>
                  <a:pt x="364110" y="143139"/>
                  <a:pt x="374322" y="155283"/>
                </a:cubicBezTo>
                <a:cubicBezTo>
                  <a:pt x="384534" y="167428"/>
                  <a:pt x="389733" y="183095"/>
                  <a:pt x="389733" y="202193"/>
                </a:cubicBezTo>
                <a:cubicBezTo>
                  <a:pt x="389733" y="223423"/>
                  <a:pt x="383234" y="241408"/>
                  <a:pt x="370330" y="255963"/>
                </a:cubicBezTo>
                <a:cubicBezTo>
                  <a:pt x="357426" y="270610"/>
                  <a:pt x="339508" y="279510"/>
                  <a:pt x="316484" y="282755"/>
                </a:cubicBezTo>
                <a:lnTo>
                  <a:pt x="316484" y="315851"/>
                </a:lnTo>
                <a:lnTo>
                  <a:pt x="290861" y="315851"/>
                </a:lnTo>
                <a:lnTo>
                  <a:pt x="290861" y="283682"/>
                </a:lnTo>
                <a:cubicBezTo>
                  <a:pt x="270530" y="281179"/>
                  <a:pt x="253912" y="273577"/>
                  <a:pt x="241193" y="260876"/>
                </a:cubicBezTo>
                <a:cubicBezTo>
                  <a:pt x="228475" y="248175"/>
                  <a:pt x="220398" y="230283"/>
                  <a:pt x="216777" y="207106"/>
                </a:cubicBezTo>
                <a:lnTo>
                  <a:pt x="262917" y="202100"/>
                </a:lnTo>
                <a:cubicBezTo>
                  <a:pt x="264867" y="211556"/>
                  <a:pt x="268395" y="219714"/>
                  <a:pt x="273593" y="226482"/>
                </a:cubicBezTo>
                <a:cubicBezTo>
                  <a:pt x="278792" y="233342"/>
                  <a:pt x="284548" y="238256"/>
                  <a:pt x="290861" y="241315"/>
                </a:cubicBezTo>
                <a:lnTo>
                  <a:pt x="290861" y="167335"/>
                </a:lnTo>
                <a:cubicBezTo>
                  <a:pt x="267745" y="160753"/>
                  <a:pt x="250848" y="150834"/>
                  <a:pt x="240079" y="137484"/>
                </a:cubicBezTo>
                <a:cubicBezTo>
                  <a:pt x="229310" y="124041"/>
                  <a:pt x="223833" y="107910"/>
                  <a:pt x="223833" y="88813"/>
                </a:cubicBezTo>
                <a:cubicBezTo>
                  <a:pt x="223833" y="69530"/>
                  <a:pt x="229960" y="53306"/>
                  <a:pt x="242214" y="40142"/>
                </a:cubicBezTo>
                <a:cubicBezTo>
                  <a:pt x="254376" y="27070"/>
                  <a:pt x="270623" y="19468"/>
                  <a:pt x="290861" y="175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364268DF-69C2-45F2-8DE0-E4FA12AC2265}"/>
              </a:ext>
            </a:extLst>
          </p:cNvPr>
          <p:cNvSpPr/>
          <p:nvPr/>
        </p:nvSpPr>
        <p:spPr>
          <a:xfrm>
            <a:off x="4120306" y="5011589"/>
            <a:ext cx="498143" cy="498143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297A9562-5E78-44D6-B095-57434BEA9BF1}"/>
              </a:ext>
            </a:extLst>
          </p:cNvPr>
          <p:cNvSpPr/>
          <p:nvPr/>
        </p:nvSpPr>
        <p:spPr>
          <a:xfrm>
            <a:off x="3821529" y="2993131"/>
            <a:ext cx="498143" cy="498143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2A2A6A43-4689-4374-874A-2E43908A79A5}"/>
              </a:ext>
            </a:extLst>
          </p:cNvPr>
          <p:cNvSpPr/>
          <p:nvPr/>
        </p:nvSpPr>
        <p:spPr bwMode="auto">
          <a:xfrm>
            <a:off x="4223221" y="5123481"/>
            <a:ext cx="292314" cy="274359"/>
          </a:xfrm>
          <a:custGeom>
            <a:avLst/>
            <a:gdLst>
              <a:gd name="connsiteX0" fmla="*/ 171677 w 606580"/>
              <a:gd name="connsiteY0" fmla="*/ 318744 h 569322"/>
              <a:gd name="connsiteX1" fmla="*/ 228500 w 606580"/>
              <a:gd name="connsiteY1" fmla="*/ 375386 h 569322"/>
              <a:gd name="connsiteX2" fmla="*/ 227108 w 606580"/>
              <a:gd name="connsiteY2" fmla="*/ 387623 h 569322"/>
              <a:gd name="connsiteX3" fmla="*/ 356167 w 606580"/>
              <a:gd name="connsiteY3" fmla="*/ 468739 h 569322"/>
              <a:gd name="connsiteX4" fmla="*/ 391728 w 606580"/>
              <a:gd name="connsiteY4" fmla="*/ 455945 h 569322"/>
              <a:gd name="connsiteX5" fmla="*/ 419490 w 606580"/>
              <a:gd name="connsiteY5" fmla="*/ 463454 h 569322"/>
              <a:gd name="connsiteX6" fmla="*/ 497019 w 606580"/>
              <a:gd name="connsiteY6" fmla="*/ 395874 h 569322"/>
              <a:gd name="connsiteX7" fmla="*/ 493026 w 606580"/>
              <a:gd name="connsiteY7" fmla="*/ 375386 h 569322"/>
              <a:gd name="connsiteX8" fmla="*/ 549849 w 606580"/>
              <a:gd name="connsiteY8" fmla="*/ 318744 h 569322"/>
              <a:gd name="connsiteX9" fmla="*/ 606580 w 606580"/>
              <a:gd name="connsiteY9" fmla="*/ 375386 h 569322"/>
              <a:gd name="connsiteX10" fmla="*/ 549849 w 606580"/>
              <a:gd name="connsiteY10" fmla="*/ 432121 h 569322"/>
              <a:gd name="connsiteX11" fmla="*/ 521809 w 606580"/>
              <a:gd name="connsiteY11" fmla="*/ 424519 h 569322"/>
              <a:gd name="connsiteX12" fmla="*/ 444466 w 606580"/>
              <a:gd name="connsiteY12" fmla="*/ 491915 h 569322"/>
              <a:gd name="connsiteX13" fmla="*/ 448459 w 606580"/>
              <a:gd name="connsiteY13" fmla="*/ 512587 h 569322"/>
              <a:gd name="connsiteX14" fmla="*/ 391728 w 606580"/>
              <a:gd name="connsiteY14" fmla="*/ 569322 h 569322"/>
              <a:gd name="connsiteX15" fmla="*/ 334905 w 606580"/>
              <a:gd name="connsiteY15" fmla="*/ 512587 h 569322"/>
              <a:gd name="connsiteX16" fmla="*/ 336112 w 606580"/>
              <a:gd name="connsiteY16" fmla="*/ 500907 h 569322"/>
              <a:gd name="connsiteX17" fmla="*/ 206867 w 606580"/>
              <a:gd name="connsiteY17" fmla="*/ 419606 h 569322"/>
              <a:gd name="connsiteX18" fmla="*/ 171677 w 606580"/>
              <a:gd name="connsiteY18" fmla="*/ 432121 h 569322"/>
              <a:gd name="connsiteX19" fmla="*/ 152736 w 606580"/>
              <a:gd name="connsiteY19" fmla="*/ 428598 h 569322"/>
              <a:gd name="connsiteX20" fmla="*/ 105847 w 606580"/>
              <a:gd name="connsiteY20" fmla="*/ 484498 h 569322"/>
              <a:gd name="connsiteX21" fmla="*/ 113554 w 606580"/>
              <a:gd name="connsiteY21" fmla="*/ 512587 h 569322"/>
              <a:gd name="connsiteX22" fmla="*/ 56823 w 606580"/>
              <a:gd name="connsiteY22" fmla="*/ 569322 h 569322"/>
              <a:gd name="connsiteX23" fmla="*/ 0 w 606580"/>
              <a:gd name="connsiteY23" fmla="*/ 512587 h 569322"/>
              <a:gd name="connsiteX24" fmla="*/ 56823 w 606580"/>
              <a:gd name="connsiteY24" fmla="*/ 455945 h 569322"/>
              <a:gd name="connsiteX25" fmla="*/ 77157 w 606580"/>
              <a:gd name="connsiteY25" fmla="*/ 459839 h 569322"/>
              <a:gd name="connsiteX26" fmla="*/ 123303 w 606580"/>
              <a:gd name="connsiteY26" fmla="*/ 404773 h 569322"/>
              <a:gd name="connsiteX27" fmla="*/ 114854 w 606580"/>
              <a:gd name="connsiteY27" fmla="*/ 375386 h 569322"/>
              <a:gd name="connsiteX28" fmla="*/ 171677 w 606580"/>
              <a:gd name="connsiteY28" fmla="*/ 318744 h 569322"/>
              <a:gd name="connsiteX29" fmla="*/ 316484 w 606580"/>
              <a:gd name="connsiteY29" fmla="*/ 174937 h 569322"/>
              <a:gd name="connsiteX30" fmla="*/ 316577 w 606580"/>
              <a:gd name="connsiteY30" fmla="*/ 174991 h 569322"/>
              <a:gd name="connsiteX31" fmla="*/ 316577 w 606580"/>
              <a:gd name="connsiteY31" fmla="*/ 243818 h 569322"/>
              <a:gd name="connsiteX32" fmla="*/ 338115 w 606580"/>
              <a:gd name="connsiteY32" fmla="*/ 231488 h 569322"/>
              <a:gd name="connsiteX33" fmla="*/ 346378 w 606580"/>
              <a:gd name="connsiteY33" fmla="*/ 208497 h 569322"/>
              <a:gd name="connsiteX34" fmla="*/ 339415 w 606580"/>
              <a:gd name="connsiteY34" fmla="*/ 188102 h 569322"/>
              <a:gd name="connsiteX35" fmla="*/ 316577 w 606580"/>
              <a:gd name="connsiteY35" fmla="*/ 174991 h 569322"/>
              <a:gd name="connsiteX36" fmla="*/ 316577 w 606580"/>
              <a:gd name="connsiteY36" fmla="*/ 174937 h 569322"/>
              <a:gd name="connsiteX37" fmla="*/ 290954 w 606580"/>
              <a:gd name="connsiteY37" fmla="*/ 55995 h 569322"/>
              <a:gd name="connsiteX38" fmla="*/ 274243 w 606580"/>
              <a:gd name="connsiteY38" fmla="*/ 67954 h 569322"/>
              <a:gd name="connsiteX39" fmla="*/ 268116 w 606580"/>
              <a:gd name="connsiteY39" fmla="*/ 86681 h 569322"/>
              <a:gd name="connsiteX40" fmla="*/ 273779 w 606580"/>
              <a:gd name="connsiteY40" fmla="*/ 104109 h 569322"/>
              <a:gd name="connsiteX41" fmla="*/ 290954 w 606580"/>
              <a:gd name="connsiteY41" fmla="*/ 117088 h 569322"/>
              <a:gd name="connsiteX42" fmla="*/ 290861 w 606580"/>
              <a:gd name="connsiteY42" fmla="*/ 0 h 569322"/>
              <a:gd name="connsiteX43" fmla="*/ 316484 w 606580"/>
              <a:gd name="connsiteY43" fmla="*/ 0 h 569322"/>
              <a:gd name="connsiteX44" fmla="*/ 316484 w 606580"/>
              <a:gd name="connsiteY44" fmla="*/ 17522 h 569322"/>
              <a:gd name="connsiteX45" fmla="*/ 361232 w 606580"/>
              <a:gd name="connsiteY45" fmla="*/ 36619 h 569322"/>
              <a:gd name="connsiteX46" fmla="*/ 382492 w 606580"/>
              <a:gd name="connsiteY46" fmla="*/ 78893 h 569322"/>
              <a:gd name="connsiteX47" fmla="*/ 337744 w 606580"/>
              <a:gd name="connsiteY47" fmla="*/ 84734 h 569322"/>
              <a:gd name="connsiteX48" fmla="*/ 316484 w 606580"/>
              <a:gd name="connsiteY48" fmla="*/ 56458 h 569322"/>
              <a:gd name="connsiteX49" fmla="*/ 316484 w 606580"/>
              <a:gd name="connsiteY49" fmla="*/ 125525 h 569322"/>
              <a:gd name="connsiteX50" fmla="*/ 374322 w 606580"/>
              <a:gd name="connsiteY50" fmla="*/ 155283 h 569322"/>
              <a:gd name="connsiteX51" fmla="*/ 389733 w 606580"/>
              <a:gd name="connsiteY51" fmla="*/ 202193 h 569322"/>
              <a:gd name="connsiteX52" fmla="*/ 370330 w 606580"/>
              <a:gd name="connsiteY52" fmla="*/ 255963 h 569322"/>
              <a:gd name="connsiteX53" fmla="*/ 316484 w 606580"/>
              <a:gd name="connsiteY53" fmla="*/ 282755 h 569322"/>
              <a:gd name="connsiteX54" fmla="*/ 316484 w 606580"/>
              <a:gd name="connsiteY54" fmla="*/ 315851 h 569322"/>
              <a:gd name="connsiteX55" fmla="*/ 290861 w 606580"/>
              <a:gd name="connsiteY55" fmla="*/ 315851 h 569322"/>
              <a:gd name="connsiteX56" fmla="*/ 290861 w 606580"/>
              <a:gd name="connsiteY56" fmla="*/ 283682 h 569322"/>
              <a:gd name="connsiteX57" fmla="*/ 241193 w 606580"/>
              <a:gd name="connsiteY57" fmla="*/ 260876 h 569322"/>
              <a:gd name="connsiteX58" fmla="*/ 216777 w 606580"/>
              <a:gd name="connsiteY58" fmla="*/ 207106 h 569322"/>
              <a:gd name="connsiteX59" fmla="*/ 262917 w 606580"/>
              <a:gd name="connsiteY59" fmla="*/ 202100 h 569322"/>
              <a:gd name="connsiteX60" fmla="*/ 273593 w 606580"/>
              <a:gd name="connsiteY60" fmla="*/ 226482 h 569322"/>
              <a:gd name="connsiteX61" fmla="*/ 290861 w 606580"/>
              <a:gd name="connsiteY61" fmla="*/ 241315 h 569322"/>
              <a:gd name="connsiteX62" fmla="*/ 290861 w 606580"/>
              <a:gd name="connsiteY62" fmla="*/ 167335 h 569322"/>
              <a:gd name="connsiteX63" fmla="*/ 240079 w 606580"/>
              <a:gd name="connsiteY63" fmla="*/ 137484 h 569322"/>
              <a:gd name="connsiteX64" fmla="*/ 223833 w 606580"/>
              <a:gd name="connsiteY64" fmla="*/ 88813 h 569322"/>
              <a:gd name="connsiteX65" fmla="*/ 242214 w 606580"/>
              <a:gd name="connsiteY65" fmla="*/ 40142 h 569322"/>
              <a:gd name="connsiteX66" fmla="*/ 290861 w 606580"/>
              <a:gd name="connsiteY66" fmla="*/ 17522 h 569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6580" h="569322">
                <a:moveTo>
                  <a:pt x="171677" y="318744"/>
                </a:moveTo>
                <a:cubicBezTo>
                  <a:pt x="203060" y="318744"/>
                  <a:pt x="228500" y="344145"/>
                  <a:pt x="228500" y="375386"/>
                </a:cubicBezTo>
                <a:cubicBezTo>
                  <a:pt x="228500" y="379650"/>
                  <a:pt x="227943" y="383729"/>
                  <a:pt x="227108" y="387623"/>
                </a:cubicBezTo>
                <a:lnTo>
                  <a:pt x="356167" y="468739"/>
                </a:lnTo>
                <a:cubicBezTo>
                  <a:pt x="365916" y="460859"/>
                  <a:pt x="378172" y="455945"/>
                  <a:pt x="391728" y="455945"/>
                </a:cubicBezTo>
                <a:cubicBezTo>
                  <a:pt x="401849" y="455945"/>
                  <a:pt x="411227" y="458819"/>
                  <a:pt x="419490" y="463454"/>
                </a:cubicBezTo>
                <a:lnTo>
                  <a:pt x="497019" y="395874"/>
                </a:lnTo>
                <a:cubicBezTo>
                  <a:pt x="494512" y="389570"/>
                  <a:pt x="493026" y="382617"/>
                  <a:pt x="493026" y="375386"/>
                </a:cubicBezTo>
                <a:cubicBezTo>
                  <a:pt x="493026" y="344052"/>
                  <a:pt x="518467" y="318744"/>
                  <a:pt x="549849" y="318744"/>
                </a:cubicBezTo>
                <a:cubicBezTo>
                  <a:pt x="581232" y="318744"/>
                  <a:pt x="606580" y="344052"/>
                  <a:pt x="606580" y="375386"/>
                </a:cubicBezTo>
                <a:cubicBezTo>
                  <a:pt x="606580" y="406720"/>
                  <a:pt x="581232" y="432121"/>
                  <a:pt x="549849" y="432121"/>
                </a:cubicBezTo>
                <a:cubicBezTo>
                  <a:pt x="539636" y="432121"/>
                  <a:pt x="530166" y="429154"/>
                  <a:pt x="521809" y="424519"/>
                </a:cubicBezTo>
                <a:lnTo>
                  <a:pt x="444466" y="491915"/>
                </a:lnTo>
                <a:cubicBezTo>
                  <a:pt x="446973" y="498311"/>
                  <a:pt x="448459" y="505264"/>
                  <a:pt x="448459" y="512587"/>
                </a:cubicBezTo>
                <a:cubicBezTo>
                  <a:pt x="448459" y="543921"/>
                  <a:pt x="423111" y="569322"/>
                  <a:pt x="391728" y="569322"/>
                </a:cubicBezTo>
                <a:cubicBezTo>
                  <a:pt x="360345" y="569322"/>
                  <a:pt x="334905" y="543921"/>
                  <a:pt x="334905" y="512587"/>
                </a:cubicBezTo>
                <a:cubicBezTo>
                  <a:pt x="334905" y="508601"/>
                  <a:pt x="335369" y="504708"/>
                  <a:pt x="336112" y="500907"/>
                </a:cubicBezTo>
                <a:lnTo>
                  <a:pt x="206867" y="419606"/>
                </a:lnTo>
                <a:cubicBezTo>
                  <a:pt x="197118" y="427300"/>
                  <a:pt x="185047" y="432121"/>
                  <a:pt x="171677" y="432121"/>
                </a:cubicBezTo>
                <a:cubicBezTo>
                  <a:pt x="164992" y="432121"/>
                  <a:pt x="158678" y="430730"/>
                  <a:pt x="152736" y="428598"/>
                </a:cubicBezTo>
                <a:lnTo>
                  <a:pt x="105847" y="484498"/>
                </a:lnTo>
                <a:cubicBezTo>
                  <a:pt x="110676" y="492842"/>
                  <a:pt x="113554" y="502390"/>
                  <a:pt x="113554" y="512587"/>
                </a:cubicBezTo>
                <a:cubicBezTo>
                  <a:pt x="113554" y="543921"/>
                  <a:pt x="88206" y="569322"/>
                  <a:pt x="56823" y="569322"/>
                </a:cubicBezTo>
                <a:cubicBezTo>
                  <a:pt x="25441" y="569322"/>
                  <a:pt x="0" y="543921"/>
                  <a:pt x="0" y="512587"/>
                </a:cubicBezTo>
                <a:cubicBezTo>
                  <a:pt x="0" y="481346"/>
                  <a:pt x="25441" y="455945"/>
                  <a:pt x="56823" y="455945"/>
                </a:cubicBezTo>
                <a:cubicBezTo>
                  <a:pt x="63973" y="455945"/>
                  <a:pt x="70843" y="457429"/>
                  <a:pt x="77157" y="459839"/>
                </a:cubicBezTo>
                <a:lnTo>
                  <a:pt x="123303" y="404773"/>
                </a:lnTo>
                <a:cubicBezTo>
                  <a:pt x="118103" y="396152"/>
                  <a:pt x="114854" y="386232"/>
                  <a:pt x="114854" y="375386"/>
                </a:cubicBezTo>
                <a:cubicBezTo>
                  <a:pt x="114854" y="344145"/>
                  <a:pt x="140294" y="318744"/>
                  <a:pt x="171677" y="318744"/>
                </a:cubicBezTo>
                <a:close/>
                <a:moveTo>
                  <a:pt x="316484" y="174937"/>
                </a:moveTo>
                <a:lnTo>
                  <a:pt x="316577" y="174991"/>
                </a:lnTo>
                <a:lnTo>
                  <a:pt x="316577" y="243818"/>
                </a:lnTo>
                <a:cubicBezTo>
                  <a:pt x="325397" y="242149"/>
                  <a:pt x="332545" y="238070"/>
                  <a:pt x="338115" y="231488"/>
                </a:cubicBezTo>
                <a:cubicBezTo>
                  <a:pt x="343593" y="224999"/>
                  <a:pt x="346378" y="217304"/>
                  <a:pt x="346378" y="208497"/>
                </a:cubicBezTo>
                <a:cubicBezTo>
                  <a:pt x="346378" y="200617"/>
                  <a:pt x="344057" y="193757"/>
                  <a:pt x="339415" y="188102"/>
                </a:cubicBezTo>
                <a:lnTo>
                  <a:pt x="316577" y="174991"/>
                </a:lnTo>
                <a:lnTo>
                  <a:pt x="316577" y="174937"/>
                </a:lnTo>
                <a:close/>
                <a:moveTo>
                  <a:pt x="290954" y="55995"/>
                </a:moveTo>
                <a:cubicBezTo>
                  <a:pt x="283991" y="58312"/>
                  <a:pt x="278421" y="62299"/>
                  <a:pt x="274243" y="67954"/>
                </a:cubicBezTo>
                <a:cubicBezTo>
                  <a:pt x="270158" y="73609"/>
                  <a:pt x="268116" y="79913"/>
                  <a:pt x="268116" y="86681"/>
                </a:cubicBezTo>
                <a:cubicBezTo>
                  <a:pt x="268116" y="92892"/>
                  <a:pt x="269973" y="98732"/>
                  <a:pt x="273779" y="104109"/>
                </a:cubicBezTo>
                <a:cubicBezTo>
                  <a:pt x="277493" y="109394"/>
                  <a:pt x="283249" y="113751"/>
                  <a:pt x="290954" y="117088"/>
                </a:cubicBezTo>
                <a:close/>
                <a:moveTo>
                  <a:pt x="290861" y="0"/>
                </a:moveTo>
                <a:lnTo>
                  <a:pt x="316484" y="0"/>
                </a:lnTo>
                <a:lnTo>
                  <a:pt x="316484" y="17522"/>
                </a:lnTo>
                <a:cubicBezTo>
                  <a:pt x="335237" y="19747"/>
                  <a:pt x="350184" y="26143"/>
                  <a:pt x="361232" y="36619"/>
                </a:cubicBezTo>
                <a:cubicBezTo>
                  <a:pt x="372280" y="47188"/>
                  <a:pt x="379428" y="61279"/>
                  <a:pt x="382492" y="78893"/>
                </a:cubicBezTo>
                <a:lnTo>
                  <a:pt x="337744" y="84734"/>
                </a:lnTo>
                <a:cubicBezTo>
                  <a:pt x="335052" y="70828"/>
                  <a:pt x="327903" y="61464"/>
                  <a:pt x="316484" y="56458"/>
                </a:cubicBezTo>
                <a:lnTo>
                  <a:pt x="316484" y="125525"/>
                </a:lnTo>
                <a:cubicBezTo>
                  <a:pt x="344800" y="133219"/>
                  <a:pt x="364110" y="143139"/>
                  <a:pt x="374322" y="155283"/>
                </a:cubicBezTo>
                <a:cubicBezTo>
                  <a:pt x="384534" y="167428"/>
                  <a:pt x="389733" y="183095"/>
                  <a:pt x="389733" y="202193"/>
                </a:cubicBezTo>
                <a:cubicBezTo>
                  <a:pt x="389733" y="223423"/>
                  <a:pt x="383234" y="241408"/>
                  <a:pt x="370330" y="255963"/>
                </a:cubicBezTo>
                <a:cubicBezTo>
                  <a:pt x="357426" y="270610"/>
                  <a:pt x="339508" y="279510"/>
                  <a:pt x="316484" y="282755"/>
                </a:cubicBezTo>
                <a:lnTo>
                  <a:pt x="316484" y="315851"/>
                </a:lnTo>
                <a:lnTo>
                  <a:pt x="290861" y="315851"/>
                </a:lnTo>
                <a:lnTo>
                  <a:pt x="290861" y="283682"/>
                </a:lnTo>
                <a:cubicBezTo>
                  <a:pt x="270530" y="281179"/>
                  <a:pt x="253912" y="273577"/>
                  <a:pt x="241193" y="260876"/>
                </a:cubicBezTo>
                <a:cubicBezTo>
                  <a:pt x="228475" y="248175"/>
                  <a:pt x="220398" y="230283"/>
                  <a:pt x="216777" y="207106"/>
                </a:cubicBezTo>
                <a:lnTo>
                  <a:pt x="262917" y="202100"/>
                </a:lnTo>
                <a:cubicBezTo>
                  <a:pt x="264867" y="211556"/>
                  <a:pt x="268395" y="219714"/>
                  <a:pt x="273593" y="226482"/>
                </a:cubicBezTo>
                <a:cubicBezTo>
                  <a:pt x="278792" y="233342"/>
                  <a:pt x="284548" y="238256"/>
                  <a:pt x="290861" y="241315"/>
                </a:cubicBezTo>
                <a:lnTo>
                  <a:pt x="290861" y="167335"/>
                </a:lnTo>
                <a:cubicBezTo>
                  <a:pt x="267745" y="160753"/>
                  <a:pt x="250848" y="150834"/>
                  <a:pt x="240079" y="137484"/>
                </a:cubicBezTo>
                <a:cubicBezTo>
                  <a:pt x="229310" y="124041"/>
                  <a:pt x="223833" y="107910"/>
                  <a:pt x="223833" y="88813"/>
                </a:cubicBezTo>
                <a:cubicBezTo>
                  <a:pt x="223833" y="69530"/>
                  <a:pt x="229960" y="53306"/>
                  <a:pt x="242214" y="40142"/>
                </a:cubicBezTo>
                <a:cubicBezTo>
                  <a:pt x="254376" y="27070"/>
                  <a:pt x="270623" y="19468"/>
                  <a:pt x="290861" y="175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526AEA5D-FB7D-4A97-B04B-2B55E0EF34F1}"/>
              </a:ext>
            </a:extLst>
          </p:cNvPr>
          <p:cNvSpPr txBox="1"/>
          <p:nvPr/>
        </p:nvSpPr>
        <p:spPr>
          <a:xfrm>
            <a:off x="7692520" y="1418164"/>
            <a:ext cx="472878" cy="452191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prstTxWarp prst="textPlain">
              <a:avLst/>
            </a:prstTxWarp>
            <a:noAutofit/>
          </a:bodyPr>
          <a:lstStyle/>
          <a:p>
            <a:r>
              <a:rPr lang="en-US" sz="4800" dirty="0">
                <a:cs typeface="+mn-ea"/>
                <a:sym typeface="+mn-lt"/>
              </a:rPr>
              <a:t>“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5E00AB2-F898-4752-84C9-C840C15AB784}"/>
              </a:ext>
            </a:extLst>
          </p:cNvPr>
          <p:cNvSpPr/>
          <p:nvPr/>
        </p:nvSpPr>
        <p:spPr>
          <a:xfrm>
            <a:off x="7692522" y="1870355"/>
            <a:ext cx="3827966" cy="40793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2000" b="1">
                <a:cs typeface="+mn-ea"/>
                <a:sym typeface="+mn-lt"/>
              </a:rPr>
              <a:t>Supporti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2000" b="1">
                <a:cs typeface="+mn-ea"/>
                <a:sym typeface="+mn-lt"/>
              </a:rPr>
              <a:t>ng </a:t>
            </a:r>
            <a:r>
              <a:rPr lang="en-US" altLang="zh-CN" sz="2000" b="1" dirty="0">
                <a:cs typeface="+mn-ea"/>
                <a:sym typeface="+mn-lt"/>
              </a:rPr>
              <a:t>text 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51F7C261-1E82-4BCB-A1DD-593EE6B74C22}"/>
              </a:ext>
            </a:extLst>
          </p:cNvPr>
          <p:cNvSpPr/>
          <p:nvPr/>
        </p:nvSpPr>
        <p:spPr bwMode="auto">
          <a:xfrm>
            <a:off x="3924442" y="3105023"/>
            <a:ext cx="292313" cy="274358"/>
          </a:xfrm>
          <a:custGeom>
            <a:avLst/>
            <a:gdLst>
              <a:gd name="connsiteX0" fmla="*/ 171677 w 606580"/>
              <a:gd name="connsiteY0" fmla="*/ 318744 h 569322"/>
              <a:gd name="connsiteX1" fmla="*/ 228500 w 606580"/>
              <a:gd name="connsiteY1" fmla="*/ 375386 h 569322"/>
              <a:gd name="connsiteX2" fmla="*/ 227108 w 606580"/>
              <a:gd name="connsiteY2" fmla="*/ 387623 h 569322"/>
              <a:gd name="connsiteX3" fmla="*/ 356167 w 606580"/>
              <a:gd name="connsiteY3" fmla="*/ 468739 h 569322"/>
              <a:gd name="connsiteX4" fmla="*/ 391728 w 606580"/>
              <a:gd name="connsiteY4" fmla="*/ 455945 h 569322"/>
              <a:gd name="connsiteX5" fmla="*/ 419490 w 606580"/>
              <a:gd name="connsiteY5" fmla="*/ 463454 h 569322"/>
              <a:gd name="connsiteX6" fmla="*/ 497019 w 606580"/>
              <a:gd name="connsiteY6" fmla="*/ 395874 h 569322"/>
              <a:gd name="connsiteX7" fmla="*/ 493026 w 606580"/>
              <a:gd name="connsiteY7" fmla="*/ 375386 h 569322"/>
              <a:gd name="connsiteX8" fmla="*/ 549849 w 606580"/>
              <a:gd name="connsiteY8" fmla="*/ 318744 h 569322"/>
              <a:gd name="connsiteX9" fmla="*/ 606580 w 606580"/>
              <a:gd name="connsiteY9" fmla="*/ 375386 h 569322"/>
              <a:gd name="connsiteX10" fmla="*/ 549849 w 606580"/>
              <a:gd name="connsiteY10" fmla="*/ 432121 h 569322"/>
              <a:gd name="connsiteX11" fmla="*/ 521809 w 606580"/>
              <a:gd name="connsiteY11" fmla="*/ 424519 h 569322"/>
              <a:gd name="connsiteX12" fmla="*/ 444466 w 606580"/>
              <a:gd name="connsiteY12" fmla="*/ 491915 h 569322"/>
              <a:gd name="connsiteX13" fmla="*/ 448459 w 606580"/>
              <a:gd name="connsiteY13" fmla="*/ 512587 h 569322"/>
              <a:gd name="connsiteX14" fmla="*/ 391728 w 606580"/>
              <a:gd name="connsiteY14" fmla="*/ 569322 h 569322"/>
              <a:gd name="connsiteX15" fmla="*/ 334905 w 606580"/>
              <a:gd name="connsiteY15" fmla="*/ 512587 h 569322"/>
              <a:gd name="connsiteX16" fmla="*/ 336112 w 606580"/>
              <a:gd name="connsiteY16" fmla="*/ 500907 h 569322"/>
              <a:gd name="connsiteX17" fmla="*/ 206867 w 606580"/>
              <a:gd name="connsiteY17" fmla="*/ 419606 h 569322"/>
              <a:gd name="connsiteX18" fmla="*/ 171677 w 606580"/>
              <a:gd name="connsiteY18" fmla="*/ 432121 h 569322"/>
              <a:gd name="connsiteX19" fmla="*/ 152736 w 606580"/>
              <a:gd name="connsiteY19" fmla="*/ 428598 h 569322"/>
              <a:gd name="connsiteX20" fmla="*/ 105847 w 606580"/>
              <a:gd name="connsiteY20" fmla="*/ 484498 h 569322"/>
              <a:gd name="connsiteX21" fmla="*/ 113554 w 606580"/>
              <a:gd name="connsiteY21" fmla="*/ 512587 h 569322"/>
              <a:gd name="connsiteX22" fmla="*/ 56823 w 606580"/>
              <a:gd name="connsiteY22" fmla="*/ 569322 h 569322"/>
              <a:gd name="connsiteX23" fmla="*/ 0 w 606580"/>
              <a:gd name="connsiteY23" fmla="*/ 512587 h 569322"/>
              <a:gd name="connsiteX24" fmla="*/ 56823 w 606580"/>
              <a:gd name="connsiteY24" fmla="*/ 455945 h 569322"/>
              <a:gd name="connsiteX25" fmla="*/ 77157 w 606580"/>
              <a:gd name="connsiteY25" fmla="*/ 459839 h 569322"/>
              <a:gd name="connsiteX26" fmla="*/ 123303 w 606580"/>
              <a:gd name="connsiteY26" fmla="*/ 404773 h 569322"/>
              <a:gd name="connsiteX27" fmla="*/ 114854 w 606580"/>
              <a:gd name="connsiteY27" fmla="*/ 375386 h 569322"/>
              <a:gd name="connsiteX28" fmla="*/ 171677 w 606580"/>
              <a:gd name="connsiteY28" fmla="*/ 318744 h 569322"/>
              <a:gd name="connsiteX29" fmla="*/ 316484 w 606580"/>
              <a:gd name="connsiteY29" fmla="*/ 174937 h 569322"/>
              <a:gd name="connsiteX30" fmla="*/ 316577 w 606580"/>
              <a:gd name="connsiteY30" fmla="*/ 174991 h 569322"/>
              <a:gd name="connsiteX31" fmla="*/ 316577 w 606580"/>
              <a:gd name="connsiteY31" fmla="*/ 243818 h 569322"/>
              <a:gd name="connsiteX32" fmla="*/ 338115 w 606580"/>
              <a:gd name="connsiteY32" fmla="*/ 231488 h 569322"/>
              <a:gd name="connsiteX33" fmla="*/ 346378 w 606580"/>
              <a:gd name="connsiteY33" fmla="*/ 208497 h 569322"/>
              <a:gd name="connsiteX34" fmla="*/ 339415 w 606580"/>
              <a:gd name="connsiteY34" fmla="*/ 188102 h 569322"/>
              <a:gd name="connsiteX35" fmla="*/ 316577 w 606580"/>
              <a:gd name="connsiteY35" fmla="*/ 174991 h 569322"/>
              <a:gd name="connsiteX36" fmla="*/ 316577 w 606580"/>
              <a:gd name="connsiteY36" fmla="*/ 174937 h 569322"/>
              <a:gd name="connsiteX37" fmla="*/ 290954 w 606580"/>
              <a:gd name="connsiteY37" fmla="*/ 55995 h 569322"/>
              <a:gd name="connsiteX38" fmla="*/ 274243 w 606580"/>
              <a:gd name="connsiteY38" fmla="*/ 67954 h 569322"/>
              <a:gd name="connsiteX39" fmla="*/ 268116 w 606580"/>
              <a:gd name="connsiteY39" fmla="*/ 86681 h 569322"/>
              <a:gd name="connsiteX40" fmla="*/ 273779 w 606580"/>
              <a:gd name="connsiteY40" fmla="*/ 104109 h 569322"/>
              <a:gd name="connsiteX41" fmla="*/ 290954 w 606580"/>
              <a:gd name="connsiteY41" fmla="*/ 117088 h 569322"/>
              <a:gd name="connsiteX42" fmla="*/ 290861 w 606580"/>
              <a:gd name="connsiteY42" fmla="*/ 0 h 569322"/>
              <a:gd name="connsiteX43" fmla="*/ 316484 w 606580"/>
              <a:gd name="connsiteY43" fmla="*/ 0 h 569322"/>
              <a:gd name="connsiteX44" fmla="*/ 316484 w 606580"/>
              <a:gd name="connsiteY44" fmla="*/ 17522 h 569322"/>
              <a:gd name="connsiteX45" fmla="*/ 361232 w 606580"/>
              <a:gd name="connsiteY45" fmla="*/ 36619 h 569322"/>
              <a:gd name="connsiteX46" fmla="*/ 382492 w 606580"/>
              <a:gd name="connsiteY46" fmla="*/ 78893 h 569322"/>
              <a:gd name="connsiteX47" fmla="*/ 337744 w 606580"/>
              <a:gd name="connsiteY47" fmla="*/ 84734 h 569322"/>
              <a:gd name="connsiteX48" fmla="*/ 316484 w 606580"/>
              <a:gd name="connsiteY48" fmla="*/ 56458 h 569322"/>
              <a:gd name="connsiteX49" fmla="*/ 316484 w 606580"/>
              <a:gd name="connsiteY49" fmla="*/ 125525 h 569322"/>
              <a:gd name="connsiteX50" fmla="*/ 374322 w 606580"/>
              <a:gd name="connsiteY50" fmla="*/ 155283 h 569322"/>
              <a:gd name="connsiteX51" fmla="*/ 389733 w 606580"/>
              <a:gd name="connsiteY51" fmla="*/ 202193 h 569322"/>
              <a:gd name="connsiteX52" fmla="*/ 370330 w 606580"/>
              <a:gd name="connsiteY52" fmla="*/ 255963 h 569322"/>
              <a:gd name="connsiteX53" fmla="*/ 316484 w 606580"/>
              <a:gd name="connsiteY53" fmla="*/ 282755 h 569322"/>
              <a:gd name="connsiteX54" fmla="*/ 316484 w 606580"/>
              <a:gd name="connsiteY54" fmla="*/ 315851 h 569322"/>
              <a:gd name="connsiteX55" fmla="*/ 290861 w 606580"/>
              <a:gd name="connsiteY55" fmla="*/ 315851 h 569322"/>
              <a:gd name="connsiteX56" fmla="*/ 290861 w 606580"/>
              <a:gd name="connsiteY56" fmla="*/ 283682 h 569322"/>
              <a:gd name="connsiteX57" fmla="*/ 241193 w 606580"/>
              <a:gd name="connsiteY57" fmla="*/ 260876 h 569322"/>
              <a:gd name="connsiteX58" fmla="*/ 216777 w 606580"/>
              <a:gd name="connsiteY58" fmla="*/ 207106 h 569322"/>
              <a:gd name="connsiteX59" fmla="*/ 262917 w 606580"/>
              <a:gd name="connsiteY59" fmla="*/ 202100 h 569322"/>
              <a:gd name="connsiteX60" fmla="*/ 273593 w 606580"/>
              <a:gd name="connsiteY60" fmla="*/ 226482 h 569322"/>
              <a:gd name="connsiteX61" fmla="*/ 290861 w 606580"/>
              <a:gd name="connsiteY61" fmla="*/ 241315 h 569322"/>
              <a:gd name="connsiteX62" fmla="*/ 290861 w 606580"/>
              <a:gd name="connsiteY62" fmla="*/ 167335 h 569322"/>
              <a:gd name="connsiteX63" fmla="*/ 240079 w 606580"/>
              <a:gd name="connsiteY63" fmla="*/ 137484 h 569322"/>
              <a:gd name="connsiteX64" fmla="*/ 223833 w 606580"/>
              <a:gd name="connsiteY64" fmla="*/ 88813 h 569322"/>
              <a:gd name="connsiteX65" fmla="*/ 242214 w 606580"/>
              <a:gd name="connsiteY65" fmla="*/ 40142 h 569322"/>
              <a:gd name="connsiteX66" fmla="*/ 290861 w 606580"/>
              <a:gd name="connsiteY66" fmla="*/ 17522 h 5693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606580" h="569322">
                <a:moveTo>
                  <a:pt x="171677" y="318744"/>
                </a:moveTo>
                <a:cubicBezTo>
                  <a:pt x="203060" y="318744"/>
                  <a:pt x="228500" y="344145"/>
                  <a:pt x="228500" y="375386"/>
                </a:cubicBezTo>
                <a:cubicBezTo>
                  <a:pt x="228500" y="379650"/>
                  <a:pt x="227943" y="383729"/>
                  <a:pt x="227108" y="387623"/>
                </a:cubicBezTo>
                <a:lnTo>
                  <a:pt x="356167" y="468739"/>
                </a:lnTo>
                <a:cubicBezTo>
                  <a:pt x="365916" y="460859"/>
                  <a:pt x="378172" y="455945"/>
                  <a:pt x="391728" y="455945"/>
                </a:cubicBezTo>
                <a:cubicBezTo>
                  <a:pt x="401849" y="455945"/>
                  <a:pt x="411227" y="458819"/>
                  <a:pt x="419490" y="463454"/>
                </a:cubicBezTo>
                <a:lnTo>
                  <a:pt x="497019" y="395874"/>
                </a:lnTo>
                <a:cubicBezTo>
                  <a:pt x="494512" y="389570"/>
                  <a:pt x="493026" y="382617"/>
                  <a:pt x="493026" y="375386"/>
                </a:cubicBezTo>
                <a:cubicBezTo>
                  <a:pt x="493026" y="344052"/>
                  <a:pt x="518467" y="318744"/>
                  <a:pt x="549849" y="318744"/>
                </a:cubicBezTo>
                <a:cubicBezTo>
                  <a:pt x="581232" y="318744"/>
                  <a:pt x="606580" y="344052"/>
                  <a:pt x="606580" y="375386"/>
                </a:cubicBezTo>
                <a:cubicBezTo>
                  <a:pt x="606580" y="406720"/>
                  <a:pt x="581232" y="432121"/>
                  <a:pt x="549849" y="432121"/>
                </a:cubicBezTo>
                <a:cubicBezTo>
                  <a:pt x="539636" y="432121"/>
                  <a:pt x="530166" y="429154"/>
                  <a:pt x="521809" y="424519"/>
                </a:cubicBezTo>
                <a:lnTo>
                  <a:pt x="444466" y="491915"/>
                </a:lnTo>
                <a:cubicBezTo>
                  <a:pt x="446973" y="498311"/>
                  <a:pt x="448459" y="505264"/>
                  <a:pt x="448459" y="512587"/>
                </a:cubicBezTo>
                <a:cubicBezTo>
                  <a:pt x="448459" y="543921"/>
                  <a:pt x="423111" y="569322"/>
                  <a:pt x="391728" y="569322"/>
                </a:cubicBezTo>
                <a:cubicBezTo>
                  <a:pt x="360345" y="569322"/>
                  <a:pt x="334905" y="543921"/>
                  <a:pt x="334905" y="512587"/>
                </a:cubicBezTo>
                <a:cubicBezTo>
                  <a:pt x="334905" y="508601"/>
                  <a:pt x="335369" y="504708"/>
                  <a:pt x="336112" y="500907"/>
                </a:cubicBezTo>
                <a:lnTo>
                  <a:pt x="206867" y="419606"/>
                </a:lnTo>
                <a:cubicBezTo>
                  <a:pt x="197118" y="427300"/>
                  <a:pt x="185047" y="432121"/>
                  <a:pt x="171677" y="432121"/>
                </a:cubicBezTo>
                <a:cubicBezTo>
                  <a:pt x="164992" y="432121"/>
                  <a:pt x="158678" y="430730"/>
                  <a:pt x="152736" y="428598"/>
                </a:cubicBezTo>
                <a:lnTo>
                  <a:pt x="105847" y="484498"/>
                </a:lnTo>
                <a:cubicBezTo>
                  <a:pt x="110676" y="492842"/>
                  <a:pt x="113554" y="502390"/>
                  <a:pt x="113554" y="512587"/>
                </a:cubicBezTo>
                <a:cubicBezTo>
                  <a:pt x="113554" y="543921"/>
                  <a:pt x="88206" y="569322"/>
                  <a:pt x="56823" y="569322"/>
                </a:cubicBezTo>
                <a:cubicBezTo>
                  <a:pt x="25441" y="569322"/>
                  <a:pt x="0" y="543921"/>
                  <a:pt x="0" y="512587"/>
                </a:cubicBezTo>
                <a:cubicBezTo>
                  <a:pt x="0" y="481346"/>
                  <a:pt x="25441" y="455945"/>
                  <a:pt x="56823" y="455945"/>
                </a:cubicBezTo>
                <a:cubicBezTo>
                  <a:pt x="63973" y="455945"/>
                  <a:pt x="70843" y="457429"/>
                  <a:pt x="77157" y="459839"/>
                </a:cubicBezTo>
                <a:lnTo>
                  <a:pt x="123303" y="404773"/>
                </a:lnTo>
                <a:cubicBezTo>
                  <a:pt x="118103" y="396152"/>
                  <a:pt x="114854" y="386232"/>
                  <a:pt x="114854" y="375386"/>
                </a:cubicBezTo>
                <a:cubicBezTo>
                  <a:pt x="114854" y="344145"/>
                  <a:pt x="140294" y="318744"/>
                  <a:pt x="171677" y="318744"/>
                </a:cubicBezTo>
                <a:close/>
                <a:moveTo>
                  <a:pt x="316484" y="174937"/>
                </a:moveTo>
                <a:lnTo>
                  <a:pt x="316577" y="174991"/>
                </a:lnTo>
                <a:lnTo>
                  <a:pt x="316577" y="243818"/>
                </a:lnTo>
                <a:cubicBezTo>
                  <a:pt x="325397" y="242149"/>
                  <a:pt x="332545" y="238070"/>
                  <a:pt x="338115" y="231488"/>
                </a:cubicBezTo>
                <a:cubicBezTo>
                  <a:pt x="343593" y="224999"/>
                  <a:pt x="346378" y="217304"/>
                  <a:pt x="346378" y="208497"/>
                </a:cubicBezTo>
                <a:cubicBezTo>
                  <a:pt x="346378" y="200617"/>
                  <a:pt x="344057" y="193757"/>
                  <a:pt x="339415" y="188102"/>
                </a:cubicBezTo>
                <a:lnTo>
                  <a:pt x="316577" y="174991"/>
                </a:lnTo>
                <a:lnTo>
                  <a:pt x="316577" y="174937"/>
                </a:lnTo>
                <a:close/>
                <a:moveTo>
                  <a:pt x="290954" y="55995"/>
                </a:moveTo>
                <a:cubicBezTo>
                  <a:pt x="283991" y="58312"/>
                  <a:pt x="278421" y="62299"/>
                  <a:pt x="274243" y="67954"/>
                </a:cubicBezTo>
                <a:cubicBezTo>
                  <a:pt x="270158" y="73609"/>
                  <a:pt x="268116" y="79913"/>
                  <a:pt x="268116" y="86681"/>
                </a:cubicBezTo>
                <a:cubicBezTo>
                  <a:pt x="268116" y="92892"/>
                  <a:pt x="269973" y="98732"/>
                  <a:pt x="273779" y="104109"/>
                </a:cubicBezTo>
                <a:cubicBezTo>
                  <a:pt x="277493" y="109394"/>
                  <a:pt x="283249" y="113751"/>
                  <a:pt x="290954" y="117088"/>
                </a:cubicBezTo>
                <a:close/>
                <a:moveTo>
                  <a:pt x="290861" y="0"/>
                </a:moveTo>
                <a:lnTo>
                  <a:pt x="316484" y="0"/>
                </a:lnTo>
                <a:lnTo>
                  <a:pt x="316484" y="17522"/>
                </a:lnTo>
                <a:cubicBezTo>
                  <a:pt x="335237" y="19747"/>
                  <a:pt x="350184" y="26143"/>
                  <a:pt x="361232" y="36619"/>
                </a:cubicBezTo>
                <a:cubicBezTo>
                  <a:pt x="372280" y="47188"/>
                  <a:pt x="379428" y="61279"/>
                  <a:pt x="382492" y="78893"/>
                </a:cubicBezTo>
                <a:lnTo>
                  <a:pt x="337744" y="84734"/>
                </a:lnTo>
                <a:cubicBezTo>
                  <a:pt x="335052" y="70828"/>
                  <a:pt x="327903" y="61464"/>
                  <a:pt x="316484" y="56458"/>
                </a:cubicBezTo>
                <a:lnTo>
                  <a:pt x="316484" y="125525"/>
                </a:lnTo>
                <a:cubicBezTo>
                  <a:pt x="344800" y="133219"/>
                  <a:pt x="364110" y="143139"/>
                  <a:pt x="374322" y="155283"/>
                </a:cubicBezTo>
                <a:cubicBezTo>
                  <a:pt x="384534" y="167428"/>
                  <a:pt x="389733" y="183095"/>
                  <a:pt x="389733" y="202193"/>
                </a:cubicBezTo>
                <a:cubicBezTo>
                  <a:pt x="389733" y="223423"/>
                  <a:pt x="383234" y="241408"/>
                  <a:pt x="370330" y="255963"/>
                </a:cubicBezTo>
                <a:cubicBezTo>
                  <a:pt x="357426" y="270610"/>
                  <a:pt x="339508" y="279510"/>
                  <a:pt x="316484" y="282755"/>
                </a:cubicBezTo>
                <a:lnTo>
                  <a:pt x="316484" y="315851"/>
                </a:lnTo>
                <a:lnTo>
                  <a:pt x="290861" y="315851"/>
                </a:lnTo>
                <a:lnTo>
                  <a:pt x="290861" y="283682"/>
                </a:lnTo>
                <a:cubicBezTo>
                  <a:pt x="270530" y="281179"/>
                  <a:pt x="253912" y="273577"/>
                  <a:pt x="241193" y="260876"/>
                </a:cubicBezTo>
                <a:cubicBezTo>
                  <a:pt x="228475" y="248175"/>
                  <a:pt x="220398" y="230283"/>
                  <a:pt x="216777" y="207106"/>
                </a:cubicBezTo>
                <a:lnTo>
                  <a:pt x="262917" y="202100"/>
                </a:lnTo>
                <a:cubicBezTo>
                  <a:pt x="264867" y="211556"/>
                  <a:pt x="268395" y="219714"/>
                  <a:pt x="273593" y="226482"/>
                </a:cubicBezTo>
                <a:cubicBezTo>
                  <a:pt x="278792" y="233342"/>
                  <a:pt x="284548" y="238256"/>
                  <a:pt x="290861" y="241315"/>
                </a:cubicBezTo>
                <a:lnTo>
                  <a:pt x="290861" y="167335"/>
                </a:lnTo>
                <a:cubicBezTo>
                  <a:pt x="267745" y="160753"/>
                  <a:pt x="250848" y="150834"/>
                  <a:pt x="240079" y="137484"/>
                </a:cubicBezTo>
                <a:cubicBezTo>
                  <a:pt x="229310" y="124041"/>
                  <a:pt x="223833" y="107910"/>
                  <a:pt x="223833" y="88813"/>
                </a:cubicBezTo>
                <a:cubicBezTo>
                  <a:pt x="223833" y="69530"/>
                  <a:pt x="229960" y="53306"/>
                  <a:pt x="242214" y="40142"/>
                </a:cubicBezTo>
                <a:cubicBezTo>
                  <a:pt x="254376" y="27070"/>
                  <a:pt x="270623" y="19468"/>
                  <a:pt x="290861" y="1752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1893A705-F307-4DAA-AA34-D1444593A926}"/>
              </a:ext>
            </a:extLst>
          </p:cNvPr>
          <p:cNvSpPr/>
          <p:nvPr/>
        </p:nvSpPr>
        <p:spPr>
          <a:xfrm>
            <a:off x="7692521" y="2257250"/>
            <a:ext cx="3827967" cy="1114060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re</a:t>
            </a:r>
            <a:endParaRPr lang="en-US" altLang="zh-CN" sz="1100" dirty="0">
              <a:cs typeface="+mn-ea"/>
              <a:sym typeface="+mn-lt"/>
            </a:endParaRPr>
          </a:p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Supporting text here</a:t>
            </a:r>
          </a:p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F411F893-7535-41C8-BBB8-B2FE3DC9FDCC}"/>
              </a:ext>
            </a:extLst>
          </p:cNvPr>
          <p:cNvSpPr txBox="1"/>
          <p:nvPr/>
        </p:nvSpPr>
        <p:spPr>
          <a:xfrm>
            <a:off x="1129466" y="5211009"/>
            <a:ext cx="2507299" cy="7404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Autofit/>
          </a:bodyPr>
          <a:lstStyle/>
          <a:p>
            <a:pPr algn="r"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br>
              <a:rPr lang="zh-CN" altLang="en-US" sz="1100" dirty="0">
                <a:cs typeface="+mn-ea"/>
                <a:sym typeface="+mn-lt"/>
              </a:rPr>
            </a:br>
            <a:r>
              <a:rPr lang="en-US" altLang="zh-CN" sz="1100" dirty="0">
                <a:cs typeface="+mn-ea"/>
                <a:sym typeface="+mn-lt"/>
              </a:rPr>
              <a:t>Supporting text here</a:t>
            </a:r>
            <a:br>
              <a:rPr lang="zh-CN" altLang="en-US" sz="1100" dirty="0">
                <a:cs typeface="+mn-ea"/>
                <a:sym typeface="+mn-lt"/>
              </a:rPr>
            </a:b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3C0C88B5-74E7-4AC9-AE5F-521A9B0D2E32}"/>
              </a:ext>
            </a:extLst>
          </p:cNvPr>
          <p:cNvSpPr/>
          <p:nvPr/>
        </p:nvSpPr>
        <p:spPr>
          <a:xfrm>
            <a:off x="1129466" y="4844260"/>
            <a:ext cx="2507299" cy="366749"/>
          </a:xfrm>
          <a:prstGeom prst="rect">
            <a:avLst/>
          </a:prstGeom>
        </p:spPr>
        <p:txBody>
          <a:bodyPr wrap="square" lIns="91440" tIns="45720" rIns="91440" bIns="45720" anchor="b">
            <a:noAutofit/>
          </a:bodyPr>
          <a:lstStyle/>
          <a:p>
            <a:pPr lvl="0" algn="r" defTabSz="914378">
              <a:spcBef>
                <a:spcPct val="0"/>
              </a:spcBef>
              <a:defRPr/>
            </a:pPr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关键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A28985C3-31E8-4822-A538-57C565D5CDA8}"/>
              </a:ext>
            </a:extLst>
          </p:cNvPr>
          <p:cNvSpPr txBox="1"/>
          <p:nvPr/>
        </p:nvSpPr>
        <p:spPr>
          <a:xfrm>
            <a:off x="8006717" y="4699425"/>
            <a:ext cx="2507299" cy="7404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noAutofit/>
          </a:bodyPr>
          <a:lstStyle/>
          <a:p>
            <a:pPr defTabSz="914378">
              <a:lnSpc>
                <a:spcPct val="120000"/>
              </a:lnSpc>
              <a:spcBef>
                <a:spcPct val="0"/>
              </a:spcBef>
              <a:defRPr/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here</a:t>
            </a:r>
            <a:br>
              <a:rPr lang="zh-CN" altLang="en-US" sz="1100" dirty="0">
                <a:cs typeface="+mn-ea"/>
                <a:sym typeface="+mn-lt"/>
              </a:rPr>
            </a:br>
            <a:r>
              <a:rPr lang="en-US" altLang="zh-CN" sz="1100" dirty="0">
                <a:cs typeface="+mn-ea"/>
                <a:sym typeface="+mn-lt"/>
              </a:rPr>
              <a:t>Supporting text here</a:t>
            </a:r>
            <a:br>
              <a:rPr lang="zh-CN" altLang="en-US" sz="1100" dirty="0">
                <a:cs typeface="+mn-ea"/>
                <a:sym typeface="+mn-lt"/>
              </a:rPr>
            </a:br>
            <a:endParaRPr lang="zh-CN" altLang="en-US" sz="1100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083D102-4F6C-4A84-A563-132BAF3C10AC}"/>
              </a:ext>
            </a:extLst>
          </p:cNvPr>
          <p:cNvSpPr/>
          <p:nvPr/>
        </p:nvSpPr>
        <p:spPr>
          <a:xfrm>
            <a:off x="8006717" y="4332676"/>
            <a:ext cx="2507299" cy="366749"/>
          </a:xfrm>
          <a:prstGeom prst="rect">
            <a:avLst/>
          </a:prstGeom>
        </p:spPr>
        <p:txBody>
          <a:bodyPr wrap="square" lIns="91440" tIns="45720" rIns="91440" bIns="45720" anchor="b">
            <a:no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关键</a:t>
            </a:r>
          </a:p>
        </p:txBody>
      </p:sp>
    </p:spTree>
    <p:extLst>
      <p:ext uri="{BB962C8B-B14F-4D97-AF65-F5344CB8AC3E}">
        <p14:creationId xmlns:p14="http://schemas.microsoft.com/office/powerpoint/2010/main" val="34330350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总结论与教育建议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751825" y="2684430"/>
            <a:ext cx="1752808" cy="15240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285598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文本框 5"/>
          <p:cNvSpPr txBox="1"/>
          <p:nvPr/>
        </p:nvSpPr>
        <p:spPr>
          <a:xfrm>
            <a:off x="3149559" y="3057833"/>
            <a:ext cx="1620015" cy="565534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CON</a:t>
            </a:r>
            <a:r>
              <a:rPr lang="en-US" altLang="zh-CN" sz="10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TENTS</a:t>
            </a:r>
          </a:p>
        </p:txBody>
      </p:sp>
      <p:sp>
        <p:nvSpPr>
          <p:cNvPr id="7" name="矩形 6"/>
          <p:cNvSpPr/>
          <p:nvPr/>
        </p:nvSpPr>
        <p:spPr bwMode="auto">
          <a:xfrm>
            <a:off x="2753579" y="3190418"/>
            <a:ext cx="252494" cy="252494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70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矩形 7"/>
          <p:cNvSpPr/>
          <p:nvPr/>
        </p:nvSpPr>
        <p:spPr bwMode="auto">
          <a:xfrm>
            <a:off x="3011639" y="3131414"/>
            <a:ext cx="53437" cy="5343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矩形 8"/>
          <p:cNvSpPr/>
          <p:nvPr/>
        </p:nvSpPr>
        <p:spPr bwMode="auto">
          <a:xfrm>
            <a:off x="2634717" y="3448477"/>
            <a:ext cx="113295" cy="113295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矩形 9"/>
          <p:cNvSpPr/>
          <p:nvPr/>
        </p:nvSpPr>
        <p:spPr bwMode="auto">
          <a:xfrm>
            <a:off x="2613564" y="3358748"/>
            <a:ext cx="53437" cy="53437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11" name="直接连接符 10"/>
          <p:cNvCxnSpPr>
            <a:cxnSpLocks/>
          </p:cNvCxnSpPr>
          <p:nvPr/>
        </p:nvCxnSpPr>
        <p:spPr>
          <a:xfrm>
            <a:off x="1" y="3429075"/>
            <a:ext cx="2416944" cy="0"/>
          </a:xfrm>
          <a:prstGeom prst="line">
            <a:avLst/>
          </a:prstGeom>
          <a:ln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矩形 11"/>
          <p:cNvSpPr/>
          <p:nvPr/>
        </p:nvSpPr>
        <p:spPr bwMode="auto">
          <a:xfrm>
            <a:off x="2396830" y="3406215"/>
            <a:ext cx="45719" cy="4572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5693368" y="4038371"/>
            <a:ext cx="4382939" cy="81186"/>
            <a:chOff x="6816080" y="3966044"/>
            <a:chExt cx="4382939" cy="81186"/>
          </a:xfrm>
        </p:grpSpPr>
        <p:cxnSp>
          <p:nvCxnSpPr>
            <p:cNvPr id="46" name="直接连接符 45"/>
            <p:cNvCxnSpPr/>
            <p:nvPr/>
          </p:nvCxnSpPr>
          <p:spPr>
            <a:xfrm>
              <a:off x="6816080" y="4006637"/>
              <a:ext cx="4339600" cy="0"/>
            </a:xfrm>
            <a:prstGeom prst="line">
              <a:avLst/>
            </a:prstGeom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矩形 46"/>
            <p:cNvSpPr/>
            <p:nvPr/>
          </p:nvSpPr>
          <p:spPr bwMode="auto">
            <a:xfrm>
              <a:off x="11117833" y="3966044"/>
              <a:ext cx="81186" cy="8118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5693368" y="3185481"/>
            <a:ext cx="4382939" cy="81186"/>
            <a:chOff x="6816080" y="3113154"/>
            <a:chExt cx="4382939" cy="81186"/>
          </a:xfrm>
        </p:grpSpPr>
        <p:cxnSp>
          <p:nvCxnSpPr>
            <p:cNvPr id="44" name="直接连接符 43"/>
            <p:cNvCxnSpPr/>
            <p:nvPr/>
          </p:nvCxnSpPr>
          <p:spPr>
            <a:xfrm>
              <a:off x="6816080" y="3153747"/>
              <a:ext cx="4339600" cy="0"/>
            </a:xfrm>
            <a:prstGeom prst="line">
              <a:avLst/>
            </a:prstGeom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矩形 44"/>
            <p:cNvSpPr/>
            <p:nvPr/>
          </p:nvSpPr>
          <p:spPr bwMode="auto">
            <a:xfrm>
              <a:off x="11117833" y="3113154"/>
              <a:ext cx="81186" cy="8118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5693368" y="2332591"/>
            <a:ext cx="4382939" cy="81186"/>
            <a:chOff x="6816080" y="2260264"/>
            <a:chExt cx="4382939" cy="81186"/>
          </a:xfrm>
        </p:grpSpPr>
        <p:cxnSp>
          <p:nvCxnSpPr>
            <p:cNvPr id="42" name="直接连接符 41"/>
            <p:cNvCxnSpPr/>
            <p:nvPr/>
          </p:nvCxnSpPr>
          <p:spPr>
            <a:xfrm>
              <a:off x="6816080" y="2300857"/>
              <a:ext cx="4339600" cy="0"/>
            </a:xfrm>
            <a:prstGeom prst="line">
              <a:avLst/>
            </a:prstGeom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矩形 42"/>
            <p:cNvSpPr/>
            <p:nvPr/>
          </p:nvSpPr>
          <p:spPr bwMode="auto">
            <a:xfrm>
              <a:off x="11117833" y="2260264"/>
              <a:ext cx="81186" cy="81186"/>
            </a:xfrm>
            <a:prstGeom prst="rect">
              <a:avLst/>
            </a:prstGeom>
            <a:solidFill>
              <a:schemeClr val="accent1">
                <a:lumMod val="100000"/>
              </a:schemeClr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5693368" y="5744151"/>
            <a:ext cx="4382939" cy="81186"/>
            <a:chOff x="6816080" y="5671824"/>
            <a:chExt cx="4382939" cy="81186"/>
          </a:xfrm>
        </p:grpSpPr>
        <p:cxnSp>
          <p:nvCxnSpPr>
            <p:cNvPr id="40" name="直接连接符 39"/>
            <p:cNvCxnSpPr/>
            <p:nvPr/>
          </p:nvCxnSpPr>
          <p:spPr>
            <a:xfrm>
              <a:off x="6816080" y="5712417"/>
              <a:ext cx="4339600" cy="0"/>
            </a:xfrm>
            <a:prstGeom prst="line">
              <a:avLst/>
            </a:prstGeom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1" name="矩形 40"/>
            <p:cNvSpPr/>
            <p:nvPr/>
          </p:nvSpPr>
          <p:spPr bwMode="auto">
            <a:xfrm>
              <a:off x="11117833" y="5671824"/>
              <a:ext cx="81186" cy="8118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5693368" y="4891261"/>
            <a:ext cx="4382939" cy="81186"/>
            <a:chOff x="6816080" y="4818934"/>
            <a:chExt cx="4382939" cy="81186"/>
          </a:xfrm>
        </p:grpSpPr>
        <p:cxnSp>
          <p:nvCxnSpPr>
            <p:cNvPr id="38" name="直接连接符 37"/>
            <p:cNvCxnSpPr/>
            <p:nvPr/>
          </p:nvCxnSpPr>
          <p:spPr>
            <a:xfrm>
              <a:off x="6816080" y="4859527"/>
              <a:ext cx="4339600" cy="0"/>
            </a:xfrm>
            <a:prstGeom prst="line">
              <a:avLst/>
            </a:prstGeom>
            <a:ln w="12700" cap="flat" cmpd="sng" algn="ctr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矩形 38"/>
            <p:cNvSpPr/>
            <p:nvPr/>
          </p:nvSpPr>
          <p:spPr bwMode="auto">
            <a:xfrm>
              <a:off x="11117833" y="4818934"/>
              <a:ext cx="81186" cy="81186"/>
            </a:xfrm>
            <a:prstGeom prst="rect">
              <a:avLst/>
            </a:prstGeom>
            <a:solidFill>
              <a:schemeClr val="accent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934093D1-D0DC-4B3B-95DD-8946DF994CA6}"/>
              </a:ext>
            </a:extLst>
          </p:cNvPr>
          <p:cNvGrpSpPr/>
          <p:nvPr/>
        </p:nvGrpSpPr>
        <p:grpSpPr>
          <a:xfrm>
            <a:off x="5693368" y="1646736"/>
            <a:ext cx="4301753" cy="716040"/>
            <a:chOff x="667282" y="1592796"/>
            <a:chExt cx="4301753" cy="716040"/>
          </a:xfrm>
        </p:grpSpPr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C4F7D893-51EC-4141-83E4-00F207DF94FC}"/>
                </a:ext>
              </a:extLst>
            </p:cNvPr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>
                  <a:solidFill>
                    <a:schemeClr val="accent1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  <a:endParaRPr lang="en-US" altLang="zh-CN" sz="4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6751A69C-699F-409F-B75A-41B9D643ECE3}"/>
                </a:ext>
              </a:extLst>
            </p:cNvPr>
            <p:cNvSpPr/>
            <p:nvPr/>
          </p:nvSpPr>
          <p:spPr bwMode="auto">
            <a:xfrm>
              <a:off x="1323231" y="1952089"/>
              <a:ext cx="3645804" cy="35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</a:t>
              </a:r>
              <a:r>
                <a:rPr lang="en-US" altLang="zh-CN" sz="1000">
                  <a:cs typeface="+mn-ea"/>
                  <a:sym typeface="+mn-lt"/>
                </a:rPr>
                <a:t>Choose th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 </a:t>
              </a:r>
              <a:r>
                <a:rPr lang="en-US" altLang="zh-CN" sz="1000" dirty="0">
                  <a:cs typeface="+mn-ea"/>
                  <a:sym typeface="+mn-lt"/>
                </a:rPr>
                <a:t>only option to retain text…...</a:t>
              </a:r>
            </a:p>
          </p:txBody>
        </p:sp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7AF0F003-8868-4D88-9304-F750149D4074}"/>
                </a:ext>
              </a:extLst>
            </p:cNvPr>
            <p:cNvSpPr txBox="1"/>
            <p:nvPr/>
          </p:nvSpPr>
          <p:spPr bwMode="auto">
            <a:xfrm>
              <a:off x="1323231" y="1600950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/>
            <a:p>
              <a:pPr marL="0" marR="0" lvl="0" indent="0" defTabSz="914377" rtl="0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lang="zh-CN" altLang="en-US" b="1" dirty="0">
                  <a:cs typeface="+mn-ea"/>
                  <a:sym typeface="+mn-lt"/>
                </a:rPr>
                <a:t>问题提出</a:t>
              </a:r>
              <a:endParaRPr kumimoji="0" lang="zh-CN" altLang="en-US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7B126971-E5A8-4888-A7DD-29767D1DADD4}"/>
              </a:ext>
            </a:extLst>
          </p:cNvPr>
          <p:cNvGrpSpPr/>
          <p:nvPr/>
        </p:nvGrpSpPr>
        <p:grpSpPr>
          <a:xfrm>
            <a:off x="5693368" y="2510034"/>
            <a:ext cx="4301753" cy="716040"/>
            <a:chOff x="667282" y="1592796"/>
            <a:chExt cx="4301753" cy="716040"/>
          </a:xfrm>
        </p:grpSpPr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FE8FCB1B-2B3B-47EB-9E25-B669EB155237}"/>
                </a:ext>
              </a:extLst>
            </p:cNvPr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accent2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 dirty="0">
                  <a:solidFill>
                    <a:schemeClr val="accent2"/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 dirty="0">
                  <a:solidFill>
                    <a:schemeClr val="accent2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BFFC2D08-F126-469A-91FC-04FDA2991064}"/>
                </a:ext>
              </a:extLst>
            </p:cNvPr>
            <p:cNvSpPr/>
            <p:nvPr/>
          </p:nvSpPr>
          <p:spPr bwMode="auto">
            <a:xfrm>
              <a:off x="1323231" y="1952089"/>
              <a:ext cx="3645804" cy="35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</a:t>
              </a:r>
              <a:r>
                <a:rPr lang="en-US" altLang="zh-CN" sz="1000">
                  <a:cs typeface="+mn-ea"/>
                  <a:sym typeface="+mn-lt"/>
                </a:rPr>
                <a:t>Choose th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 </a:t>
              </a:r>
              <a:r>
                <a:rPr lang="en-US" altLang="zh-CN" sz="1000" dirty="0">
                  <a:cs typeface="+mn-ea"/>
                  <a:sym typeface="+mn-lt"/>
                </a:rPr>
                <a:t>only option to retain text…...</a:t>
              </a: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2A5EEC7C-6A36-433C-968A-A8DBCB0CEEA1}"/>
                </a:ext>
              </a:extLst>
            </p:cNvPr>
            <p:cNvSpPr txBox="1"/>
            <p:nvPr/>
          </p:nvSpPr>
          <p:spPr bwMode="auto">
            <a:xfrm>
              <a:off x="1323231" y="1600950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/>
            <a:p>
              <a:pPr marL="0" marR="0" lvl="0" indent="0" defTabSz="914377" rtl="0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文献综述</a:t>
              </a: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85286EEA-7F8A-4DF8-9050-E3398D26D68F}"/>
              </a:ext>
            </a:extLst>
          </p:cNvPr>
          <p:cNvGrpSpPr/>
          <p:nvPr/>
        </p:nvGrpSpPr>
        <p:grpSpPr>
          <a:xfrm>
            <a:off x="5693368" y="3358748"/>
            <a:ext cx="4301753" cy="716040"/>
            <a:chOff x="667282" y="1592796"/>
            <a:chExt cx="4301753" cy="716040"/>
          </a:xfrm>
        </p:grpSpPr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957C7BEA-B282-4CAA-AC5A-2B8C9AEF243D}"/>
                </a:ext>
              </a:extLst>
            </p:cNvPr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 dirty="0">
                  <a:solidFill>
                    <a:schemeClr val="accent1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 dirty="0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 dirty="0">
                  <a:solidFill>
                    <a:schemeClr val="accent1"/>
                  </a:solidFill>
                  <a:cs typeface="+mn-ea"/>
                  <a:sym typeface="+mn-lt"/>
                </a:rPr>
                <a:t>3</a:t>
              </a: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AE7AAF56-D2B7-44BE-A2F7-40A8026C0445}"/>
                </a:ext>
              </a:extLst>
            </p:cNvPr>
            <p:cNvSpPr/>
            <p:nvPr/>
          </p:nvSpPr>
          <p:spPr bwMode="auto">
            <a:xfrm>
              <a:off x="1323231" y="1952089"/>
              <a:ext cx="3645804" cy="35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</a:t>
              </a:r>
              <a:r>
                <a:rPr lang="en-US" altLang="zh-CN" sz="1000">
                  <a:cs typeface="+mn-ea"/>
                  <a:sym typeface="+mn-lt"/>
                </a:rPr>
                <a:t>Choose th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 </a:t>
              </a:r>
              <a:r>
                <a:rPr lang="en-US" altLang="zh-CN" sz="1000" dirty="0">
                  <a:cs typeface="+mn-ea"/>
                  <a:sym typeface="+mn-lt"/>
                </a:rPr>
                <a:t>only option to retain text…...</a:t>
              </a:r>
            </a:p>
          </p:txBody>
        </p:sp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59B4FBBD-4ACB-4212-A247-4CEC5EE3159B}"/>
                </a:ext>
              </a:extLst>
            </p:cNvPr>
            <p:cNvSpPr txBox="1"/>
            <p:nvPr/>
          </p:nvSpPr>
          <p:spPr bwMode="auto">
            <a:xfrm>
              <a:off x="1323231" y="1600950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/>
            <a:p>
              <a:pPr lvl="0" defTabSz="914377">
                <a:spcBef>
                  <a:spcPct val="0"/>
                </a:spcBef>
                <a:defRPr/>
              </a:pPr>
              <a:r>
                <a:rPr lang="zh-CN" altLang="en-US" b="1" dirty="0">
                  <a:cs typeface="+mn-ea"/>
                  <a:sym typeface="+mn-lt"/>
                </a:rPr>
                <a:t>研究思路</a:t>
              </a: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40569468-D773-4E47-BA04-CE896BA830E5}"/>
              </a:ext>
            </a:extLst>
          </p:cNvPr>
          <p:cNvGrpSpPr/>
          <p:nvPr/>
        </p:nvGrpSpPr>
        <p:grpSpPr>
          <a:xfrm>
            <a:off x="5693368" y="4207462"/>
            <a:ext cx="4301753" cy="716040"/>
            <a:chOff x="667282" y="1592796"/>
            <a:chExt cx="4301753" cy="716040"/>
          </a:xfrm>
        </p:grpSpPr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DA96CAEF-514A-49A5-A4D1-92674071A0D9}"/>
                </a:ext>
              </a:extLst>
            </p:cNvPr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>
                  <a:solidFill>
                    <a:schemeClr val="accent2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>
                  <a:solidFill>
                    <a:schemeClr val="accent2"/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>
                  <a:solidFill>
                    <a:schemeClr val="accent2"/>
                  </a:solidFill>
                  <a:cs typeface="+mn-ea"/>
                  <a:sym typeface="+mn-lt"/>
                </a:rPr>
                <a:t>4</a:t>
              </a:r>
              <a:endParaRPr lang="en-US" altLang="zh-CN" sz="4000" dirty="0">
                <a:solidFill>
                  <a:schemeClr val="accent2"/>
                </a:solidFill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2098F849-41A8-4B4C-BA0E-C47E0C120C5D}"/>
                </a:ext>
              </a:extLst>
            </p:cNvPr>
            <p:cNvSpPr/>
            <p:nvPr/>
          </p:nvSpPr>
          <p:spPr bwMode="auto">
            <a:xfrm>
              <a:off x="1323231" y="1952089"/>
              <a:ext cx="3645804" cy="35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</a:t>
              </a:r>
              <a:r>
                <a:rPr lang="en-US" altLang="zh-CN" sz="1000">
                  <a:cs typeface="+mn-ea"/>
                  <a:sym typeface="+mn-lt"/>
                </a:rPr>
                <a:t>Choose th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 </a:t>
              </a:r>
              <a:r>
                <a:rPr lang="en-US" altLang="zh-CN" sz="1000" dirty="0">
                  <a:cs typeface="+mn-ea"/>
                  <a:sym typeface="+mn-lt"/>
                </a:rPr>
                <a:t>only option to retain text…...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4AE76C0D-D515-4B79-B461-24417BF6E48C}"/>
                </a:ext>
              </a:extLst>
            </p:cNvPr>
            <p:cNvSpPr txBox="1"/>
            <p:nvPr/>
          </p:nvSpPr>
          <p:spPr bwMode="auto">
            <a:xfrm>
              <a:off x="1323231" y="1600950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/>
            <a:p>
              <a:pPr marL="0" marR="0" lvl="0" indent="0" defTabSz="914377" rtl="0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研究内容</a:t>
              </a:r>
              <a:r>
                <a:rPr lang="zh-CN" altLang="en-US" b="1" dirty="0">
                  <a:cs typeface="+mn-ea"/>
                  <a:sym typeface="+mn-lt"/>
                </a:rPr>
                <a:t>结</a:t>
              </a: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果与总讨论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D0AC4FB8-ACFC-4A3C-BF55-F582F6E7D154}"/>
              </a:ext>
            </a:extLst>
          </p:cNvPr>
          <p:cNvGrpSpPr/>
          <p:nvPr/>
        </p:nvGrpSpPr>
        <p:grpSpPr>
          <a:xfrm>
            <a:off x="5693368" y="5056176"/>
            <a:ext cx="4301753" cy="716040"/>
            <a:chOff x="667282" y="1592796"/>
            <a:chExt cx="4301753" cy="716040"/>
          </a:xfrm>
        </p:grpSpPr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424107FA-B78D-44EE-A5ED-21D882F83341}"/>
                </a:ext>
              </a:extLst>
            </p:cNvPr>
            <p:cNvSpPr txBox="1"/>
            <p:nvPr/>
          </p:nvSpPr>
          <p:spPr>
            <a:xfrm>
              <a:off x="667282" y="1592796"/>
              <a:ext cx="655949" cy="707886"/>
            </a:xfrm>
            <a:prstGeom prst="rect">
              <a:avLst/>
            </a:prstGeom>
            <a:noFill/>
          </p:spPr>
          <p:txBody>
            <a:bodyPr wrap="none" anchor="ctr">
              <a:normAutofit/>
            </a:bodyPr>
            <a:lstStyle/>
            <a:p>
              <a:pPr algn="ctr"/>
              <a:r>
                <a:rPr lang="en-US" altLang="zh-CN" sz="4000">
                  <a:solidFill>
                    <a:schemeClr val="accent1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4000">
                  <a:solidFill>
                    <a:schemeClr val="accent1"/>
                  </a:solidFill>
                  <a:cs typeface="+mn-ea"/>
                  <a:sym typeface="+mn-lt"/>
                </a:rPr>
                <a:t>5</a:t>
              </a:r>
              <a:endParaRPr lang="en-US" altLang="zh-CN" sz="4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5C80FD14-D671-42F7-B8C3-81547F63247A}"/>
                </a:ext>
              </a:extLst>
            </p:cNvPr>
            <p:cNvSpPr/>
            <p:nvPr/>
          </p:nvSpPr>
          <p:spPr bwMode="auto">
            <a:xfrm>
              <a:off x="1323231" y="1952089"/>
              <a:ext cx="3645804" cy="3567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/>
            <a:p>
              <a:pPr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</a:t>
              </a:r>
              <a:r>
                <a:rPr lang="en-US" altLang="zh-CN" sz="1000">
                  <a:cs typeface="+mn-ea"/>
                  <a:sym typeface="+mn-lt"/>
                </a:rPr>
                <a:t>Choose th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e </a:t>
              </a:r>
              <a:r>
                <a:rPr lang="en-US" altLang="zh-CN" sz="1000" dirty="0">
                  <a:cs typeface="+mn-ea"/>
                  <a:sym typeface="+mn-lt"/>
                </a:rPr>
                <a:t>only option to retain text…...</a:t>
              </a: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B39E26D0-2CC2-4DBC-BC28-2DA3249D50E4}"/>
                </a:ext>
              </a:extLst>
            </p:cNvPr>
            <p:cNvSpPr txBox="1"/>
            <p:nvPr/>
          </p:nvSpPr>
          <p:spPr bwMode="auto">
            <a:xfrm>
              <a:off x="1323231" y="1600950"/>
              <a:ext cx="3645804" cy="35113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>
              <a:normAutofit lnSpcReduction="10000"/>
            </a:bodyPr>
            <a:lstStyle/>
            <a:p>
              <a:pPr marL="0" marR="0" lvl="0" indent="0" defTabSz="914377" rtl="0" eaLnBrk="1" fontAlgn="auto" latinLnBrk="0" hangingPunct="1">
                <a:spcBef>
                  <a:spcPct val="0"/>
                </a:spcBef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cs typeface="+mn-ea"/>
                  <a:sym typeface="+mn-lt"/>
                </a:rPr>
                <a:t>总结论与教育建议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8432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结论一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D2CFA41A-35AD-470D-ABC4-284A296BCE2D}"/>
              </a:ext>
            </a:extLst>
          </p:cNvPr>
          <p:cNvSpPr/>
          <p:nvPr/>
        </p:nvSpPr>
        <p:spPr>
          <a:xfrm>
            <a:off x="4243786" y="1836546"/>
            <a:ext cx="3604008" cy="3604008"/>
          </a:xfrm>
          <a:prstGeom prst="ellipse">
            <a:avLst/>
          </a:prstGeom>
          <a:blipFill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contrast="20000"/>
                      </a14:imgEffect>
                    </a14:imgLayer>
                  </a14:imgProps>
                </a:ext>
              </a:extLst>
            </a:blip>
            <a:srcRect/>
            <a:stretch>
              <a:fillRect l="-25110" r="-24934"/>
            </a:stretch>
          </a:blip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/>
                <a:tailEnd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4753EB1D-A5EB-4AB3-821A-5A2F25F4A5BC}"/>
              </a:ext>
            </a:extLst>
          </p:cNvPr>
          <p:cNvSpPr/>
          <p:nvPr/>
        </p:nvSpPr>
        <p:spPr>
          <a:xfrm>
            <a:off x="4444625" y="2037385"/>
            <a:ext cx="3202330" cy="3202330"/>
          </a:xfrm>
          <a:prstGeom prst="ellipse">
            <a:avLst/>
          </a:prstGeom>
          <a:solidFill>
            <a:schemeClr val="tx1">
              <a:alpha val="73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>
                <a:cs typeface="+mn-ea"/>
                <a:sym typeface="+mn-lt"/>
              </a:rPr>
              <a:t>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>
                <a:cs typeface="+mn-ea"/>
                <a:sym typeface="+mn-lt"/>
              </a:rPr>
              <a:t>xt</a:t>
            </a:r>
            <a:endParaRPr>
              <a:cs typeface="+mn-ea"/>
              <a:sym typeface="+mn-lt"/>
            </a:endParaRPr>
          </a:p>
        </p:txBody>
      </p: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11D53386-CE24-4E85-B829-ACBD5C6DCA4C}"/>
              </a:ext>
            </a:extLst>
          </p:cNvPr>
          <p:cNvGrpSpPr/>
          <p:nvPr/>
        </p:nvGrpSpPr>
        <p:grpSpPr>
          <a:xfrm>
            <a:off x="5703734" y="1594397"/>
            <a:ext cx="684112" cy="685138"/>
            <a:chOff x="4480431" y="3845665"/>
            <a:chExt cx="684112" cy="685138"/>
          </a:xfrm>
        </p:grpSpPr>
        <p:sp>
          <p:nvSpPr>
            <p:cNvPr id="39" name="椭圆 38">
              <a:extLst>
                <a:ext uri="{FF2B5EF4-FFF2-40B4-BE49-F238E27FC236}">
                  <a16:creationId xmlns:a16="http://schemas.microsoft.com/office/drawing/2014/main" id="{3F553928-0876-4500-91CA-5B9C2C793FC9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47001865-9713-4662-807A-0AAF037C4C61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ABA3989E-5F8E-4E53-86FF-E9961515608F}"/>
              </a:ext>
            </a:extLst>
          </p:cNvPr>
          <p:cNvGrpSpPr/>
          <p:nvPr/>
        </p:nvGrpSpPr>
        <p:grpSpPr>
          <a:xfrm>
            <a:off x="7264102" y="2464938"/>
            <a:ext cx="684112" cy="685138"/>
            <a:chOff x="4480431" y="3845665"/>
            <a:chExt cx="684112" cy="685138"/>
          </a:xfrm>
        </p:grpSpPr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7F4DD773-B0A7-45ED-B17A-4226AE47A3DC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7994FAE1-0075-45E5-AE2B-17F3F184B0A0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5" name="组合 24">
            <a:extLst>
              <a:ext uri="{FF2B5EF4-FFF2-40B4-BE49-F238E27FC236}">
                <a16:creationId xmlns:a16="http://schemas.microsoft.com/office/drawing/2014/main" id="{81D019E6-AAB7-4CF5-AED0-BB55ECAF1E1B}"/>
              </a:ext>
            </a:extLst>
          </p:cNvPr>
          <p:cNvGrpSpPr/>
          <p:nvPr/>
        </p:nvGrpSpPr>
        <p:grpSpPr>
          <a:xfrm>
            <a:off x="4243786" y="2464938"/>
            <a:ext cx="684112" cy="685138"/>
            <a:chOff x="4480431" y="3845665"/>
            <a:chExt cx="684112" cy="685138"/>
          </a:xfrm>
        </p:grpSpPr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F9AB9A88-A5F4-46F0-A8F6-EC649603D2F2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8A29DAD1-9074-435B-9E43-788F8925FEA6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8D62CFA-00C3-486C-B8CE-D25D6D236DF9}"/>
              </a:ext>
            </a:extLst>
          </p:cNvPr>
          <p:cNvGrpSpPr/>
          <p:nvPr/>
        </p:nvGrpSpPr>
        <p:grpSpPr>
          <a:xfrm>
            <a:off x="7264102" y="3888385"/>
            <a:ext cx="684112" cy="685138"/>
            <a:chOff x="4480431" y="3845665"/>
            <a:chExt cx="684112" cy="685138"/>
          </a:xfrm>
        </p:grpSpPr>
        <p:sp>
          <p:nvSpPr>
            <p:cNvPr id="33" name="椭圆 32">
              <a:extLst>
                <a:ext uri="{FF2B5EF4-FFF2-40B4-BE49-F238E27FC236}">
                  <a16:creationId xmlns:a16="http://schemas.microsoft.com/office/drawing/2014/main" id="{E79CAAB2-D32B-4CD4-BBE1-392146F2BC0C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4DB8CB69-837A-4D44-8435-8F6BBE2A3371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2E1B0F8F-31A3-4D5E-B3FF-7C3A7AD7933C}"/>
              </a:ext>
            </a:extLst>
          </p:cNvPr>
          <p:cNvGrpSpPr/>
          <p:nvPr/>
        </p:nvGrpSpPr>
        <p:grpSpPr>
          <a:xfrm>
            <a:off x="4243786" y="3888385"/>
            <a:ext cx="684112" cy="685138"/>
            <a:chOff x="4480431" y="3845665"/>
            <a:chExt cx="684112" cy="685138"/>
          </a:xfrm>
        </p:grpSpPr>
        <p:sp>
          <p:nvSpPr>
            <p:cNvPr id="31" name="椭圆 30">
              <a:extLst>
                <a:ext uri="{FF2B5EF4-FFF2-40B4-BE49-F238E27FC236}">
                  <a16:creationId xmlns:a16="http://schemas.microsoft.com/office/drawing/2014/main" id="{8E60BF89-5C82-4146-BE77-D3D63FD92F00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50092AF-9763-4561-A97C-455D3BFEC352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6007945A-A02D-42FF-8E0A-443E8ED8047B}"/>
              </a:ext>
            </a:extLst>
          </p:cNvPr>
          <p:cNvGrpSpPr/>
          <p:nvPr/>
        </p:nvGrpSpPr>
        <p:grpSpPr>
          <a:xfrm>
            <a:off x="5703734" y="4897146"/>
            <a:ext cx="684112" cy="685138"/>
            <a:chOff x="4480431" y="3845665"/>
            <a:chExt cx="684112" cy="685138"/>
          </a:xfrm>
        </p:grpSpPr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8E29CD56-EAE7-44B3-A0C2-0DCDCE7E5321}"/>
                </a:ext>
              </a:extLst>
            </p:cNvPr>
            <p:cNvSpPr/>
            <p:nvPr/>
          </p:nvSpPr>
          <p:spPr>
            <a:xfrm>
              <a:off x="4480431" y="3845665"/>
              <a:ext cx="684112" cy="685138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2A8A92C9-D98C-46BE-8CD9-AD4CD32F5286}"/>
                </a:ext>
              </a:extLst>
            </p:cNvPr>
            <p:cNvSpPr/>
            <p:nvPr/>
          </p:nvSpPr>
          <p:spPr bwMode="auto">
            <a:xfrm>
              <a:off x="4640547" y="4006295"/>
              <a:ext cx="363880" cy="363880"/>
            </a:xfrm>
            <a:custGeom>
              <a:avLst/>
              <a:gdLst>
                <a:gd name="T0" fmla="*/ 1083 w 1083"/>
                <a:gd name="T1" fmla="*/ 542 h 1084"/>
                <a:gd name="T2" fmla="*/ 158 w 1083"/>
                <a:gd name="T3" fmla="*/ 926 h 1084"/>
                <a:gd name="T4" fmla="*/ 542 w 1083"/>
                <a:gd name="T5" fmla="*/ 0 h 1084"/>
                <a:gd name="T6" fmla="*/ 517 w 1083"/>
                <a:gd name="T7" fmla="*/ 1000 h 1084"/>
                <a:gd name="T8" fmla="*/ 357 w 1083"/>
                <a:gd name="T9" fmla="*/ 861 h 1084"/>
                <a:gd name="T10" fmla="*/ 517 w 1083"/>
                <a:gd name="T11" fmla="*/ 1000 h 1084"/>
                <a:gd name="T12" fmla="*/ 866 w 1083"/>
                <a:gd name="T13" fmla="*/ 218 h 1084"/>
                <a:gd name="T14" fmla="*/ 842 w 1083"/>
                <a:gd name="T15" fmla="*/ 517 h 1084"/>
                <a:gd name="T16" fmla="*/ 866 w 1083"/>
                <a:gd name="T17" fmla="*/ 218 h 1084"/>
                <a:gd name="T18" fmla="*/ 722 w 1083"/>
                <a:gd name="T19" fmla="*/ 120 h 1084"/>
                <a:gd name="T20" fmla="*/ 815 w 1083"/>
                <a:gd name="T21" fmla="*/ 174 h 1084"/>
                <a:gd name="T22" fmla="*/ 617 w 1083"/>
                <a:gd name="T23" fmla="*/ 90 h 1084"/>
                <a:gd name="T24" fmla="*/ 707 w 1083"/>
                <a:gd name="T25" fmla="*/ 231 h 1084"/>
                <a:gd name="T26" fmla="*/ 617 w 1083"/>
                <a:gd name="T27" fmla="*/ 90 h 1084"/>
                <a:gd name="T28" fmla="*/ 517 w 1083"/>
                <a:gd name="T29" fmla="*/ 84 h 1084"/>
                <a:gd name="T30" fmla="*/ 357 w 1083"/>
                <a:gd name="T31" fmla="*/ 224 h 1084"/>
                <a:gd name="T32" fmla="*/ 517 w 1083"/>
                <a:gd name="T33" fmla="*/ 84 h 1084"/>
                <a:gd name="T34" fmla="*/ 362 w 1083"/>
                <a:gd name="T35" fmla="*/ 120 h 1084"/>
                <a:gd name="T36" fmla="*/ 325 w 1083"/>
                <a:gd name="T37" fmla="*/ 177 h 1084"/>
                <a:gd name="T38" fmla="*/ 229 w 1083"/>
                <a:gd name="T39" fmla="*/ 207 h 1084"/>
                <a:gd name="T40" fmla="*/ 84 w 1083"/>
                <a:gd name="T41" fmla="*/ 517 h 1084"/>
                <a:gd name="T42" fmla="*/ 229 w 1083"/>
                <a:gd name="T43" fmla="*/ 207 h 1084"/>
                <a:gd name="T44" fmla="*/ 84 w 1083"/>
                <a:gd name="T45" fmla="*/ 567 h 1084"/>
                <a:gd name="T46" fmla="*/ 292 w 1083"/>
                <a:gd name="T47" fmla="*/ 837 h 1084"/>
                <a:gd name="T48" fmla="*/ 84 w 1083"/>
                <a:gd name="T49" fmla="*/ 567 h 1084"/>
                <a:gd name="T50" fmla="*/ 362 w 1083"/>
                <a:gd name="T51" fmla="*/ 964 h 1084"/>
                <a:gd name="T52" fmla="*/ 268 w 1083"/>
                <a:gd name="T53" fmla="*/ 911 h 1084"/>
                <a:gd name="T54" fmla="*/ 567 w 1083"/>
                <a:gd name="T55" fmla="*/ 1000 h 1084"/>
                <a:gd name="T56" fmla="*/ 726 w 1083"/>
                <a:gd name="T57" fmla="*/ 861 h 1084"/>
                <a:gd name="T58" fmla="*/ 566 w 1083"/>
                <a:gd name="T59" fmla="*/ 1000 h 1084"/>
                <a:gd name="T60" fmla="*/ 722 w 1083"/>
                <a:gd name="T61" fmla="*/ 964 h 1084"/>
                <a:gd name="T62" fmla="*/ 758 w 1083"/>
                <a:gd name="T63" fmla="*/ 908 h 1084"/>
                <a:gd name="T64" fmla="*/ 855 w 1083"/>
                <a:gd name="T65" fmla="*/ 878 h 1084"/>
                <a:gd name="T66" fmla="*/ 1000 w 1083"/>
                <a:gd name="T67" fmla="*/ 567 h 1084"/>
                <a:gd name="T68" fmla="*/ 855 w 1083"/>
                <a:gd name="T69" fmla="*/ 878 h 1084"/>
                <a:gd name="T70" fmla="*/ 746 w 1083"/>
                <a:gd name="T71" fmla="*/ 269 h 1084"/>
                <a:gd name="T72" fmla="*/ 567 w 1083"/>
                <a:gd name="T73" fmla="*/ 517 h 1084"/>
                <a:gd name="T74" fmla="*/ 746 w 1083"/>
                <a:gd name="T75" fmla="*/ 269 h 1084"/>
                <a:gd name="T76" fmla="*/ 358 w 1083"/>
                <a:gd name="T77" fmla="*/ 278 h 1084"/>
                <a:gd name="T78" fmla="*/ 517 w 1083"/>
                <a:gd name="T79" fmla="*/ 517 h 1084"/>
                <a:gd name="T80" fmla="*/ 517 w 1083"/>
                <a:gd name="T81" fmla="*/ 775 h 1084"/>
                <a:gd name="T82" fmla="*/ 292 w 1083"/>
                <a:gd name="T83" fmla="*/ 567 h 1084"/>
                <a:gd name="T84" fmla="*/ 517 w 1083"/>
                <a:gd name="T85" fmla="*/ 775 h 1084"/>
                <a:gd name="T86" fmla="*/ 567 w 1083"/>
                <a:gd name="T87" fmla="*/ 775 h 1084"/>
                <a:gd name="T88" fmla="*/ 792 w 1083"/>
                <a:gd name="T89" fmla="*/ 567 h 1084"/>
                <a:gd name="T90" fmla="*/ 567 w 1083"/>
                <a:gd name="T91" fmla="*/ 775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83" h="1084">
                  <a:moveTo>
                    <a:pt x="542" y="0"/>
                  </a:moveTo>
                  <a:cubicBezTo>
                    <a:pt x="691" y="0"/>
                    <a:pt x="827" y="61"/>
                    <a:pt x="925" y="159"/>
                  </a:cubicBezTo>
                  <a:cubicBezTo>
                    <a:pt x="1023" y="258"/>
                    <a:pt x="1083" y="393"/>
                    <a:pt x="1083" y="542"/>
                  </a:cubicBezTo>
                  <a:cubicBezTo>
                    <a:pt x="1083" y="692"/>
                    <a:pt x="1023" y="827"/>
                    <a:pt x="925" y="926"/>
                  </a:cubicBezTo>
                  <a:cubicBezTo>
                    <a:pt x="827" y="1024"/>
                    <a:pt x="691" y="1084"/>
                    <a:pt x="542" y="1084"/>
                  </a:cubicBezTo>
                  <a:cubicBezTo>
                    <a:pt x="392" y="1084"/>
                    <a:pt x="257" y="1024"/>
                    <a:pt x="158" y="926"/>
                  </a:cubicBezTo>
                  <a:cubicBezTo>
                    <a:pt x="60" y="827"/>
                    <a:pt x="0" y="692"/>
                    <a:pt x="0" y="542"/>
                  </a:cubicBezTo>
                  <a:cubicBezTo>
                    <a:pt x="0" y="393"/>
                    <a:pt x="60" y="258"/>
                    <a:pt x="158" y="159"/>
                  </a:cubicBezTo>
                  <a:cubicBezTo>
                    <a:pt x="257" y="61"/>
                    <a:pt x="392" y="0"/>
                    <a:pt x="542" y="0"/>
                  </a:cubicBezTo>
                  <a:cubicBezTo>
                    <a:pt x="542" y="0"/>
                    <a:pt x="542" y="0"/>
                    <a:pt x="542" y="0"/>
                  </a:cubicBezTo>
                  <a:close/>
                  <a:moveTo>
                    <a:pt x="517" y="1000"/>
                  </a:moveTo>
                  <a:cubicBezTo>
                    <a:pt x="517" y="1000"/>
                    <a:pt x="517" y="1000"/>
                    <a:pt x="517" y="1000"/>
                  </a:cubicBezTo>
                  <a:cubicBezTo>
                    <a:pt x="517" y="825"/>
                    <a:pt x="517" y="825"/>
                    <a:pt x="517" y="825"/>
                  </a:cubicBezTo>
                  <a:cubicBezTo>
                    <a:pt x="468" y="827"/>
                    <a:pt x="420" y="837"/>
                    <a:pt x="376" y="854"/>
                  </a:cubicBezTo>
                  <a:cubicBezTo>
                    <a:pt x="370" y="856"/>
                    <a:pt x="363" y="859"/>
                    <a:pt x="357" y="861"/>
                  </a:cubicBezTo>
                  <a:cubicBezTo>
                    <a:pt x="361" y="869"/>
                    <a:pt x="365" y="877"/>
                    <a:pt x="369" y="884"/>
                  </a:cubicBezTo>
                  <a:cubicBezTo>
                    <a:pt x="396" y="934"/>
                    <a:pt x="430" y="972"/>
                    <a:pt x="466" y="995"/>
                  </a:cubicBezTo>
                  <a:cubicBezTo>
                    <a:pt x="483" y="998"/>
                    <a:pt x="500" y="1000"/>
                    <a:pt x="517" y="1000"/>
                  </a:cubicBezTo>
                  <a:cubicBezTo>
                    <a:pt x="517" y="1000"/>
                    <a:pt x="517" y="1000"/>
                    <a:pt x="517" y="1000"/>
                  </a:cubicBezTo>
                  <a:close/>
                  <a:moveTo>
                    <a:pt x="866" y="218"/>
                  </a:moveTo>
                  <a:cubicBezTo>
                    <a:pt x="866" y="218"/>
                    <a:pt x="866" y="218"/>
                    <a:pt x="866" y="218"/>
                  </a:cubicBezTo>
                  <a:cubicBezTo>
                    <a:pt x="862" y="214"/>
                    <a:pt x="858" y="211"/>
                    <a:pt x="855" y="207"/>
                  </a:cubicBezTo>
                  <a:cubicBezTo>
                    <a:pt x="835" y="223"/>
                    <a:pt x="813" y="236"/>
                    <a:pt x="791" y="248"/>
                  </a:cubicBezTo>
                  <a:cubicBezTo>
                    <a:pt x="820" y="325"/>
                    <a:pt x="839" y="418"/>
                    <a:pt x="842" y="517"/>
                  </a:cubicBezTo>
                  <a:cubicBezTo>
                    <a:pt x="1000" y="517"/>
                    <a:pt x="1000" y="517"/>
                    <a:pt x="1000" y="517"/>
                  </a:cubicBezTo>
                  <a:cubicBezTo>
                    <a:pt x="993" y="401"/>
                    <a:pt x="943" y="296"/>
                    <a:pt x="866" y="218"/>
                  </a:cubicBezTo>
                  <a:cubicBezTo>
                    <a:pt x="866" y="218"/>
                    <a:pt x="866" y="218"/>
                    <a:pt x="866" y="218"/>
                  </a:cubicBezTo>
                  <a:close/>
                  <a:moveTo>
                    <a:pt x="815" y="174"/>
                  </a:moveTo>
                  <a:cubicBezTo>
                    <a:pt x="815" y="174"/>
                    <a:pt x="815" y="174"/>
                    <a:pt x="815" y="174"/>
                  </a:cubicBezTo>
                  <a:cubicBezTo>
                    <a:pt x="787" y="153"/>
                    <a:pt x="755" y="135"/>
                    <a:pt x="722" y="120"/>
                  </a:cubicBezTo>
                  <a:cubicBezTo>
                    <a:pt x="735" y="138"/>
                    <a:pt x="747" y="156"/>
                    <a:pt x="758" y="177"/>
                  </a:cubicBezTo>
                  <a:cubicBezTo>
                    <a:pt x="763" y="185"/>
                    <a:pt x="767" y="193"/>
                    <a:pt x="771" y="202"/>
                  </a:cubicBezTo>
                  <a:cubicBezTo>
                    <a:pt x="787" y="194"/>
                    <a:pt x="801" y="184"/>
                    <a:pt x="815" y="174"/>
                  </a:cubicBezTo>
                  <a:cubicBezTo>
                    <a:pt x="815" y="174"/>
                    <a:pt x="815" y="174"/>
                    <a:pt x="815" y="174"/>
                  </a:cubicBezTo>
                  <a:close/>
                  <a:moveTo>
                    <a:pt x="617" y="90"/>
                  </a:moveTo>
                  <a:cubicBezTo>
                    <a:pt x="617" y="90"/>
                    <a:pt x="617" y="90"/>
                    <a:pt x="617" y="90"/>
                  </a:cubicBezTo>
                  <a:cubicBezTo>
                    <a:pt x="601" y="87"/>
                    <a:pt x="584" y="85"/>
                    <a:pt x="567" y="84"/>
                  </a:cubicBezTo>
                  <a:cubicBezTo>
                    <a:pt x="567" y="260"/>
                    <a:pt x="567" y="260"/>
                    <a:pt x="567" y="260"/>
                  </a:cubicBezTo>
                  <a:cubicBezTo>
                    <a:pt x="616" y="258"/>
                    <a:pt x="664" y="247"/>
                    <a:pt x="707" y="231"/>
                  </a:cubicBezTo>
                  <a:cubicBezTo>
                    <a:pt x="714" y="229"/>
                    <a:pt x="720" y="226"/>
                    <a:pt x="726" y="224"/>
                  </a:cubicBezTo>
                  <a:cubicBezTo>
                    <a:pt x="723" y="216"/>
                    <a:pt x="719" y="208"/>
                    <a:pt x="714" y="201"/>
                  </a:cubicBezTo>
                  <a:cubicBezTo>
                    <a:pt x="687" y="151"/>
                    <a:pt x="654" y="112"/>
                    <a:pt x="617" y="90"/>
                  </a:cubicBezTo>
                  <a:cubicBezTo>
                    <a:pt x="617" y="90"/>
                    <a:pt x="617" y="90"/>
                    <a:pt x="617" y="90"/>
                  </a:cubicBezTo>
                  <a:close/>
                  <a:moveTo>
                    <a:pt x="517" y="84"/>
                  </a:moveTo>
                  <a:cubicBezTo>
                    <a:pt x="517" y="84"/>
                    <a:pt x="517" y="84"/>
                    <a:pt x="517" y="84"/>
                  </a:cubicBezTo>
                  <a:cubicBezTo>
                    <a:pt x="500" y="85"/>
                    <a:pt x="483" y="88"/>
                    <a:pt x="466" y="90"/>
                  </a:cubicBezTo>
                  <a:cubicBezTo>
                    <a:pt x="430" y="112"/>
                    <a:pt x="396" y="151"/>
                    <a:pt x="369" y="201"/>
                  </a:cubicBezTo>
                  <a:cubicBezTo>
                    <a:pt x="365" y="208"/>
                    <a:pt x="361" y="216"/>
                    <a:pt x="357" y="224"/>
                  </a:cubicBezTo>
                  <a:cubicBezTo>
                    <a:pt x="363" y="226"/>
                    <a:pt x="370" y="229"/>
                    <a:pt x="376" y="231"/>
                  </a:cubicBezTo>
                  <a:cubicBezTo>
                    <a:pt x="420" y="247"/>
                    <a:pt x="467" y="258"/>
                    <a:pt x="517" y="260"/>
                  </a:cubicBezTo>
                  <a:cubicBezTo>
                    <a:pt x="517" y="84"/>
                    <a:pt x="517" y="84"/>
                    <a:pt x="517" y="84"/>
                  </a:cubicBezTo>
                  <a:cubicBezTo>
                    <a:pt x="517" y="84"/>
                    <a:pt x="517" y="84"/>
                    <a:pt x="517" y="84"/>
                  </a:cubicBezTo>
                  <a:close/>
                  <a:moveTo>
                    <a:pt x="362" y="120"/>
                  </a:moveTo>
                  <a:cubicBezTo>
                    <a:pt x="362" y="120"/>
                    <a:pt x="362" y="120"/>
                    <a:pt x="362" y="120"/>
                  </a:cubicBezTo>
                  <a:cubicBezTo>
                    <a:pt x="328" y="135"/>
                    <a:pt x="297" y="153"/>
                    <a:pt x="268" y="174"/>
                  </a:cubicBezTo>
                  <a:cubicBezTo>
                    <a:pt x="283" y="184"/>
                    <a:pt x="297" y="194"/>
                    <a:pt x="312" y="202"/>
                  </a:cubicBezTo>
                  <a:cubicBezTo>
                    <a:pt x="316" y="193"/>
                    <a:pt x="320" y="185"/>
                    <a:pt x="325" y="177"/>
                  </a:cubicBezTo>
                  <a:cubicBezTo>
                    <a:pt x="336" y="156"/>
                    <a:pt x="349" y="138"/>
                    <a:pt x="362" y="120"/>
                  </a:cubicBezTo>
                  <a:cubicBezTo>
                    <a:pt x="362" y="120"/>
                    <a:pt x="362" y="120"/>
                    <a:pt x="362" y="120"/>
                  </a:cubicBezTo>
                  <a:close/>
                  <a:moveTo>
                    <a:pt x="229" y="207"/>
                  </a:moveTo>
                  <a:cubicBezTo>
                    <a:pt x="229" y="207"/>
                    <a:pt x="229" y="207"/>
                    <a:pt x="229" y="207"/>
                  </a:cubicBezTo>
                  <a:cubicBezTo>
                    <a:pt x="225" y="211"/>
                    <a:pt x="221" y="214"/>
                    <a:pt x="218" y="218"/>
                  </a:cubicBezTo>
                  <a:cubicBezTo>
                    <a:pt x="140" y="296"/>
                    <a:pt x="90" y="401"/>
                    <a:pt x="84" y="517"/>
                  </a:cubicBezTo>
                  <a:cubicBezTo>
                    <a:pt x="242" y="517"/>
                    <a:pt x="242" y="517"/>
                    <a:pt x="242" y="517"/>
                  </a:cubicBezTo>
                  <a:cubicBezTo>
                    <a:pt x="245" y="418"/>
                    <a:pt x="263" y="325"/>
                    <a:pt x="292" y="248"/>
                  </a:cubicBezTo>
                  <a:cubicBezTo>
                    <a:pt x="270" y="236"/>
                    <a:pt x="249" y="223"/>
                    <a:pt x="229" y="207"/>
                  </a:cubicBezTo>
                  <a:cubicBezTo>
                    <a:pt x="229" y="207"/>
                    <a:pt x="229" y="207"/>
                    <a:pt x="229" y="207"/>
                  </a:cubicBezTo>
                  <a:close/>
                  <a:moveTo>
                    <a:pt x="84" y="567"/>
                  </a:moveTo>
                  <a:cubicBezTo>
                    <a:pt x="84" y="567"/>
                    <a:pt x="84" y="567"/>
                    <a:pt x="84" y="567"/>
                  </a:cubicBezTo>
                  <a:cubicBezTo>
                    <a:pt x="90" y="684"/>
                    <a:pt x="140" y="789"/>
                    <a:pt x="218" y="867"/>
                  </a:cubicBezTo>
                  <a:cubicBezTo>
                    <a:pt x="229" y="878"/>
                    <a:pt x="229" y="878"/>
                    <a:pt x="229" y="878"/>
                  </a:cubicBezTo>
                  <a:cubicBezTo>
                    <a:pt x="249" y="863"/>
                    <a:pt x="270" y="849"/>
                    <a:pt x="292" y="837"/>
                  </a:cubicBezTo>
                  <a:cubicBezTo>
                    <a:pt x="263" y="760"/>
                    <a:pt x="245" y="667"/>
                    <a:pt x="242" y="567"/>
                  </a:cubicBezTo>
                  <a:cubicBezTo>
                    <a:pt x="84" y="567"/>
                    <a:pt x="84" y="567"/>
                    <a:pt x="84" y="567"/>
                  </a:cubicBezTo>
                  <a:cubicBezTo>
                    <a:pt x="84" y="567"/>
                    <a:pt x="84" y="567"/>
                    <a:pt x="84" y="567"/>
                  </a:cubicBezTo>
                  <a:close/>
                  <a:moveTo>
                    <a:pt x="268" y="911"/>
                  </a:moveTo>
                  <a:cubicBezTo>
                    <a:pt x="268" y="911"/>
                    <a:pt x="268" y="911"/>
                    <a:pt x="268" y="911"/>
                  </a:cubicBezTo>
                  <a:cubicBezTo>
                    <a:pt x="297" y="932"/>
                    <a:pt x="328" y="950"/>
                    <a:pt x="362" y="964"/>
                  </a:cubicBezTo>
                  <a:cubicBezTo>
                    <a:pt x="349" y="948"/>
                    <a:pt x="336" y="929"/>
                    <a:pt x="325" y="908"/>
                  </a:cubicBezTo>
                  <a:cubicBezTo>
                    <a:pt x="320" y="900"/>
                    <a:pt x="316" y="892"/>
                    <a:pt x="312" y="883"/>
                  </a:cubicBezTo>
                  <a:cubicBezTo>
                    <a:pt x="297" y="891"/>
                    <a:pt x="283" y="900"/>
                    <a:pt x="268" y="911"/>
                  </a:cubicBezTo>
                  <a:cubicBezTo>
                    <a:pt x="268" y="911"/>
                    <a:pt x="268" y="911"/>
                    <a:pt x="268" y="911"/>
                  </a:cubicBezTo>
                  <a:close/>
                  <a:moveTo>
                    <a:pt x="567" y="1000"/>
                  </a:moveTo>
                  <a:cubicBezTo>
                    <a:pt x="567" y="1000"/>
                    <a:pt x="567" y="1000"/>
                    <a:pt x="567" y="1000"/>
                  </a:cubicBezTo>
                  <a:cubicBezTo>
                    <a:pt x="584" y="1000"/>
                    <a:pt x="601" y="998"/>
                    <a:pt x="617" y="995"/>
                  </a:cubicBezTo>
                  <a:cubicBezTo>
                    <a:pt x="654" y="972"/>
                    <a:pt x="687" y="934"/>
                    <a:pt x="714" y="884"/>
                  </a:cubicBezTo>
                  <a:cubicBezTo>
                    <a:pt x="719" y="877"/>
                    <a:pt x="723" y="869"/>
                    <a:pt x="726" y="861"/>
                  </a:cubicBezTo>
                  <a:cubicBezTo>
                    <a:pt x="720" y="859"/>
                    <a:pt x="714" y="856"/>
                    <a:pt x="707" y="854"/>
                  </a:cubicBezTo>
                  <a:cubicBezTo>
                    <a:pt x="664" y="837"/>
                    <a:pt x="616" y="828"/>
                    <a:pt x="566" y="825"/>
                  </a:cubicBezTo>
                  <a:cubicBezTo>
                    <a:pt x="566" y="1000"/>
                    <a:pt x="566" y="1000"/>
                    <a:pt x="566" y="1000"/>
                  </a:cubicBezTo>
                  <a:cubicBezTo>
                    <a:pt x="567" y="1000"/>
                    <a:pt x="567" y="1000"/>
                    <a:pt x="567" y="1000"/>
                  </a:cubicBezTo>
                  <a:close/>
                  <a:moveTo>
                    <a:pt x="722" y="964"/>
                  </a:moveTo>
                  <a:cubicBezTo>
                    <a:pt x="722" y="964"/>
                    <a:pt x="722" y="964"/>
                    <a:pt x="722" y="964"/>
                  </a:cubicBezTo>
                  <a:cubicBezTo>
                    <a:pt x="755" y="950"/>
                    <a:pt x="787" y="932"/>
                    <a:pt x="815" y="911"/>
                  </a:cubicBezTo>
                  <a:cubicBezTo>
                    <a:pt x="801" y="900"/>
                    <a:pt x="787" y="891"/>
                    <a:pt x="771" y="883"/>
                  </a:cubicBezTo>
                  <a:cubicBezTo>
                    <a:pt x="767" y="892"/>
                    <a:pt x="763" y="900"/>
                    <a:pt x="758" y="908"/>
                  </a:cubicBezTo>
                  <a:cubicBezTo>
                    <a:pt x="747" y="929"/>
                    <a:pt x="735" y="948"/>
                    <a:pt x="722" y="964"/>
                  </a:cubicBezTo>
                  <a:cubicBezTo>
                    <a:pt x="722" y="964"/>
                    <a:pt x="722" y="964"/>
                    <a:pt x="722" y="964"/>
                  </a:cubicBezTo>
                  <a:close/>
                  <a:moveTo>
                    <a:pt x="855" y="878"/>
                  </a:moveTo>
                  <a:cubicBezTo>
                    <a:pt x="855" y="878"/>
                    <a:pt x="855" y="878"/>
                    <a:pt x="855" y="878"/>
                  </a:cubicBezTo>
                  <a:cubicBezTo>
                    <a:pt x="866" y="867"/>
                    <a:pt x="866" y="867"/>
                    <a:pt x="866" y="867"/>
                  </a:cubicBezTo>
                  <a:cubicBezTo>
                    <a:pt x="943" y="789"/>
                    <a:pt x="993" y="684"/>
                    <a:pt x="1000" y="567"/>
                  </a:cubicBezTo>
                  <a:cubicBezTo>
                    <a:pt x="842" y="567"/>
                    <a:pt x="842" y="567"/>
                    <a:pt x="842" y="567"/>
                  </a:cubicBezTo>
                  <a:cubicBezTo>
                    <a:pt x="839" y="667"/>
                    <a:pt x="820" y="760"/>
                    <a:pt x="791" y="837"/>
                  </a:cubicBezTo>
                  <a:cubicBezTo>
                    <a:pt x="813" y="849"/>
                    <a:pt x="835" y="863"/>
                    <a:pt x="855" y="878"/>
                  </a:cubicBezTo>
                  <a:cubicBezTo>
                    <a:pt x="855" y="878"/>
                    <a:pt x="855" y="878"/>
                    <a:pt x="855" y="878"/>
                  </a:cubicBezTo>
                  <a:close/>
                  <a:moveTo>
                    <a:pt x="746" y="269"/>
                  </a:moveTo>
                  <a:cubicBezTo>
                    <a:pt x="746" y="269"/>
                    <a:pt x="746" y="269"/>
                    <a:pt x="746" y="269"/>
                  </a:cubicBezTo>
                  <a:cubicBezTo>
                    <a:pt x="739" y="272"/>
                    <a:pt x="732" y="275"/>
                    <a:pt x="725" y="278"/>
                  </a:cubicBezTo>
                  <a:cubicBezTo>
                    <a:pt x="675" y="296"/>
                    <a:pt x="622" y="308"/>
                    <a:pt x="567" y="310"/>
                  </a:cubicBezTo>
                  <a:cubicBezTo>
                    <a:pt x="567" y="517"/>
                    <a:pt x="567" y="517"/>
                    <a:pt x="567" y="517"/>
                  </a:cubicBezTo>
                  <a:cubicBezTo>
                    <a:pt x="792" y="517"/>
                    <a:pt x="792" y="517"/>
                    <a:pt x="792" y="517"/>
                  </a:cubicBezTo>
                  <a:cubicBezTo>
                    <a:pt x="789" y="425"/>
                    <a:pt x="772" y="340"/>
                    <a:pt x="746" y="269"/>
                  </a:cubicBezTo>
                  <a:cubicBezTo>
                    <a:pt x="746" y="269"/>
                    <a:pt x="746" y="269"/>
                    <a:pt x="746" y="269"/>
                  </a:cubicBezTo>
                  <a:close/>
                  <a:moveTo>
                    <a:pt x="517" y="310"/>
                  </a:moveTo>
                  <a:cubicBezTo>
                    <a:pt x="517" y="310"/>
                    <a:pt x="517" y="310"/>
                    <a:pt x="517" y="310"/>
                  </a:cubicBezTo>
                  <a:cubicBezTo>
                    <a:pt x="462" y="308"/>
                    <a:pt x="409" y="296"/>
                    <a:pt x="358" y="278"/>
                  </a:cubicBezTo>
                  <a:cubicBezTo>
                    <a:pt x="352" y="275"/>
                    <a:pt x="345" y="272"/>
                    <a:pt x="338" y="269"/>
                  </a:cubicBezTo>
                  <a:cubicBezTo>
                    <a:pt x="311" y="340"/>
                    <a:pt x="294" y="425"/>
                    <a:pt x="292" y="517"/>
                  </a:cubicBezTo>
                  <a:cubicBezTo>
                    <a:pt x="517" y="517"/>
                    <a:pt x="517" y="517"/>
                    <a:pt x="517" y="517"/>
                  </a:cubicBezTo>
                  <a:cubicBezTo>
                    <a:pt x="517" y="310"/>
                    <a:pt x="517" y="310"/>
                    <a:pt x="517" y="310"/>
                  </a:cubicBezTo>
                  <a:cubicBezTo>
                    <a:pt x="517" y="310"/>
                    <a:pt x="517" y="310"/>
                    <a:pt x="517" y="310"/>
                  </a:cubicBezTo>
                  <a:close/>
                  <a:moveTo>
                    <a:pt x="517" y="775"/>
                  </a:moveTo>
                  <a:cubicBezTo>
                    <a:pt x="517" y="775"/>
                    <a:pt x="517" y="775"/>
                    <a:pt x="517" y="775"/>
                  </a:cubicBezTo>
                  <a:cubicBezTo>
                    <a:pt x="517" y="567"/>
                    <a:pt x="517" y="567"/>
                    <a:pt x="517" y="567"/>
                  </a:cubicBezTo>
                  <a:cubicBezTo>
                    <a:pt x="292" y="567"/>
                    <a:pt x="292" y="567"/>
                    <a:pt x="292" y="567"/>
                  </a:cubicBezTo>
                  <a:cubicBezTo>
                    <a:pt x="294" y="659"/>
                    <a:pt x="311" y="744"/>
                    <a:pt x="338" y="815"/>
                  </a:cubicBezTo>
                  <a:cubicBezTo>
                    <a:pt x="345" y="813"/>
                    <a:pt x="352" y="810"/>
                    <a:pt x="359" y="807"/>
                  </a:cubicBezTo>
                  <a:cubicBezTo>
                    <a:pt x="409" y="789"/>
                    <a:pt x="462" y="777"/>
                    <a:pt x="517" y="775"/>
                  </a:cubicBezTo>
                  <a:cubicBezTo>
                    <a:pt x="517" y="775"/>
                    <a:pt x="517" y="775"/>
                    <a:pt x="517" y="775"/>
                  </a:cubicBezTo>
                  <a:close/>
                  <a:moveTo>
                    <a:pt x="567" y="775"/>
                  </a:moveTo>
                  <a:cubicBezTo>
                    <a:pt x="567" y="775"/>
                    <a:pt x="567" y="775"/>
                    <a:pt x="567" y="775"/>
                  </a:cubicBezTo>
                  <a:cubicBezTo>
                    <a:pt x="622" y="778"/>
                    <a:pt x="675" y="789"/>
                    <a:pt x="725" y="807"/>
                  </a:cubicBezTo>
                  <a:cubicBezTo>
                    <a:pt x="732" y="810"/>
                    <a:pt x="739" y="813"/>
                    <a:pt x="746" y="815"/>
                  </a:cubicBezTo>
                  <a:cubicBezTo>
                    <a:pt x="772" y="744"/>
                    <a:pt x="789" y="659"/>
                    <a:pt x="792" y="567"/>
                  </a:cubicBezTo>
                  <a:cubicBezTo>
                    <a:pt x="567" y="567"/>
                    <a:pt x="567" y="567"/>
                    <a:pt x="567" y="567"/>
                  </a:cubicBezTo>
                  <a:cubicBezTo>
                    <a:pt x="567" y="775"/>
                    <a:pt x="567" y="775"/>
                    <a:pt x="567" y="775"/>
                  </a:cubicBezTo>
                  <a:cubicBezTo>
                    <a:pt x="567" y="775"/>
                    <a:pt x="567" y="775"/>
                    <a:pt x="567" y="77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7" name="文本框 6">
            <a:extLst>
              <a:ext uri="{FF2B5EF4-FFF2-40B4-BE49-F238E27FC236}">
                <a16:creationId xmlns:a16="http://schemas.microsoft.com/office/drawing/2014/main" id="{6A0E5FB6-225F-4EE6-96CD-2A624621FE5B}"/>
              </a:ext>
            </a:extLst>
          </p:cNvPr>
          <p:cNvSpPr txBox="1"/>
          <p:nvPr/>
        </p:nvSpPr>
        <p:spPr>
          <a:xfrm>
            <a:off x="5571738" y="1123950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93B706DC-DE26-4D5F-BB9C-9C8C5F6F6AF3}"/>
              </a:ext>
            </a:extLst>
          </p:cNvPr>
          <p:cNvSpPr txBox="1"/>
          <p:nvPr/>
        </p:nvSpPr>
        <p:spPr>
          <a:xfrm>
            <a:off x="7466298" y="1872816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4BFA9B4A-47E5-4ECE-890B-6EE5CD14FD1C}"/>
              </a:ext>
            </a:extLst>
          </p:cNvPr>
          <p:cNvSpPr txBox="1"/>
          <p:nvPr/>
        </p:nvSpPr>
        <p:spPr>
          <a:xfrm>
            <a:off x="7466298" y="4591104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39D4E8E4-9B71-4CE4-958E-BA7AB7CA4E1F}"/>
              </a:ext>
            </a:extLst>
          </p:cNvPr>
          <p:cNvSpPr txBox="1"/>
          <p:nvPr/>
        </p:nvSpPr>
        <p:spPr>
          <a:xfrm>
            <a:off x="3596867" y="1872816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r"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5FADDAEA-D02C-4C50-9454-6075604E526E}"/>
              </a:ext>
            </a:extLst>
          </p:cNvPr>
          <p:cNvSpPr txBox="1"/>
          <p:nvPr/>
        </p:nvSpPr>
        <p:spPr>
          <a:xfrm>
            <a:off x="3596867" y="4591104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r"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E9DFCC6-6769-4532-85B9-5D6553333512}"/>
              </a:ext>
            </a:extLst>
          </p:cNvPr>
          <p:cNvSpPr txBox="1"/>
          <p:nvPr/>
        </p:nvSpPr>
        <p:spPr>
          <a:xfrm>
            <a:off x="5571738" y="5643553"/>
            <a:ext cx="1048524" cy="449136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algn="ctr" defTabSz="914378">
              <a:spcBef>
                <a:spcPct val="0"/>
              </a:spcBef>
              <a:defRPr/>
            </a:pPr>
            <a:r>
              <a:rPr lang="en-US" altLang="zh-CN" sz="1400" dirty="0">
                <a:cs typeface="+mn-ea"/>
                <a:sym typeface="+mn-lt"/>
              </a:rPr>
              <a:t>… </a:t>
            </a:r>
            <a:r>
              <a:rPr lang="zh-CN" altLang="en-US" sz="1400" dirty="0">
                <a:cs typeface="+mn-ea"/>
                <a:sym typeface="+mn-lt"/>
              </a:rPr>
              <a:t>内容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0947BBD6-A145-4F98-B8E9-1DB185E53715}"/>
              </a:ext>
            </a:extLst>
          </p:cNvPr>
          <p:cNvSpPr txBox="1"/>
          <p:nvPr/>
        </p:nvSpPr>
        <p:spPr bwMode="auto">
          <a:xfrm>
            <a:off x="661604" y="2590062"/>
            <a:ext cx="2831557" cy="4418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…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结论</a:t>
            </a:r>
            <a:endParaRPr lang="en-US" altLang="zh-CN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13D7AF0E-7975-4A10-929A-5138BB8544E1}"/>
              </a:ext>
            </a:extLst>
          </p:cNvPr>
          <p:cNvSpPr/>
          <p:nvPr/>
        </p:nvSpPr>
        <p:spPr bwMode="auto">
          <a:xfrm>
            <a:off x="637703" y="3115539"/>
            <a:ext cx="2843836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45FA21F6-75C1-4601-9AEB-375E9ADF2933}"/>
              </a:ext>
            </a:extLst>
          </p:cNvPr>
          <p:cNvSpPr/>
          <p:nvPr/>
        </p:nvSpPr>
        <p:spPr bwMode="auto">
          <a:xfrm>
            <a:off x="637703" y="4287975"/>
            <a:ext cx="2843836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4D94CACD-5F30-4FD3-972E-CC5EE0DC6941}"/>
              </a:ext>
            </a:extLst>
          </p:cNvPr>
          <p:cNvSpPr txBox="1"/>
          <p:nvPr/>
        </p:nvSpPr>
        <p:spPr>
          <a:xfrm>
            <a:off x="671513" y="2136727"/>
            <a:ext cx="2820062" cy="413496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normAutofit/>
          </a:bodyPr>
          <a:lstStyle/>
          <a:p>
            <a:pPr algn="ctr"/>
            <a:r>
              <a:rPr lang="en-US" altLang="zh-CN" sz="1200" u="sng">
                <a:cs typeface="+mn-ea"/>
                <a:sym typeface="+mn-lt"/>
              </a:rPr>
              <a:t>Supporting</a:t>
            </a:r>
            <a:r>
              <a:rPr lang="en-US" altLang="zh-CN" sz="100" u="sng">
                <a:cs typeface="+mn-ea"/>
                <a:sym typeface="+mn-lt"/>
              </a:rPr>
              <a:t> </a:t>
            </a:r>
            <a:r>
              <a:rPr lang="en-US" altLang="zh-CN" sz="1200" u="sng">
                <a:cs typeface="+mn-ea"/>
                <a:sym typeface="+mn-lt"/>
              </a:rPr>
              <a:t> </a:t>
            </a:r>
            <a:r>
              <a:rPr lang="en-US" altLang="zh-CN" sz="1200" u="sng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6EDDDCCC-F3A0-4029-B36C-C193BF5CD992}"/>
              </a:ext>
            </a:extLst>
          </p:cNvPr>
          <p:cNvSpPr txBox="1"/>
          <p:nvPr/>
        </p:nvSpPr>
        <p:spPr bwMode="auto">
          <a:xfrm>
            <a:off x="8698839" y="2590062"/>
            <a:ext cx="2831557" cy="44180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2000" b="1" dirty="0">
                <a:solidFill>
                  <a:schemeClr val="bg1"/>
                </a:solidFill>
                <a:cs typeface="+mn-ea"/>
                <a:sym typeface="+mn-lt"/>
              </a:rPr>
              <a:t>…</a:t>
            </a:r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结论</a:t>
            </a:r>
            <a:endParaRPr lang="en-US" altLang="zh-CN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756471A3-C38F-45AE-AE58-B8B8CBD5D8C1}"/>
              </a:ext>
            </a:extLst>
          </p:cNvPr>
          <p:cNvSpPr/>
          <p:nvPr/>
        </p:nvSpPr>
        <p:spPr bwMode="auto">
          <a:xfrm>
            <a:off x="8674938" y="3115539"/>
            <a:ext cx="2843836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144CDF5-E516-435E-B739-6F58FBD99566}"/>
              </a:ext>
            </a:extLst>
          </p:cNvPr>
          <p:cNvSpPr/>
          <p:nvPr/>
        </p:nvSpPr>
        <p:spPr bwMode="auto">
          <a:xfrm>
            <a:off x="8674938" y="4287975"/>
            <a:ext cx="2843836" cy="8669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96D51BA-40EA-4AC9-9811-A449B765DD56}"/>
              </a:ext>
            </a:extLst>
          </p:cNvPr>
          <p:cNvSpPr txBox="1"/>
          <p:nvPr/>
        </p:nvSpPr>
        <p:spPr>
          <a:xfrm>
            <a:off x="8708748" y="2136727"/>
            <a:ext cx="2820062" cy="413496"/>
          </a:xfrm>
          <a:prstGeom prst="rect">
            <a:avLst/>
          </a:prstGeom>
          <a:noFill/>
        </p:spPr>
        <p:txBody>
          <a:bodyPr wrap="square" lIns="91440" tIns="45720" rIns="91440" bIns="45720" rtlCol="0" anchor="b">
            <a:normAutofit/>
          </a:bodyPr>
          <a:lstStyle/>
          <a:p>
            <a:pPr algn="ctr"/>
            <a:r>
              <a:rPr lang="en-US" altLang="zh-CN" sz="1200" u="sng">
                <a:cs typeface="+mn-ea"/>
                <a:sym typeface="+mn-lt"/>
              </a:rPr>
              <a:t>Supporting</a:t>
            </a:r>
            <a:r>
              <a:rPr lang="en-US" altLang="zh-CN" sz="100" u="sng">
                <a:cs typeface="+mn-ea"/>
                <a:sym typeface="+mn-lt"/>
              </a:rPr>
              <a:t> </a:t>
            </a:r>
            <a:r>
              <a:rPr lang="en-US" altLang="zh-CN" sz="1200" u="sng">
                <a:cs typeface="+mn-ea"/>
                <a:sym typeface="+mn-lt"/>
              </a:rPr>
              <a:t> </a:t>
            </a:r>
            <a:r>
              <a:rPr lang="en-US" altLang="zh-CN" sz="1200" u="sng" dirty="0">
                <a:cs typeface="+mn-ea"/>
                <a:sym typeface="+mn-lt"/>
              </a:rPr>
              <a:t>text here.</a:t>
            </a:r>
          </a:p>
        </p:txBody>
      </p:sp>
    </p:spTree>
    <p:extLst>
      <p:ext uri="{BB962C8B-B14F-4D97-AF65-F5344CB8AC3E}">
        <p14:creationId xmlns:p14="http://schemas.microsoft.com/office/powerpoint/2010/main" val="41820106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结论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F067DD82-63B9-4F18-81CC-263A5EF3ABDB}"/>
              </a:ext>
            </a:extLst>
          </p:cNvPr>
          <p:cNvGrpSpPr/>
          <p:nvPr/>
        </p:nvGrpSpPr>
        <p:grpSpPr>
          <a:xfrm>
            <a:off x="3925822" y="1548633"/>
            <a:ext cx="4340351" cy="3760734"/>
            <a:chOff x="4049758" y="1856022"/>
            <a:chExt cx="4114515" cy="3565056"/>
          </a:xfrm>
        </p:grpSpPr>
        <p:sp>
          <p:nvSpPr>
            <p:cNvPr id="49" name="平行四边形 48">
              <a:extLst>
                <a:ext uri="{FF2B5EF4-FFF2-40B4-BE49-F238E27FC236}">
                  <a16:creationId xmlns:a16="http://schemas.microsoft.com/office/drawing/2014/main" id="{D2791804-37CC-41BD-8945-9065EC727A13}"/>
                </a:ext>
              </a:extLst>
            </p:cNvPr>
            <p:cNvSpPr/>
            <p:nvPr/>
          </p:nvSpPr>
          <p:spPr>
            <a:xfrm>
              <a:off x="5023629" y="4554143"/>
              <a:ext cx="2610927" cy="866934"/>
            </a:xfrm>
            <a:prstGeom prst="parallelogram">
              <a:avLst>
                <a:gd name="adj" fmla="val 57722"/>
              </a:avLst>
            </a:prstGeom>
            <a:solidFill>
              <a:schemeClr val="bg1">
                <a:lumMod val="75000"/>
              </a:schemeClr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平行四边形 49">
              <a:extLst>
                <a:ext uri="{FF2B5EF4-FFF2-40B4-BE49-F238E27FC236}">
                  <a16:creationId xmlns:a16="http://schemas.microsoft.com/office/drawing/2014/main" id="{E47C45C0-D207-41A2-9964-8663052CD131}"/>
                </a:ext>
              </a:extLst>
            </p:cNvPr>
            <p:cNvSpPr/>
            <p:nvPr/>
          </p:nvSpPr>
          <p:spPr>
            <a:xfrm rot="7176267">
              <a:off x="4027727" y="3629191"/>
              <a:ext cx="2630664" cy="866934"/>
            </a:xfrm>
            <a:prstGeom prst="parallelogram">
              <a:avLst>
                <a:gd name="adj" fmla="val 57327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平行四边形 50">
              <a:extLst>
                <a:ext uri="{FF2B5EF4-FFF2-40B4-BE49-F238E27FC236}">
                  <a16:creationId xmlns:a16="http://schemas.microsoft.com/office/drawing/2014/main" id="{5735356C-BE83-4E56-9626-F367C3B534E8}"/>
                </a:ext>
              </a:extLst>
            </p:cNvPr>
            <p:cNvSpPr/>
            <p:nvPr/>
          </p:nvSpPr>
          <p:spPr>
            <a:xfrm rot="14409079">
              <a:off x="5330532" y="3205702"/>
              <a:ext cx="2609266" cy="866934"/>
            </a:xfrm>
            <a:prstGeom prst="parallelogram">
              <a:avLst>
                <a:gd name="adj" fmla="val 57327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52" name="组合 51">
              <a:extLst>
                <a:ext uri="{FF2B5EF4-FFF2-40B4-BE49-F238E27FC236}">
                  <a16:creationId xmlns:a16="http://schemas.microsoft.com/office/drawing/2014/main" id="{DCC66E0B-B060-4C32-A0DE-B6CFD98AB8CF}"/>
                </a:ext>
              </a:extLst>
            </p:cNvPr>
            <p:cNvGrpSpPr/>
            <p:nvPr/>
          </p:nvGrpSpPr>
          <p:grpSpPr>
            <a:xfrm>
              <a:off x="7158629" y="4554144"/>
              <a:ext cx="1005644" cy="866934"/>
              <a:chOff x="7158629" y="4554144"/>
              <a:chExt cx="1005644" cy="866934"/>
            </a:xfrm>
          </p:grpSpPr>
          <p:sp>
            <p:nvSpPr>
              <p:cNvPr id="59" name="等腰三角形 58">
                <a:extLst>
                  <a:ext uri="{FF2B5EF4-FFF2-40B4-BE49-F238E27FC236}">
                    <a16:creationId xmlns:a16="http://schemas.microsoft.com/office/drawing/2014/main" id="{15E2A305-164A-4EE6-A5A7-C257760F5490}"/>
                  </a:ext>
                </a:extLst>
              </p:cNvPr>
              <p:cNvSpPr/>
              <p:nvPr/>
            </p:nvSpPr>
            <p:spPr>
              <a:xfrm>
                <a:off x="7158629" y="4554144"/>
                <a:ext cx="1005644" cy="866934"/>
              </a:xfrm>
              <a:prstGeom prst="triangle">
                <a:avLst/>
              </a:prstGeom>
              <a:solidFill>
                <a:schemeClr val="bg1">
                  <a:lumMod val="75000"/>
                </a:schemeClr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C4DDC72F-29A3-458A-8065-1E7A650B82EB}"/>
                  </a:ext>
                </a:extLst>
              </p:cNvPr>
              <p:cNvSpPr/>
              <p:nvPr/>
            </p:nvSpPr>
            <p:spPr bwMode="auto">
              <a:xfrm>
                <a:off x="7509091" y="4981879"/>
                <a:ext cx="304720" cy="298334"/>
              </a:xfrm>
              <a:custGeom>
                <a:avLst/>
                <a:gdLst>
                  <a:gd name="connsiteX0" fmla="*/ 163903 w 607933"/>
                  <a:gd name="connsiteY0" fmla="*/ 369028 h 595191"/>
                  <a:gd name="connsiteX1" fmla="*/ 195691 w 607933"/>
                  <a:gd name="connsiteY1" fmla="*/ 416642 h 595191"/>
                  <a:gd name="connsiteX2" fmla="*/ 52648 w 607933"/>
                  <a:gd name="connsiteY2" fmla="*/ 476158 h 595191"/>
                  <a:gd name="connsiteX3" fmla="*/ 303967 w 607933"/>
                  <a:gd name="connsiteY3" fmla="*/ 542618 h 595191"/>
                  <a:gd name="connsiteX4" fmla="*/ 555285 w 607933"/>
                  <a:gd name="connsiteY4" fmla="*/ 476158 h 595191"/>
                  <a:gd name="connsiteX5" fmla="*/ 413235 w 607933"/>
                  <a:gd name="connsiteY5" fmla="*/ 416642 h 595191"/>
                  <a:gd name="connsiteX6" fmla="*/ 444029 w 607933"/>
                  <a:gd name="connsiteY6" fmla="*/ 369028 h 595191"/>
                  <a:gd name="connsiteX7" fmla="*/ 607933 w 607933"/>
                  <a:gd name="connsiteY7" fmla="*/ 476158 h 595191"/>
                  <a:gd name="connsiteX8" fmla="*/ 303967 w 607933"/>
                  <a:gd name="connsiteY8" fmla="*/ 595191 h 595191"/>
                  <a:gd name="connsiteX9" fmla="*/ 0 w 607933"/>
                  <a:gd name="connsiteY9" fmla="*/ 476158 h 595191"/>
                  <a:gd name="connsiteX10" fmla="*/ 163903 w 607933"/>
                  <a:gd name="connsiteY10" fmla="*/ 369028 h 595191"/>
                  <a:gd name="connsiteX11" fmla="*/ 303967 w 607933"/>
                  <a:gd name="connsiteY11" fmla="*/ 100209 h 595191"/>
                  <a:gd name="connsiteX12" fmla="*/ 230453 w 607933"/>
                  <a:gd name="connsiteY12" fmla="*/ 174622 h 595191"/>
                  <a:gd name="connsiteX13" fmla="*/ 303967 w 607933"/>
                  <a:gd name="connsiteY13" fmla="*/ 248042 h 595191"/>
                  <a:gd name="connsiteX14" fmla="*/ 378475 w 607933"/>
                  <a:gd name="connsiteY14" fmla="*/ 174622 h 595191"/>
                  <a:gd name="connsiteX15" fmla="*/ 303967 w 607933"/>
                  <a:gd name="connsiteY15" fmla="*/ 100209 h 595191"/>
                  <a:gd name="connsiteX16" fmla="*/ 303967 w 607933"/>
                  <a:gd name="connsiteY16" fmla="*/ 0 h 595191"/>
                  <a:gd name="connsiteX17" fmla="*/ 481792 w 607933"/>
                  <a:gd name="connsiteY17" fmla="*/ 177598 h 595191"/>
                  <a:gd name="connsiteX18" fmla="*/ 338737 w 607933"/>
                  <a:gd name="connsiteY18" fmla="*/ 453420 h 595191"/>
                  <a:gd name="connsiteX19" fmla="*/ 303967 w 607933"/>
                  <a:gd name="connsiteY19" fmla="*/ 471279 h 595191"/>
                  <a:gd name="connsiteX20" fmla="*/ 269197 w 607933"/>
                  <a:gd name="connsiteY20" fmla="*/ 453420 h 595191"/>
                  <a:gd name="connsiteX21" fmla="*/ 126142 w 607933"/>
                  <a:gd name="connsiteY21" fmla="*/ 177598 h 595191"/>
                  <a:gd name="connsiteX22" fmla="*/ 303967 w 607933"/>
                  <a:gd name="connsiteY22" fmla="*/ 0 h 595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7933" h="595191">
                    <a:moveTo>
                      <a:pt x="163903" y="369028"/>
                    </a:moveTo>
                    <a:cubicBezTo>
                      <a:pt x="173837" y="383907"/>
                      <a:pt x="183771" y="399778"/>
                      <a:pt x="195691" y="416642"/>
                    </a:cubicBezTo>
                    <a:cubicBezTo>
                      <a:pt x="101322" y="430529"/>
                      <a:pt x="52648" y="461279"/>
                      <a:pt x="52648" y="476158"/>
                    </a:cubicBezTo>
                    <a:cubicBezTo>
                      <a:pt x="52648" y="495997"/>
                      <a:pt x="138076" y="542618"/>
                      <a:pt x="303967" y="542618"/>
                    </a:cubicBezTo>
                    <a:cubicBezTo>
                      <a:pt x="469857" y="542618"/>
                      <a:pt x="555285" y="495997"/>
                      <a:pt x="555285" y="476158"/>
                    </a:cubicBezTo>
                    <a:cubicBezTo>
                      <a:pt x="555285" y="461279"/>
                      <a:pt x="507604" y="430529"/>
                      <a:pt x="413235" y="416642"/>
                    </a:cubicBezTo>
                    <a:cubicBezTo>
                      <a:pt x="424162" y="399778"/>
                      <a:pt x="434096" y="383907"/>
                      <a:pt x="444029" y="369028"/>
                    </a:cubicBezTo>
                    <a:cubicBezTo>
                      <a:pt x="537405" y="385891"/>
                      <a:pt x="607933" y="422593"/>
                      <a:pt x="607933" y="476158"/>
                    </a:cubicBezTo>
                    <a:cubicBezTo>
                      <a:pt x="607933" y="554522"/>
                      <a:pt x="454956" y="595191"/>
                      <a:pt x="303967" y="595191"/>
                    </a:cubicBezTo>
                    <a:cubicBezTo>
                      <a:pt x="152977" y="595191"/>
                      <a:pt x="0" y="554522"/>
                      <a:pt x="0" y="476158"/>
                    </a:cubicBezTo>
                    <a:cubicBezTo>
                      <a:pt x="0" y="422593"/>
                      <a:pt x="71522" y="385891"/>
                      <a:pt x="163903" y="369028"/>
                    </a:cubicBezTo>
                    <a:close/>
                    <a:moveTo>
                      <a:pt x="303967" y="100209"/>
                    </a:moveTo>
                    <a:cubicBezTo>
                      <a:pt x="263236" y="100209"/>
                      <a:pt x="230453" y="133943"/>
                      <a:pt x="230453" y="174622"/>
                    </a:cubicBezTo>
                    <a:cubicBezTo>
                      <a:pt x="230453" y="215300"/>
                      <a:pt x="263236" y="248042"/>
                      <a:pt x="303967" y="248042"/>
                    </a:cubicBezTo>
                    <a:cubicBezTo>
                      <a:pt x="344698" y="248042"/>
                      <a:pt x="378475" y="215300"/>
                      <a:pt x="378475" y="174622"/>
                    </a:cubicBezTo>
                    <a:cubicBezTo>
                      <a:pt x="378475" y="133943"/>
                      <a:pt x="344698" y="100209"/>
                      <a:pt x="303967" y="100209"/>
                    </a:cubicBezTo>
                    <a:close/>
                    <a:moveTo>
                      <a:pt x="303967" y="0"/>
                    </a:moveTo>
                    <a:cubicBezTo>
                      <a:pt x="402317" y="0"/>
                      <a:pt x="481792" y="79374"/>
                      <a:pt x="481792" y="177598"/>
                    </a:cubicBezTo>
                    <a:cubicBezTo>
                      <a:pt x="481792" y="248042"/>
                      <a:pt x="390396" y="382976"/>
                      <a:pt x="338737" y="453420"/>
                    </a:cubicBezTo>
                    <a:cubicBezTo>
                      <a:pt x="330790" y="464334"/>
                      <a:pt x="317875" y="471279"/>
                      <a:pt x="303967" y="471279"/>
                    </a:cubicBezTo>
                    <a:cubicBezTo>
                      <a:pt x="290059" y="471279"/>
                      <a:pt x="277144" y="464334"/>
                      <a:pt x="269197" y="453420"/>
                    </a:cubicBezTo>
                    <a:cubicBezTo>
                      <a:pt x="217538" y="382976"/>
                      <a:pt x="126142" y="248042"/>
                      <a:pt x="126142" y="177598"/>
                    </a:cubicBezTo>
                    <a:cubicBezTo>
                      <a:pt x="126142" y="79374"/>
                      <a:pt x="205617" y="0"/>
                      <a:pt x="30396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53" name="组合 52">
              <a:extLst>
                <a:ext uri="{FF2B5EF4-FFF2-40B4-BE49-F238E27FC236}">
                  <a16:creationId xmlns:a16="http://schemas.microsoft.com/office/drawing/2014/main" id="{E3C20582-8769-40AB-B5DA-42632C2E18E5}"/>
                </a:ext>
              </a:extLst>
            </p:cNvPr>
            <p:cNvGrpSpPr/>
            <p:nvPr/>
          </p:nvGrpSpPr>
          <p:grpSpPr>
            <a:xfrm>
              <a:off x="4049758" y="4554144"/>
              <a:ext cx="1005004" cy="866934"/>
              <a:chOff x="4049758" y="4554144"/>
              <a:chExt cx="1005004" cy="866934"/>
            </a:xfrm>
          </p:grpSpPr>
          <p:sp>
            <p:nvSpPr>
              <p:cNvPr id="57" name="等腰三角形 56">
                <a:extLst>
                  <a:ext uri="{FF2B5EF4-FFF2-40B4-BE49-F238E27FC236}">
                    <a16:creationId xmlns:a16="http://schemas.microsoft.com/office/drawing/2014/main" id="{F89E68A4-6D5E-4626-9B2F-7BFA2CA1A3F1}"/>
                  </a:ext>
                </a:extLst>
              </p:cNvPr>
              <p:cNvSpPr/>
              <p:nvPr/>
            </p:nvSpPr>
            <p:spPr>
              <a:xfrm>
                <a:off x="4049758" y="4554144"/>
                <a:ext cx="1005004" cy="866934"/>
              </a:xfrm>
              <a:prstGeom prst="triangle">
                <a:avLst/>
              </a:pr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783792F9-3589-48F0-A36D-CFF0BDD11953}"/>
                  </a:ext>
                </a:extLst>
              </p:cNvPr>
              <p:cNvSpPr/>
              <p:nvPr/>
            </p:nvSpPr>
            <p:spPr bwMode="auto">
              <a:xfrm>
                <a:off x="4399900" y="4981879"/>
                <a:ext cx="304720" cy="298334"/>
              </a:xfrm>
              <a:custGeom>
                <a:avLst/>
                <a:gdLst>
                  <a:gd name="connsiteX0" fmla="*/ 163903 w 607933"/>
                  <a:gd name="connsiteY0" fmla="*/ 369028 h 595191"/>
                  <a:gd name="connsiteX1" fmla="*/ 195691 w 607933"/>
                  <a:gd name="connsiteY1" fmla="*/ 416642 h 595191"/>
                  <a:gd name="connsiteX2" fmla="*/ 52648 w 607933"/>
                  <a:gd name="connsiteY2" fmla="*/ 476158 h 595191"/>
                  <a:gd name="connsiteX3" fmla="*/ 303967 w 607933"/>
                  <a:gd name="connsiteY3" fmla="*/ 542618 h 595191"/>
                  <a:gd name="connsiteX4" fmla="*/ 555285 w 607933"/>
                  <a:gd name="connsiteY4" fmla="*/ 476158 h 595191"/>
                  <a:gd name="connsiteX5" fmla="*/ 413235 w 607933"/>
                  <a:gd name="connsiteY5" fmla="*/ 416642 h 595191"/>
                  <a:gd name="connsiteX6" fmla="*/ 444029 w 607933"/>
                  <a:gd name="connsiteY6" fmla="*/ 369028 h 595191"/>
                  <a:gd name="connsiteX7" fmla="*/ 607933 w 607933"/>
                  <a:gd name="connsiteY7" fmla="*/ 476158 h 595191"/>
                  <a:gd name="connsiteX8" fmla="*/ 303967 w 607933"/>
                  <a:gd name="connsiteY8" fmla="*/ 595191 h 595191"/>
                  <a:gd name="connsiteX9" fmla="*/ 0 w 607933"/>
                  <a:gd name="connsiteY9" fmla="*/ 476158 h 595191"/>
                  <a:gd name="connsiteX10" fmla="*/ 163903 w 607933"/>
                  <a:gd name="connsiteY10" fmla="*/ 369028 h 595191"/>
                  <a:gd name="connsiteX11" fmla="*/ 303967 w 607933"/>
                  <a:gd name="connsiteY11" fmla="*/ 100209 h 595191"/>
                  <a:gd name="connsiteX12" fmla="*/ 230453 w 607933"/>
                  <a:gd name="connsiteY12" fmla="*/ 174622 h 595191"/>
                  <a:gd name="connsiteX13" fmla="*/ 303967 w 607933"/>
                  <a:gd name="connsiteY13" fmla="*/ 248042 h 595191"/>
                  <a:gd name="connsiteX14" fmla="*/ 378475 w 607933"/>
                  <a:gd name="connsiteY14" fmla="*/ 174622 h 595191"/>
                  <a:gd name="connsiteX15" fmla="*/ 303967 w 607933"/>
                  <a:gd name="connsiteY15" fmla="*/ 100209 h 595191"/>
                  <a:gd name="connsiteX16" fmla="*/ 303967 w 607933"/>
                  <a:gd name="connsiteY16" fmla="*/ 0 h 595191"/>
                  <a:gd name="connsiteX17" fmla="*/ 481792 w 607933"/>
                  <a:gd name="connsiteY17" fmla="*/ 177598 h 595191"/>
                  <a:gd name="connsiteX18" fmla="*/ 338737 w 607933"/>
                  <a:gd name="connsiteY18" fmla="*/ 453420 h 595191"/>
                  <a:gd name="connsiteX19" fmla="*/ 303967 w 607933"/>
                  <a:gd name="connsiteY19" fmla="*/ 471279 h 595191"/>
                  <a:gd name="connsiteX20" fmla="*/ 269197 w 607933"/>
                  <a:gd name="connsiteY20" fmla="*/ 453420 h 595191"/>
                  <a:gd name="connsiteX21" fmla="*/ 126142 w 607933"/>
                  <a:gd name="connsiteY21" fmla="*/ 177598 h 595191"/>
                  <a:gd name="connsiteX22" fmla="*/ 303967 w 607933"/>
                  <a:gd name="connsiteY22" fmla="*/ 0 h 595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7933" h="595191">
                    <a:moveTo>
                      <a:pt x="163903" y="369028"/>
                    </a:moveTo>
                    <a:cubicBezTo>
                      <a:pt x="173837" y="383907"/>
                      <a:pt x="183771" y="399778"/>
                      <a:pt x="195691" y="416642"/>
                    </a:cubicBezTo>
                    <a:cubicBezTo>
                      <a:pt x="101322" y="430529"/>
                      <a:pt x="52648" y="461279"/>
                      <a:pt x="52648" y="476158"/>
                    </a:cubicBezTo>
                    <a:cubicBezTo>
                      <a:pt x="52648" y="495997"/>
                      <a:pt x="138076" y="542618"/>
                      <a:pt x="303967" y="542618"/>
                    </a:cubicBezTo>
                    <a:cubicBezTo>
                      <a:pt x="469857" y="542618"/>
                      <a:pt x="555285" y="495997"/>
                      <a:pt x="555285" y="476158"/>
                    </a:cubicBezTo>
                    <a:cubicBezTo>
                      <a:pt x="555285" y="461279"/>
                      <a:pt x="507604" y="430529"/>
                      <a:pt x="413235" y="416642"/>
                    </a:cubicBezTo>
                    <a:cubicBezTo>
                      <a:pt x="424162" y="399778"/>
                      <a:pt x="434096" y="383907"/>
                      <a:pt x="444029" y="369028"/>
                    </a:cubicBezTo>
                    <a:cubicBezTo>
                      <a:pt x="537405" y="385891"/>
                      <a:pt x="607933" y="422593"/>
                      <a:pt x="607933" y="476158"/>
                    </a:cubicBezTo>
                    <a:cubicBezTo>
                      <a:pt x="607933" y="554522"/>
                      <a:pt x="454956" y="595191"/>
                      <a:pt x="303967" y="595191"/>
                    </a:cubicBezTo>
                    <a:cubicBezTo>
                      <a:pt x="152977" y="595191"/>
                      <a:pt x="0" y="554522"/>
                      <a:pt x="0" y="476158"/>
                    </a:cubicBezTo>
                    <a:cubicBezTo>
                      <a:pt x="0" y="422593"/>
                      <a:pt x="71522" y="385891"/>
                      <a:pt x="163903" y="369028"/>
                    </a:cubicBezTo>
                    <a:close/>
                    <a:moveTo>
                      <a:pt x="303967" y="100209"/>
                    </a:moveTo>
                    <a:cubicBezTo>
                      <a:pt x="263236" y="100209"/>
                      <a:pt x="230453" y="133943"/>
                      <a:pt x="230453" y="174622"/>
                    </a:cubicBezTo>
                    <a:cubicBezTo>
                      <a:pt x="230453" y="215300"/>
                      <a:pt x="263236" y="248042"/>
                      <a:pt x="303967" y="248042"/>
                    </a:cubicBezTo>
                    <a:cubicBezTo>
                      <a:pt x="344698" y="248042"/>
                      <a:pt x="378475" y="215300"/>
                      <a:pt x="378475" y="174622"/>
                    </a:cubicBezTo>
                    <a:cubicBezTo>
                      <a:pt x="378475" y="133943"/>
                      <a:pt x="344698" y="100209"/>
                      <a:pt x="303967" y="100209"/>
                    </a:cubicBezTo>
                    <a:close/>
                    <a:moveTo>
                      <a:pt x="303967" y="0"/>
                    </a:moveTo>
                    <a:cubicBezTo>
                      <a:pt x="402317" y="0"/>
                      <a:pt x="481792" y="79374"/>
                      <a:pt x="481792" y="177598"/>
                    </a:cubicBezTo>
                    <a:cubicBezTo>
                      <a:pt x="481792" y="248042"/>
                      <a:pt x="390396" y="382976"/>
                      <a:pt x="338737" y="453420"/>
                    </a:cubicBezTo>
                    <a:cubicBezTo>
                      <a:pt x="330790" y="464334"/>
                      <a:pt x="317875" y="471279"/>
                      <a:pt x="303967" y="471279"/>
                    </a:cubicBezTo>
                    <a:cubicBezTo>
                      <a:pt x="290059" y="471279"/>
                      <a:pt x="277144" y="464334"/>
                      <a:pt x="269197" y="453420"/>
                    </a:cubicBezTo>
                    <a:cubicBezTo>
                      <a:pt x="217538" y="382976"/>
                      <a:pt x="126142" y="248042"/>
                      <a:pt x="126142" y="177598"/>
                    </a:cubicBezTo>
                    <a:cubicBezTo>
                      <a:pt x="126142" y="79374"/>
                      <a:pt x="205617" y="0"/>
                      <a:pt x="30396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54" name="组合 53">
              <a:extLst>
                <a:ext uri="{FF2B5EF4-FFF2-40B4-BE49-F238E27FC236}">
                  <a16:creationId xmlns:a16="http://schemas.microsoft.com/office/drawing/2014/main" id="{8198DC25-F1A8-4218-B997-8E8A8FBF8152}"/>
                </a:ext>
              </a:extLst>
            </p:cNvPr>
            <p:cNvGrpSpPr/>
            <p:nvPr/>
          </p:nvGrpSpPr>
          <p:grpSpPr>
            <a:xfrm>
              <a:off x="5606897" y="1856022"/>
              <a:ext cx="1005004" cy="866934"/>
              <a:chOff x="5606897" y="1856022"/>
              <a:chExt cx="1005004" cy="866934"/>
            </a:xfrm>
          </p:grpSpPr>
          <p:sp>
            <p:nvSpPr>
              <p:cNvPr id="55" name="等腰三角形 54">
                <a:extLst>
                  <a:ext uri="{FF2B5EF4-FFF2-40B4-BE49-F238E27FC236}">
                    <a16:creationId xmlns:a16="http://schemas.microsoft.com/office/drawing/2014/main" id="{30CBE4B0-19CD-4AC0-A7CF-DA33D5982966}"/>
                  </a:ext>
                </a:extLst>
              </p:cNvPr>
              <p:cNvSpPr/>
              <p:nvPr/>
            </p:nvSpPr>
            <p:spPr>
              <a:xfrm>
                <a:off x="5606897" y="1856022"/>
                <a:ext cx="1005004" cy="866934"/>
              </a:xfrm>
              <a:prstGeom prst="triangle">
                <a:avLst/>
              </a:prstGeom>
              <a:solidFill>
                <a:schemeClr val="accent2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9465A08A-9C77-40EE-88AC-88C4AB344154}"/>
                  </a:ext>
                </a:extLst>
              </p:cNvPr>
              <p:cNvSpPr/>
              <p:nvPr/>
            </p:nvSpPr>
            <p:spPr bwMode="auto">
              <a:xfrm>
                <a:off x="5957039" y="2283758"/>
                <a:ext cx="304720" cy="298334"/>
              </a:xfrm>
              <a:custGeom>
                <a:avLst/>
                <a:gdLst>
                  <a:gd name="connsiteX0" fmla="*/ 163903 w 607933"/>
                  <a:gd name="connsiteY0" fmla="*/ 369028 h 595191"/>
                  <a:gd name="connsiteX1" fmla="*/ 195691 w 607933"/>
                  <a:gd name="connsiteY1" fmla="*/ 416642 h 595191"/>
                  <a:gd name="connsiteX2" fmla="*/ 52648 w 607933"/>
                  <a:gd name="connsiteY2" fmla="*/ 476158 h 595191"/>
                  <a:gd name="connsiteX3" fmla="*/ 303967 w 607933"/>
                  <a:gd name="connsiteY3" fmla="*/ 542618 h 595191"/>
                  <a:gd name="connsiteX4" fmla="*/ 555285 w 607933"/>
                  <a:gd name="connsiteY4" fmla="*/ 476158 h 595191"/>
                  <a:gd name="connsiteX5" fmla="*/ 413235 w 607933"/>
                  <a:gd name="connsiteY5" fmla="*/ 416642 h 595191"/>
                  <a:gd name="connsiteX6" fmla="*/ 444029 w 607933"/>
                  <a:gd name="connsiteY6" fmla="*/ 369028 h 595191"/>
                  <a:gd name="connsiteX7" fmla="*/ 607933 w 607933"/>
                  <a:gd name="connsiteY7" fmla="*/ 476158 h 595191"/>
                  <a:gd name="connsiteX8" fmla="*/ 303967 w 607933"/>
                  <a:gd name="connsiteY8" fmla="*/ 595191 h 595191"/>
                  <a:gd name="connsiteX9" fmla="*/ 0 w 607933"/>
                  <a:gd name="connsiteY9" fmla="*/ 476158 h 595191"/>
                  <a:gd name="connsiteX10" fmla="*/ 163903 w 607933"/>
                  <a:gd name="connsiteY10" fmla="*/ 369028 h 595191"/>
                  <a:gd name="connsiteX11" fmla="*/ 303967 w 607933"/>
                  <a:gd name="connsiteY11" fmla="*/ 100209 h 595191"/>
                  <a:gd name="connsiteX12" fmla="*/ 230453 w 607933"/>
                  <a:gd name="connsiteY12" fmla="*/ 174622 h 595191"/>
                  <a:gd name="connsiteX13" fmla="*/ 303967 w 607933"/>
                  <a:gd name="connsiteY13" fmla="*/ 248042 h 595191"/>
                  <a:gd name="connsiteX14" fmla="*/ 378475 w 607933"/>
                  <a:gd name="connsiteY14" fmla="*/ 174622 h 595191"/>
                  <a:gd name="connsiteX15" fmla="*/ 303967 w 607933"/>
                  <a:gd name="connsiteY15" fmla="*/ 100209 h 595191"/>
                  <a:gd name="connsiteX16" fmla="*/ 303967 w 607933"/>
                  <a:gd name="connsiteY16" fmla="*/ 0 h 595191"/>
                  <a:gd name="connsiteX17" fmla="*/ 481792 w 607933"/>
                  <a:gd name="connsiteY17" fmla="*/ 177598 h 595191"/>
                  <a:gd name="connsiteX18" fmla="*/ 338737 w 607933"/>
                  <a:gd name="connsiteY18" fmla="*/ 453420 h 595191"/>
                  <a:gd name="connsiteX19" fmla="*/ 303967 w 607933"/>
                  <a:gd name="connsiteY19" fmla="*/ 471279 h 595191"/>
                  <a:gd name="connsiteX20" fmla="*/ 269197 w 607933"/>
                  <a:gd name="connsiteY20" fmla="*/ 453420 h 595191"/>
                  <a:gd name="connsiteX21" fmla="*/ 126142 w 607933"/>
                  <a:gd name="connsiteY21" fmla="*/ 177598 h 595191"/>
                  <a:gd name="connsiteX22" fmla="*/ 303967 w 607933"/>
                  <a:gd name="connsiteY22" fmla="*/ 0 h 5951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607933" h="595191">
                    <a:moveTo>
                      <a:pt x="163903" y="369028"/>
                    </a:moveTo>
                    <a:cubicBezTo>
                      <a:pt x="173837" y="383907"/>
                      <a:pt x="183771" y="399778"/>
                      <a:pt x="195691" y="416642"/>
                    </a:cubicBezTo>
                    <a:cubicBezTo>
                      <a:pt x="101322" y="430529"/>
                      <a:pt x="52648" y="461279"/>
                      <a:pt x="52648" y="476158"/>
                    </a:cubicBezTo>
                    <a:cubicBezTo>
                      <a:pt x="52648" y="495997"/>
                      <a:pt x="138076" y="542618"/>
                      <a:pt x="303967" y="542618"/>
                    </a:cubicBezTo>
                    <a:cubicBezTo>
                      <a:pt x="469857" y="542618"/>
                      <a:pt x="555285" y="495997"/>
                      <a:pt x="555285" y="476158"/>
                    </a:cubicBezTo>
                    <a:cubicBezTo>
                      <a:pt x="555285" y="461279"/>
                      <a:pt x="507604" y="430529"/>
                      <a:pt x="413235" y="416642"/>
                    </a:cubicBezTo>
                    <a:cubicBezTo>
                      <a:pt x="424162" y="399778"/>
                      <a:pt x="434096" y="383907"/>
                      <a:pt x="444029" y="369028"/>
                    </a:cubicBezTo>
                    <a:cubicBezTo>
                      <a:pt x="537405" y="385891"/>
                      <a:pt x="607933" y="422593"/>
                      <a:pt x="607933" y="476158"/>
                    </a:cubicBezTo>
                    <a:cubicBezTo>
                      <a:pt x="607933" y="554522"/>
                      <a:pt x="454956" y="595191"/>
                      <a:pt x="303967" y="595191"/>
                    </a:cubicBezTo>
                    <a:cubicBezTo>
                      <a:pt x="152977" y="595191"/>
                      <a:pt x="0" y="554522"/>
                      <a:pt x="0" y="476158"/>
                    </a:cubicBezTo>
                    <a:cubicBezTo>
                      <a:pt x="0" y="422593"/>
                      <a:pt x="71522" y="385891"/>
                      <a:pt x="163903" y="369028"/>
                    </a:cubicBezTo>
                    <a:close/>
                    <a:moveTo>
                      <a:pt x="303967" y="100209"/>
                    </a:moveTo>
                    <a:cubicBezTo>
                      <a:pt x="263236" y="100209"/>
                      <a:pt x="230453" y="133943"/>
                      <a:pt x="230453" y="174622"/>
                    </a:cubicBezTo>
                    <a:cubicBezTo>
                      <a:pt x="230453" y="215300"/>
                      <a:pt x="263236" y="248042"/>
                      <a:pt x="303967" y="248042"/>
                    </a:cubicBezTo>
                    <a:cubicBezTo>
                      <a:pt x="344698" y="248042"/>
                      <a:pt x="378475" y="215300"/>
                      <a:pt x="378475" y="174622"/>
                    </a:cubicBezTo>
                    <a:cubicBezTo>
                      <a:pt x="378475" y="133943"/>
                      <a:pt x="344698" y="100209"/>
                      <a:pt x="303967" y="100209"/>
                    </a:cubicBezTo>
                    <a:close/>
                    <a:moveTo>
                      <a:pt x="303967" y="0"/>
                    </a:moveTo>
                    <a:cubicBezTo>
                      <a:pt x="402317" y="0"/>
                      <a:pt x="481792" y="79374"/>
                      <a:pt x="481792" y="177598"/>
                    </a:cubicBezTo>
                    <a:cubicBezTo>
                      <a:pt x="481792" y="248042"/>
                      <a:pt x="390396" y="382976"/>
                      <a:pt x="338737" y="453420"/>
                    </a:cubicBezTo>
                    <a:cubicBezTo>
                      <a:pt x="330790" y="464334"/>
                      <a:pt x="317875" y="471279"/>
                      <a:pt x="303967" y="471279"/>
                    </a:cubicBezTo>
                    <a:cubicBezTo>
                      <a:pt x="290059" y="471279"/>
                      <a:pt x="277144" y="464334"/>
                      <a:pt x="269197" y="453420"/>
                    </a:cubicBezTo>
                    <a:cubicBezTo>
                      <a:pt x="217538" y="382976"/>
                      <a:pt x="126142" y="248042"/>
                      <a:pt x="126142" y="177598"/>
                    </a:cubicBezTo>
                    <a:cubicBezTo>
                      <a:pt x="126142" y="79374"/>
                      <a:pt x="205617" y="0"/>
                      <a:pt x="303967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wrap="square" lIns="91440" tIns="45720" rIns="91440" bIns="45720" anchor="ctr">
                <a:normAutofit fontScale="925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</p:grpSp>
      <p:sp>
        <p:nvSpPr>
          <p:cNvPr id="46" name="文本框 45">
            <a:extLst>
              <a:ext uri="{FF2B5EF4-FFF2-40B4-BE49-F238E27FC236}">
                <a16:creationId xmlns:a16="http://schemas.microsoft.com/office/drawing/2014/main" id="{A2F855D3-93A1-409B-9FC3-04D09424A04B}"/>
              </a:ext>
            </a:extLst>
          </p:cNvPr>
          <p:cNvSpPr txBox="1"/>
          <p:nvPr/>
        </p:nvSpPr>
        <p:spPr>
          <a:xfrm rot="17911846">
            <a:off x="4567290" y="3685784"/>
            <a:ext cx="1422978" cy="5483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b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400" b="1">
                <a:solidFill>
                  <a:schemeClr val="bg1"/>
                </a:solidFill>
                <a:cs typeface="+mn-ea"/>
                <a:sym typeface="+mn-lt"/>
              </a:rPr>
              <a:t>ext here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F7CEDD7E-91F8-4CC3-BE05-3BC0237089A7}"/>
              </a:ext>
            </a:extLst>
          </p:cNvPr>
          <p:cNvSpPr txBox="1"/>
          <p:nvPr/>
        </p:nvSpPr>
        <p:spPr>
          <a:xfrm rot="3462409" flipH="1">
            <a:off x="5942697" y="3134757"/>
            <a:ext cx="1422978" cy="5483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b="1">
                <a:solidFill>
                  <a:schemeClr val="bg1"/>
                </a:solidFill>
                <a:cs typeface="+mn-ea"/>
                <a:sym typeface="+mn-lt"/>
              </a:rPr>
              <a:t>T</a:t>
            </a:r>
            <a:r>
              <a:rPr lang="en-US" altLang="zh-CN" sz="100" b="1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altLang="zh-CN" sz="1400" b="1">
                <a:solidFill>
                  <a:schemeClr val="bg1"/>
                </a:solidFill>
                <a:cs typeface="+mn-ea"/>
                <a:sym typeface="+mn-lt"/>
              </a:rPr>
              <a:t>ext here</a:t>
            </a:r>
            <a:endParaRPr lang="en-US" altLang="zh-CN" sz="14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041D6BFC-22EC-436A-BB1D-DBEE49166395}"/>
              </a:ext>
            </a:extLst>
          </p:cNvPr>
          <p:cNvSpPr txBox="1"/>
          <p:nvPr/>
        </p:nvSpPr>
        <p:spPr>
          <a:xfrm flipH="1">
            <a:off x="5535728" y="4598907"/>
            <a:ext cx="1422978" cy="5483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</a:defRPr>
            </a:lvl9pPr>
          </a:lstStyle>
          <a:p>
            <a:pPr algn="ctr">
              <a:spcBef>
                <a:spcPct val="0"/>
              </a:spcBef>
            </a:pPr>
            <a:r>
              <a:rPr lang="en-US" altLang="zh-CN" sz="1400" b="1">
                <a:cs typeface="+mn-ea"/>
                <a:sym typeface="+mn-lt"/>
              </a:rPr>
              <a:t>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400" b="1">
                <a:cs typeface="+mn-ea"/>
                <a:sym typeface="+mn-lt"/>
              </a:rPr>
              <a:t>ext here</a:t>
            </a:r>
            <a:endParaRPr lang="en-US" altLang="zh-CN" sz="1400" b="1" dirty="0">
              <a:cs typeface="+mn-ea"/>
              <a:sym typeface="+mn-lt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E73592F1-ABD0-469A-ADFE-BD9CD80AFC12}"/>
              </a:ext>
            </a:extLst>
          </p:cNvPr>
          <p:cNvSpPr/>
          <p:nvPr/>
        </p:nvSpPr>
        <p:spPr>
          <a:xfrm>
            <a:off x="3732803" y="1287042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6F5F81ED-4E04-4B37-A496-855966A83C6B}"/>
              </a:ext>
            </a:extLst>
          </p:cNvPr>
          <p:cNvSpPr/>
          <p:nvPr/>
        </p:nvSpPr>
        <p:spPr>
          <a:xfrm>
            <a:off x="3732803" y="1788475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DD6AB57C-A86B-4A28-95C9-A8BA6368C060}"/>
              </a:ext>
            </a:extLst>
          </p:cNvPr>
          <p:cNvSpPr/>
          <p:nvPr/>
        </p:nvSpPr>
        <p:spPr>
          <a:xfrm>
            <a:off x="6901891" y="1287042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矩形: 圆角 9">
            <a:extLst>
              <a:ext uri="{FF2B5EF4-FFF2-40B4-BE49-F238E27FC236}">
                <a16:creationId xmlns:a16="http://schemas.microsoft.com/office/drawing/2014/main" id="{E0C60F6D-3CB5-4677-93B3-86CEBD84A443}"/>
              </a:ext>
            </a:extLst>
          </p:cNvPr>
          <p:cNvSpPr/>
          <p:nvPr/>
        </p:nvSpPr>
        <p:spPr>
          <a:xfrm>
            <a:off x="6901891" y="1788475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293B42AF-407E-477F-9F8A-604A74FDF155}"/>
              </a:ext>
            </a:extLst>
          </p:cNvPr>
          <p:cNvSpPr/>
          <p:nvPr/>
        </p:nvSpPr>
        <p:spPr>
          <a:xfrm>
            <a:off x="2137965" y="4454243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43AF5B5F-0306-43B5-948A-475BDCC25725}"/>
              </a:ext>
            </a:extLst>
          </p:cNvPr>
          <p:cNvSpPr/>
          <p:nvPr/>
        </p:nvSpPr>
        <p:spPr>
          <a:xfrm>
            <a:off x="2137965" y="4955676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C7FC2211-BCA8-4D85-9E71-25AF13560DCE}"/>
              </a:ext>
            </a:extLst>
          </p:cNvPr>
          <p:cNvSpPr/>
          <p:nvPr/>
        </p:nvSpPr>
        <p:spPr>
          <a:xfrm>
            <a:off x="2137965" y="5457109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71264F86-8C1F-4AF9-AC76-565813CE091F}"/>
              </a:ext>
            </a:extLst>
          </p:cNvPr>
          <p:cNvSpPr/>
          <p:nvPr/>
        </p:nvSpPr>
        <p:spPr>
          <a:xfrm>
            <a:off x="8512804" y="4454243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04260041-BE72-4DF3-871E-6F09B5E8EBA0}"/>
              </a:ext>
            </a:extLst>
          </p:cNvPr>
          <p:cNvSpPr/>
          <p:nvPr/>
        </p:nvSpPr>
        <p:spPr>
          <a:xfrm>
            <a:off x="8512804" y="4955676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09D10F01-0E02-4D0F-83F8-62E390D9F812}"/>
              </a:ext>
            </a:extLst>
          </p:cNvPr>
          <p:cNvSpPr/>
          <p:nvPr/>
        </p:nvSpPr>
        <p:spPr>
          <a:xfrm>
            <a:off x="8512804" y="5457109"/>
            <a:ext cx="1557308" cy="410188"/>
          </a:xfrm>
          <a:prstGeom prst="roundRect">
            <a:avLst/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200" b="1">
                <a:solidFill>
                  <a:schemeClr val="tx1"/>
                </a:solidFill>
                <a:cs typeface="+mn-ea"/>
                <a:sym typeface="+mn-lt"/>
              </a:rPr>
              <a:t>…</a:t>
            </a:r>
            <a:endParaRPr lang="zh-CN" altLang="en-US" sz="12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grpSp>
        <p:nvGrpSpPr>
          <p:cNvPr id="39" name="组合 38">
            <a:extLst>
              <a:ext uri="{FF2B5EF4-FFF2-40B4-BE49-F238E27FC236}">
                <a16:creationId xmlns:a16="http://schemas.microsoft.com/office/drawing/2014/main" id="{A4F03F21-637B-4973-8C28-4B3881D49399}"/>
              </a:ext>
            </a:extLst>
          </p:cNvPr>
          <p:cNvGrpSpPr/>
          <p:nvPr/>
        </p:nvGrpSpPr>
        <p:grpSpPr>
          <a:xfrm>
            <a:off x="736539" y="2926043"/>
            <a:ext cx="1475629" cy="1005914"/>
            <a:chOff x="4243853" y="2741333"/>
            <a:chExt cx="1475629" cy="1005914"/>
          </a:xfrm>
        </p:grpSpPr>
        <p:sp>
          <p:nvSpPr>
            <p:cNvPr id="43" name="矩形 42">
              <a:extLst>
                <a:ext uri="{FF2B5EF4-FFF2-40B4-BE49-F238E27FC236}">
                  <a16:creationId xmlns:a16="http://schemas.microsoft.com/office/drawing/2014/main" id="{6DDFC265-D8E4-4711-9717-2E604AC5F5AC}"/>
                </a:ext>
              </a:extLst>
            </p:cNvPr>
            <p:cNvSpPr/>
            <p:nvPr/>
          </p:nvSpPr>
          <p:spPr>
            <a:xfrm>
              <a:off x="4243855" y="2741333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solidFill>
                    <a:schemeClr val="tx1"/>
                  </a:solidFill>
                  <a:cs typeface="+mn-ea"/>
                  <a:sym typeface="+mn-lt"/>
                </a:rPr>
                <a:t>内容</a:t>
              </a:r>
            </a:p>
          </p:txBody>
        </p:sp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7A2384CF-75D5-43B8-A443-CB81FE44E83A}"/>
                </a:ext>
              </a:extLst>
            </p:cNvPr>
            <p:cNvSpPr txBox="1"/>
            <p:nvPr/>
          </p:nvSpPr>
          <p:spPr>
            <a:xfrm>
              <a:off x="4243853" y="3151522"/>
              <a:ext cx="1475628" cy="5957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40" name="组合 39">
            <a:extLst>
              <a:ext uri="{FF2B5EF4-FFF2-40B4-BE49-F238E27FC236}">
                <a16:creationId xmlns:a16="http://schemas.microsoft.com/office/drawing/2014/main" id="{31A9ED7B-7121-4B9C-8416-9F15D6F8BEDA}"/>
              </a:ext>
            </a:extLst>
          </p:cNvPr>
          <p:cNvGrpSpPr/>
          <p:nvPr/>
        </p:nvGrpSpPr>
        <p:grpSpPr>
          <a:xfrm>
            <a:off x="1245753" y="2457450"/>
            <a:ext cx="457200" cy="457200"/>
            <a:chOff x="4123765" y="2164043"/>
            <a:chExt cx="457200" cy="457200"/>
          </a:xfrm>
        </p:grpSpPr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5775FC19-2C6F-4EBA-8897-249D3EA70DC4}"/>
                </a:ext>
              </a:extLst>
            </p:cNvPr>
            <p:cNvSpPr/>
            <p:nvPr/>
          </p:nvSpPr>
          <p:spPr>
            <a:xfrm>
              <a:off x="4123765" y="2164043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E71DDAB5-F4F0-49DC-ABCD-E5B5EB93745D}"/>
                </a:ext>
              </a:extLst>
            </p:cNvPr>
            <p:cNvSpPr/>
            <p:nvPr/>
          </p:nvSpPr>
          <p:spPr>
            <a:xfrm>
              <a:off x="4243855" y="2301435"/>
              <a:ext cx="217020" cy="182414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61627725-4485-421D-916E-1ADE0CEE2113}"/>
              </a:ext>
            </a:extLst>
          </p:cNvPr>
          <p:cNvGrpSpPr/>
          <p:nvPr/>
        </p:nvGrpSpPr>
        <p:grpSpPr>
          <a:xfrm>
            <a:off x="2819556" y="2926043"/>
            <a:ext cx="1475629" cy="1005914"/>
            <a:chOff x="4243853" y="2741333"/>
            <a:chExt cx="1475629" cy="1005914"/>
          </a:xfrm>
        </p:grpSpPr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DFE4601E-F0F1-4766-A536-059D886B428C}"/>
                </a:ext>
              </a:extLst>
            </p:cNvPr>
            <p:cNvSpPr/>
            <p:nvPr/>
          </p:nvSpPr>
          <p:spPr>
            <a:xfrm>
              <a:off x="4243855" y="2741333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solidFill>
                    <a:schemeClr val="tx1"/>
                  </a:solidFill>
                  <a:cs typeface="+mn-ea"/>
                  <a:sym typeface="+mn-lt"/>
                </a:rPr>
                <a:t>内容</a:t>
              </a:r>
            </a:p>
          </p:txBody>
        </p:sp>
        <p:sp>
          <p:nvSpPr>
            <p:cNvPr id="38" name="文本框 37">
              <a:extLst>
                <a:ext uri="{FF2B5EF4-FFF2-40B4-BE49-F238E27FC236}">
                  <a16:creationId xmlns:a16="http://schemas.microsoft.com/office/drawing/2014/main" id="{482325D2-C9C2-43C0-884C-E5CDFB111EA8}"/>
                </a:ext>
              </a:extLst>
            </p:cNvPr>
            <p:cNvSpPr txBox="1"/>
            <p:nvPr/>
          </p:nvSpPr>
          <p:spPr>
            <a:xfrm>
              <a:off x="4243853" y="3151522"/>
              <a:ext cx="1475628" cy="5957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>
                  <a:cs typeface="+mn-ea"/>
                  <a:sym typeface="+mn-lt"/>
                </a:rPr>
                <a:t>Sup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porting </a:t>
              </a:r>
              <a:r>
                <a:rPr lang="en-US" altLang="zh-CN" sz="1000" dirty="0">
                  <a:cs typeface="+mn-ea"/>
                  <a:sym typeface="+mn-lt"/>
                </a:rPr>
                <a:t>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64CEAE31-53F6-4F34-8826-A44DFCC12839}"/>
              </a:ext>
            </a:extLst>
          </p:cNvPr>
          <p:cNvGrpSpPr/>
          <p:nvPr/>
        </p:nvGrpSpPr>
        <p:grpSpPr>
          <a:xfrm>
            <a:off x="3328770" y="2457450"/>
            <a:ext cx="457200" cy="457200"/>
            <a:chOff x="4123765" y="2164043"/>
            <a:chExt cx="457200" cy="457200"/>
          </a:xfrm>
        </p:grpSpPr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194272D2-FDDC-4094-AC6A-DBA133D52367}"/>
                </a:ext>
              </a:extLst>
            </p:cNvPr>
            <p:cNvSpPr/>
            <p:nvPr/>
          </p:nvSpPr>
          <p:spPr>
            <a:xfrm>
              <a:off x="4123765" y="2164043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30FE165E-8C5F-4AEB-8DFB-2CDCD33CB242}"/>
                </a:ext>
              </a:extLst>
            </p:cNvPr>
            <p:cNvSpPr/>
            <p:nvPr/>
          </p:nvSpPr>
          <p:spPr>
            <a:xfrm>
              <a:off x="4243855" y="2301435"/>
              <a:ext cx="217020" cy="182414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5FC2D5FD-A874-4D05-9070-11ABFEFBF481}"/>
              </a:ext>
            </a:extLst>
          </p:cNvPr>
          <p:cNvGrpSpPr/>
          <p:nvPr/>
        </p:nvGrpSpPr>
        <p:grpSpPr>
          <a:xfrm>
            <a:off x="7961842" y="2926043"/>
            <a:ext cx="1475629" cy="1005914"/>
            <a:chOff x="4243853" y="2741333"/>
            <a:chExt cx="1475629" cy="1005914"/>
          </a:xfrm>
        </p:grpSpPr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9224C776-F362-4D3F-BC23-91AB35824787}"/>
                </a:ext>
              </a:extLst>
            </p:cNvPr>
            <p:cNvSpPr/>
            <p:nvPr/>
          </p:nvSpPr>
          <p:spPr>
            <a:xfrm>
              <a:off x="4243855" y="2741333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solidFill>
                    <a:schemeClr val="tx1"/>
                  </a:solidFill>
                  <a:cs typeface="+mn-ea"/>
                  <a:sym typeface="+mn-lt"/>
                </a:rPr>
                <a:t>内容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4689B36D-2E21-45A4-B74C-5B69181A3FB4}"/>
                </a:ext>
              </a:extLst>
            </p:cNvPr>
            <p:cNvSpPr txBox="1"/>
            <p:nvPr/>
          </p:nvSpPr>
          <p:spPr>
            <a:xfrm>
              <a:off x="4243853" y="3151522"/>
              <a:ext cx="1475628" cy="5957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>
                  <a:cs typeface="+mn-ea"/>
                  <a:sym typeface="+mn-lt"/>
                </a:rPr>
                <a:t>Supporting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text </a:t>
              </a:r>
              <a:r>
                <a:rPr lang="en-US" altLang="zh-CN" sz="1000" dirty="0">
                  <a:cs typeface="+mn-ea"/>
                  <a:sym typeface="+mn-lt"/>
                </a:rPr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B9C6BF3D-2121-46D3-91BD-0FB81433C9DC}"/>
              </a:ext>
            </a:extLst>
          </p:cNvPr>
          <p:cNvGrpSpPr/>
          <p:nvPr/>
        </p:nvGrpSpPr>
        <p:grpSpPr>
          <a:xfrm>
            <a:off x="8471056" y="2457450"/>
            <a:ext cx="457200" cy="457200"/>
            <a:chOff x="4123765" y="2164043"/>
            <a:chExt cx="457200" cy="457200"/>
          </a:xfrm>
        </p:grpSpPr>
        <p:sp>
          <p:nvSpPr>
            <p:cNvPr id="29" name="椭圆 28">
              <a:extLst>
                <a:ext uri="{FF2B5EF4-FFF2-40B4-BE49-F238E27FC236}">
                  <a16:creationId xmlns:a16="http://schemas.microsoft.com/office/drawing/2014/main" id="{634552D5-4F30-449F-85A5-BAA650715409}"/>
                </a:ext>
              </a:extLst>
            </p:cNvPr>
            <p:cNvSpPr/>
            <p:nvPr/>
          </p:nvSpPr>
          <p:spPr>
            <a:xfrm>
              <a:off x="4123765" y="2164043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7E099DF3-30C0-4993-BAE6-75637D5CB4DC}"/>
                </a:ext>
              </a:extLst>
            </p:cNvPr>
            <p:cNvSpPr/>
            <p:nvPr/>
          </p:nvSpPr>
          <p:spPr>
            <a:xfrm>
              <a:off x="4243855" y="2301435"/>
              <a:ext cx="217020" cy="182414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4E016979-2B66-4442-9CA9-049AFEC30BFD}"/>
              </a:ext>
            </a:extLst>
          </p:cNvPr>
          <p:cNvGrpSpPr/>
          <p:nvPr/>
        </p:nvGrpSpPr>
        <p:grpSpPr>
          <a:xfrm>
            <a:off x="10044859" y="2926043"/>
            <a:ext cx="1475629" cy="1005914"/>
            <a:chOff x="4243853" y="2741333"/>
            <a:chExt cx="1475629" cy="1005914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36134274-B2CE-473A-9B8E-5CC5650E6E67}"/>
                </a:ext>
              </a:extLst>
            </p:cNvPr>
            <p:cNvSpPr/>
            <p:nvPr/>
          </p:nvSpPr>
          <p:spPr>
            <a:xfrm>
              <a:off x="4243855" y="2741333"/>
              <a:ext cx="1475627" cy="410188"/>
            </a:xfrm>
            <a:prstGeom prst="rect">
              <a:avLst/>
            </a:prstGeom>
            <a:no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20000"/>
                </a:lnSpc>
              </a:pPr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solidFill>
                    <a:schemeClr val="tx1"/>
                  </a:solidFill>
                  <a:cs typeface="+mn-ea"/>
                  <a:sym typeface="+mn-lt"/>
                </a:rPr>
                <a:t>内容</a:t>
              </a: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970B27E2-CB51-43F7-895D-D23FE1D221D6}"/>
                </a:ext>
              </a:extLst>
            </p:cNvPr>
            <p:cNvSpPr txBox="1"/>
            <p:nvPr/>
          </p:nvSpPr>
          <p:spPr>
            <a:xfrm>
              <a:off x="4243853" y="3151522"/>
              <a:ext cx="1475628" cy="5957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>
                  <a:cs typeface="+mn-ea"/>
                  <a:sym typeface="+mn-lt"/>
                </a:rPr>
                <a:t>Supporting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text </a:t>
              </a:r>
              <a:r>
                <a:rPr lang="en-US" altLang="zh-CN" sz="1000" dirty="0">
                  <a:cs typeface="+mn-ea"/>
                  <a:sym typeface="+mn-lt"/>
                </a:rPr>
                <a:t>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A58558FF-1FBA-4963-8E13-54CB3620723D}"/>
              </a:ext>
            </a:extLst>
          </p:cNvPr>
          <p:cNvGrpSpPr/>
          <p:nvPr/>
        </p:nvGrpSpPr>
        <p:grpSpPr>
          <a:xfrm>
            <a:off x="10554073" y="2457450"/>
            <a:ext cx="457200" cy="457200"/>
            <a:chOff x="4123765" y="2164043"/>
            <a:chExt cx="457200" cy="457200"/>
          </a:xfrm>
        </p:grpSpPr>
        <p:sp>
          <p:nvSpPr>
            <p:cNvPr id="23" name="椭圆 22">
              <a:extLst>
                <a:ext uri="{FF2B5EF4-FFF2-40B4-BE49-F238E27FC236}">
                  <a16:creationId xmlns:a16="http://schemas.microsoft.com/office/drawing/2014/main" id="{652ACBBB-C7DD-45BB-B104-06EDF48641D3}"/>
                </a:ext>
              </a:extLst>
            </p:cNvPr>
            <p:cNvSpPr/>
            <p:nvPr/>
          </p:nvSpPr>
          <p:spPr>
            <a:xfrm>
              <a:off x="4123765" y="2164043"/>
              <a:ext cx="457200" cy="457200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4E46505-CA44-4F77-B936-E20D4AB92FC5}"/>
                </a:ext>
              </a:extLst>
            </p:cNvPr>
            <p:cNvSpPr/>
            <p:nvPr/>
          </p:nvSpPr>
          <p:spPr>
            <a:xfrm>
              <a:off x="4243855" y="2301435"/>
              <a:ext cx="217020" cy="182414"/>
            </a:xfrm>
            <a:custGeom>
              <a:avLst/>
              <a:gdLst>
                <a:gd name="connsiteX0" fmla="*/ 536415 w 607227"/>
                <a:gd name="connsiteY0" fmla="*/ 12631 h 510399"/>
                <a:gd name="connsiteX1" fmla="*/ 557192 w 607227"/>
                <a:gd name="connsiteY1" fmla="*/ 21221 h 510399"/>
                <a:gd name="connsiteX2" fmla="*/ 598584 w 607227"/>
                <a:gd name="connsiteY2" fmla="*/ 62633 h 510399"/>
                <a:gd name="connsiteX3" fmla="*/ 598584 w 607227"/>
                <a:gd name="connsiteY3" fmla="*/ 104044 h 510399"/>
                <a:gd name="connsiteX4" fmla="*/ 511175 w 607227"/>
                <a:gd name="connsiteY4" fmla="*/ 191324 h 510399"/>
                <a:gd name="connsiteX5" fmla="*/ 444948 w 607227"/>
                <a:gd name="connsiteY5" fmla="*/ 257453 h 510399"/>
                <a:gd name="connsiteX6" fmla="*/ 339441 w 607227"/>
                <a:gd name="connsiteY6" fmla="*/ 362805 h 510399"/>
                <a:gd name="connsiteX7" fmla="*/ 297968 w 607227"/>
                <a:gd name="connsiteY7" fmla="*/ 404217 h 510399"/>
                <a:gd name="connsiteX8" fmla="*/ 277191 w 607227"/>
                <a:gd name="connsiteY8" fmla="*/ 412807 h 510399"/>
                <a:gd name="connsiteX9" fmla="*/ 256495 w 607227"/>
                <a:gd name="connsiteY9" fmla="*/ 404217 h 510399"/>
                <a:gd name="connsiteX10" fmla="*/ 215023 w 607227"/>
                <a:gd name="connsiteY10" fmla="*/ 362805 h 510399"/>
                <a:gd name="connsiteX11" fmla="*/ 138814 w 607227"/>
                <a:gd name="connsiteY11" fmla="*/ 286790 h 510399"/>
                <a:gd name="connsiteX12" fmla="*/ 138814 w 607227"/>
                <a:gd name="connsiteY12" fmla="*/ 245378 h 510399"/>
                <a:gd name="connsiteX13" fmla="*/ 180286 w 607227"/>
                <a:gd name="connsiteY13" fmla="*/ 203967 h 510399"/>
                <a:gd name="connsiteX14" fmla="*/ 201063 w 607227"/>
                <a:gd name="connsiteY14" fmla="*/ 195376 h 510399"/>
                <a:gd name="connsiteX15" fmla="*/ 221759 w 607227"/>
                <a:gd name="connsiteY15" fmla="*/ 203967 h 510399"/>
                <a:gd name="connsiteX16" fmla="*/ 277191 w 607227"/>
                <a:gd name="connsiteY16" fmla="*/ 259317 h 510399"/>
                <a:gd name="connsiteX17" fmla="*/ 444948 w 607227"/>
                <a:gd name="connsiteY17" fmla="*/ 91807 h 510399"/>
                <a:gd name="connsiteX18" fmla="*/ 503951 w 607227"/>
                <a:gd name="connsiteY18" fmla="*/ 32891 h 510399"/>
                <a:gd name="connsiteX19" fmla="*/ 515719 w 607227"/>
                <a:gd name="connsiteY19" fmla="*/ 21221 h 510399"/>
                <a:gd name="connsiteX20" fmla="*/ 536415 w 607227"/>
                <a:gd name="connsiteY20" fmla="*/ 12631 h 510399"/>
                <a:gd name="connsiteX21" fmla="*/ 61847 w 607227"/>
                <a:gd name="connsiteY21" fmla="*/ 0 h 510399"/>
                <a:gd name="connsiteX22" fmla="*/ 449328 w 607227"/>
                <a:gd name="connsiteY22" fmla="*/ 0 h 510399"/>
                <a:gd name="connsiteX23" fmla="*/ 491858 w 607227"/>
                <a:gd name="connsiteY23" fmla="*/ 17019 h 510399"/>
                <a:gd name="connsiteX24" fmla="*/ 442591 w 607227"/>
                <a:gd name="connsiteY24" fmla="*/ 66130 h 510399"/>
                <a:gd name="connsiteX25" fmla="*/ 66230 w 607227"/>
                <a:gd name="connsiteY25" fmla="*/ 66130 h 510399"/>
                <a:gd name="connsiteX26" fmla="*/ 66230 w 607227"/>
                <a:gd name="connsiteY26" fmla="*/ 444269 h 510399"/>
                <a:gd name="connsiteX27" fmla="*/ 444945 w 607227"/>
                <a:gd name="connsiteY27" fmla="*/ 444269 h 510399"/>
                <a:gd name="connsiteX28" fmla="*/ 444945 w 607227"/>
                <a:gd name="connsiteY28" fmla="*/ 285590 h 510399"/>
                <a:gd name="connsiteX29" fmla="*/ 511175 w 607227"/>
                <a:gd name="connsiteY29" fmla="*/ 219460 h 510399"/>
                <a:gd name="connsiteX30" fmla="*/ 511175 w 607227"/>
                <a:gd name="connsiteY30" fmla="*/ 448645 h 510399"/>
                <a:gd name="connsiteX31" fmla="*/ 449328 w 607227"/>
                <a:gd name="connsiteY31" fmla="*/ 510399 h 510399"/>
                <a:gd name="connsiteX32" fmla="*/ 61847 w 607227"/>
                <a:gd name="connsiteY32" fmla="*/ 510399 h 510399"/>
                <a:gd name="connsiteX33" fmla="*/ 0 w 607227"/>
                <a:gd name="connsiteY33" fmla="*/ 448645 h 510399"/>
                <a:gd name="connsiteX34" fmla="*/ 0 w 607227"/>
                <a:gd name="connsiteY34" fmla="*/ 61673 h 510399"/>
                <a:gd name="connsiteX35" fmla="*/ 61847 w 607227"/>
                <a:gd name="connsiteY35" fmla="*/ 0 h 510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</a:cxnLst>
              <a:rect l="l" t="t" r="r" b="b"/>
              <a:pathLst>
                <a:path w="607227" h="510399">
                  <a:moveTo>
                    <a:pt x="536415" y="12631"/>
                  </a:moveTo>
                  <a:cubicBezTo>
                    <a:pt x="543882" y="12631"/>
                    <a:pt x="551430" y="15467"/>
                    <a:pt x="557192" y="21221"/>
                  </a:cubicBezTo>
                  <a:lnTo>
                    <a:pt x="598584" y="62633"/>
                  </a:lnTo>
                  <a:cubicBezTo>
                    <a:pt x="610108" y="74059"/>
                    <a:pt x="610108" y="92618"/>
                    <a:pt x="598584" y="104044"/>
                  </a:cubicBezTo>
                  <a:lnTo>
                    <a:pt x="511175" y="191324"/>
                  </a:lnTo>
                  <a:lnTo>
                    <a:pt x="444948" y="257453"/>
                  </a:lnTo>
                  <a:lnTo>
                    <a:pt x="339441" y="362805"/>
                  </a:lnTo>
                  <a:lnTo>
                    <a:pt x="297968" y="404217"/>
                  </a:lnTo>
                  <a:cubicBezTo>
                    <a:pt x="292206" y="409971"/>
                    <a:pt x="284739" y="412807"/>
                    <a:pt x="277191" y="412807"/>
                  </a:cubicBezTo>
                  <a:cubicBezTo>
                    <a:pt x="269724" y="412807"/>
                    <a:pt x="262177" y="409971"/>
                    <a:pt x="256495" y="404217"/>
                  </a:cubicBezTo>
                  <a:lnTo>
                    <a:pt x="215023" y="362805"/>
                  </a:lnTo>
                  <a:lnTo>
                    <a:pt x="138814" y="286790"/>
                  </a:lnTo>
                  <a:cubicBezTo>
                    <a:pt x="127370" y="275363"/>
                    <a:pt x="127370" y="256805"/>
                    <a:pt x="138814" y="245378"/>
                  </a:cubicBezTo>
                  <a:lnTo>
                    <a:pt x="180286" y="203967"/>
                  </a:lnTo>
                  <a:cubicBezTo>
                    <a:pt x="186049" y="198213"/>
                    <a:pt x="193515" y="195376"/>
                    <a:pt x="201063" y="195376"/>
                  </a:cubicBezTo>
                  <a:cubicBezTo>
                    <a:pt x="208530" y="195376"/>
                    <a:pt x="215997" y="198213"/>
                    <a:pt x="221759" y="203967"/>
                  </a:cubicBezTo>
                  <a:lnTo>
                    <a:pt x="277191" y="259317"/>
                  </a:lnTo>
                  <a:lnTo>
                    <a:pt x="444948" y="91807"/>
                  </a:lnTo>
                  <a:lnTo>
                    <a:pt x="503951" y="32891"/>
                  </a:lnTo>
                  <a:lnTo>
                    <a:pt x="515719" y="21221"/>
                  </a:lnTo>
                  <a:cubicBezTo>
                    <a:pt x="521401" y="15467"/>
                    <a:pt x="528949" y="12631"/>
                    <a:pt x="536415" y="12631"/>
                  </a:cubicBezTo>
                  <a:close/>
                  <a:moveTo>
                    <a:pt x="61847" y="0"/>
                  </a:moveTo>
                  <a:lnTo>
                    <a:pt x="449328" y="0"/>
                  </a:lnTo>
                  <a:cubicBezTo>
                    <a:pt x="465804" y="0"/>
                    <a:pt x="480738" y="6483"/>
                    <a:pt x="491858" y="17019"/>
                  </a:cubicBezTo>
                  <a:lnTo>
                    <a:pt x="442591" y="66130"/>
                  </a:lnTo>
                  <a:lnTo>
                    <a:pt x="66230" y="66130"/>
                  </a:lnTo>
                  <a:lnTo>
                    <a:pt x="66230" y="444269"/>
                  </a:lnTo>
                  <a:lnTo>
                    <a:pt x="444945" y="444269"/>
                  </a:lnTo>
                  <a:lnTo>
                    <a:pt x="444945" y="285590"/>
                  </a:lnTo>
                  <a:lnTo>
                    <a:pt x="511175" y="219460"/>
                  </a:lnTo>
                  <a:lnTo>
                    <a:pt x="511175" y="448645"/>
                  </a:lnTo>
                  <a:cubicBezTo>
                    <a:pt x="511175" y="482683"/>
                    <a:pt x="483417" y="510399"/>
                    <a:pt x="449328" y="510399"/>
                  </a:cubicBezTo>
                  <a:lnTo>
                    <a:pt x="61847" y="510399"/>
                  </a:lnTo>
                  <a:cubicBezTo>
                    <a:pt x="27758" y="510399"/>
                    <a:pt x="0" y="482683"/>
                    <a:pt x="0" y="448645"/>
                  </a:cubicBezTo>
                  <a:lnTo>
                    <a:pt x="0" y="61673"/>
                  </a:lnTo>
                  <a:cubicBezTo>
                    <a:pt x="0" y="27635"/>
                    <a:pt x="27758" y="0"/>
                    <a:pt x="61847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966471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教育建议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DA46BADC-B60B-4B64-947A-F76DFA4460AD}"/>
              </a:ext>
            </a:extLst>
          </p:cNvPr>
          <p:cNvCxnSpPr>
            <a:cxnSpLocks/>
          </p:cNvCxnSpPr>
          <p:nvPr/>
        </p:nvCxnSpPr>
        <p:spPr>
          <a:xfrm>
            <a:off x="669925" y="3810612"/>
            <a:ext cx="34734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89B844CE-60DA-4BFD-8903-D9E736021AC4}"/>
              </a:ext>
            </a:extLst>
          </p:cNvPr>
          <p:cNvSpPr/>
          <p:nvPr/>
        </p:nvSpPr>
        <p:spPr>
          <a:xfrm>
            <a:off x="4267200" y="1981812"/>
            <a:ext cx="1828800" cy="1828800"/>
          </a:xfrm>
          <a:custGeom>
            <a:avLst/>
            <a:gdLst>
              <a:gd name="connsiteX0" fmla="*/ 1828800 w 1828800"/>
              <a:gd name="connsiteY0" fmla="*/ 0 h 1828800"/>
              <a:gd name="connsiteX1" fmla="*/ 1828800 w 1828800"/>
              <a:gd name="connsiteY1" fmla="*/ 828410 h 1828800"/>
              <a:gd name="connsiteX2" fmla="*/ 828410 w 1828800"/>
              <a:gd name="connsiteY2" fmla="*/ 1828800 h 1828800"/>
              <a:gd name="connsiteX3" fmla="*/ 0 w 1828800"/>
              <a:gd name="connsiteY3" fmla="*/ 1828800 h 1828800"/>
              <a:gd name="connsiteX4" fmla="*/ 1828800 w 1828800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8800" h="1828800">
                <a:moveTo>
                  <a:pt x="1828800" y="0"/>
                </a:moveTo>
                <a:lnTo>
                  <a:pt x="1828800" y="828410"/>
                </a:lnTo>
                <a:cubicBezTo>
                  <a:pt x="1276300" y="828410"/>
                  <a:pt x="828410" y="1276300"/>
                  <a:pt x="828410" y="1828800"/>
                </a:cubicBezTo>
                <a:lnTo>
                  <a:pt x="0" y="1828800"/>
                </a:lnTo>
                <a:cubicBezTo>
                  <a:pt x="0" y="818782"/>
                  <a:pt x="818782" y="0"/>
                  <a:pt x="182880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071216FB-78BE-4232-9514-5F344D05BF67}"/>
              </a:ext>
            </a:extLst>
          </p:cNvPr>
          <p:cNvSpPr/>
          <p:nvPr/>
        </p:nvSpPr>
        <p:spPr>
          <a:xfrm>
            <a:off x="6096000" y="1981812"/>
            <a:ext cx="1828800" cy="1828800"/>
          </a:xfrm>
          <a:custGeom>
            <a:avLst/>
            <a:gdLst>
              <a:gd name="connsiteX0" fmla="*/ 0 w 1828800"/>
              <a:gd name="connsiteY0" fmla="*/ 0 h 1828800"/>
              <a:gd name="connsiteX1" fmla="*/ 1828800 w 1828800"/>
              <a:gd name="connsiteY1" fmla="*/ 1828800 h 1828800"/>
              <a:gd name="connsiteX2" fmla="*/ 1000390 w 1828800"/>
              <a:gd name="connsiteY2" fmla="*/ 1828800 h 1828800"/>
              <a:gd name="connsiteX3" fmla="*/ 0 w 1828800"/>
              <a:gd name="connsiteY3" fmla="*/ 82841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28800" h="1828800">
                <a:moveTo>
                  <a:pt x="0" y="0"/>
                </a:moveTo>
                <a:cubicBezTo>
                  <a:pt x="1010018" y="0"/>
                  <a:pt x="1828800" y="818782"/>
                  <a:pt x="1828800" y="1828800"/>
                </a:cubicBezTo>
                <a:lnTo>
                  <a:pt x="1000390" y="1828800"/>
                </a:lnTo>
                <a:cubicBezTo>
                  <a:pt x="1000390" y="1276300"/>
                  <a:pt x="552500" y="828410"/>
                  <a:pt x="0" y="8284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80271364-68D5-45E9-BD88-0FAC44623FFF}"/>
              </a:ext>
            </a:extLst>
          </p:cNvPr>
          <p:cNvSpPr/>
          <p:nvPr/>
        </p:nvSpPr>
        <p:spPr>
          <a:xfrm>
            <a:off x="4267200" y="3810612"/>
            <a:ext cx="1828800" cy="1828800"/>
          </a:xfrm>
          <a:custGeom>
            <a:avLst/>
            <a:gdLst>
              <a:gd name="connsiteX0" fmla="*/ 0 w 1828800"/>
              <a:gd name="connsiteY0" fmla="*/ 0 h 1828800"/>
              <a:gd name="connsiteX1" fmla="*/ 828410 w 1828800"/>
              <a:gd name="connsiteY1" fmla="*/ 0 h 1828800"/>
              <a:gd name="connsiteX2" fmla="*/ 1828800 w 1828800"/>
              <a:gd name="connsiteY2" fmla="*/ 1000390 h 1828800"/>
              <a:gd name="connsiteX3" fmla="*/ 1828800 w 1828800"/>
              <a:gd name="connsiteY3" fmla="*/ 1828800 h 1828800"/>
              <a:gd name="connsiteX4" fmla="*/ 0 w 1828800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8800" h="1828800">
                <a:moveTo>
                  <a:pt x="0" y="0"/>
                </a:moveTo>
                <a:lnTo>
                  <a:pt x="828410" y="0"/>
                </a:lnTo>
                <a:cubicBezTo>
                  <a:pt x="828410" y="552500"/>
                  <a:pt x="1276300" y="1000390"/>
                  <a:pt x="1828800" y="1000390"/>
                </a:cubicBezTo>
                <a:lnTo>
                  <a:pt x="1828800" y="1828800"/>
                </a:lnTo>
                <a:cubicBezTo>
                  <a:pt x="818782" y="1828800"/>
                  <a:pt x="0" y="1010018"/>
                  <a:pt x="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917FBDDF-595F-44CA-B7FF-263D965A4FD2}"/>
              </a:ext>
            </a:extLst>
          </p:cNvPr>
          <p:cNvSpPr/>
          <p:nvPr/>
        </p:nvSpPr>
        <p:spPr>
          <a:xfrm>
            <a:off x="6096000" y="3810612"/>
            <a:ext cx="1828800" cy="1828800"/>
          </a:xfrm>
          <a:custGeom>
            <a:avLst/>
            <a:gdLst>
              <a:gd name="connsiteX0" fmla="*/ 1000390 w 1828800"/>
              <a:gd name="connsiteY0" fmla="*/ 0 h 1828800"/>
              <a:gd name="connsiteX1" fmla="*/ 1828800 w 1828800"/>
              <a:gd name="connsiteY1" fmla="*/ 0 h 1828800"/>
              <a:gd name="connsiteX2" fmla="*/ 0 w 1828800"/>
              <a:gd name="connsiteY2" fmla="*/ 1828800 h 1828800"/>
              <a:gd name="connsiteX3" fmla="*/ 0 w 1828800"/>
              <a:gd name="connsiteY3" fmla="*/ 1000390 h 1828800"/>
              <a:gd name="connsiteX4" fmla="*/ 1000390 w 1828800"/>
              <a:gd name="connsiteY4" fmla="*/ 0 h 1828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8800" h="1828800">
                <a:moveTo>
                  <a:pt x="1000390" y="0"/>
                </a:moveTo>
                <a:lnTo>
                  <a:pt x="1828800" y="0"/>
                </a:lnTo>
                <a:cubicBezTo>
                  <a:pt x="1828800" y="1010018"/>
                  <a:pt x="1010018" y="1828800"/>
                  <a:pt x="0" y="1828800"/>
                </a:cubicBezTo>
                <a:lnTo>
                  <a:pt x="0" y="1000390"/>
                </a:lnTo>
                <a:cubicBezTo>
                  <a:pt x="552500" y="1000390"/>
                  <a:pt x="1000390" y="552500"/>
                  <a:pt x="1000390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弧形 10">
            <a:extLst>
              <a:ext uri="{FF2B5EF4-FFF2-40B4-BE49-F238E27FC236}">
                <a16:creationId xmlns:a16="http://schemas.microsoft.com/office/drawing/2014/main" id="{8739F28E-EABA-44C2-8292-FBA564871727}"/>
              </a:ext>
            </a:extLst>
          </p:cNvPr>
          <p:cNvSpPr/>
          <p:nvPr/>
        </p:nvSpPr>
        <p:spPr>
          <a:xfrm>
            <a:off x="5282736" y="2997348"/>
            <a:ext cx="1626528" cy="1626528"/>
          </a:xfrm>
          <a:prstGeom prst="arc">
            <a:avLst>
              <a:gd name="adj1" fmla="val 16200000"/>
              <a:gd name="adj2" fmla="val 12593692"/>
            </a:avLst>
          </a:prstGeom>
          <a:ln w="101600" cap="rnd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3D59817A-C56A-4B32-97B6-B281EBF7A8BB}"/>
              </a:ext>
            </a:extLst>
          </p:cNvPr>
          <p:cNvSpPr txBox="1"/>
          <p:nvPr/>
        </p:nvSpPr>
        <p:spPr>
          <a:xfrm>
            <a:off x="5353053" y="3919089"/>
            <a:ext cx="1485898" cy="323165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normAutofit/>
          </a:bodyPr>
          <a:lstStyle/>
          <a:p>
            <a:pPr algn="ctr">
              <a:spcBef>
                <a:spcPct val="0"/>
              </a:spcBef>
            </a:pPr>
            <a:r>
              <a:rPr lang="en-US" altLang="zh-CN" sz="1200">
                <a:cs typeface="+mn-ea"/>
                <a:sym typeface="+mn-lt"/>
              </a:rPr>
              <a:t>…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xt</a:t>
            </a:r>
            <a:endParaRPr lang="en-US" altLang="zh-CN" sz="1200" dirty="0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5F7CADFF-8E57-4883-9FCD-4503AFDC63ED}"/>
              </a:ext>
            </a:extLst>
          </p:cNvPr>
          <p:cNvSpPr/>
          <p:nvPr/>
        </p:nvSpPr>
        <p:spPr>
          <a:xfrm>
            <a:off x="5643795" y="3391769"/>
            <a:ext cx="904414" cy="523006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/>
          <a:p>
            <a:pPr lvl="0" algn="ctr"/>
            <a:r>
              <a:rPr lang="en-US" altLang="zh-CN" sz="2400" b="1">
                <a:solidFill>
                  <a:sysClr val="windowText" lastClr="000000"/>
                </a:solidFill>
                <a:cs typeface="+mn-ea"/>
                <a:sym typeface="+mn-lt"/>
              </a:rPr>
              <a:t>9</a:t>
            </a:r>
            <a:r>
              <a:rPr lang="en-US" altLang="zh-CN" sz="100" b="1">
                <a:solidFill>
                  <a:sysClr val="windowText" lastClr="000000"/>
                </a:solidFill>
                <a:cs typeface="+mn-ea"/>
                <a:sym typeface="+mn-lt"/>
              </a:rPr>
              <a:t> </a:t>
            </a:r>
            <a:r>
              <a:rPr lang="en-US" altLang="zh-CN" sz="2400" b="1">
                <a:solidFill>
                  <a:sysClr val="windowText" lastClr="000000"/>
                </a:solidFill>
                <a:cs typeface="+mn-ea"/>
                <a:sym typeface="+mn-lt"/>
              </a:rPr>
              <a:t>5%</a:t>
            </a:r>
          </a:p>
        </p:txBody>
      </p:sp>
      <p:sp>
        <p:nvSpPr>
          <p:cNvPr id="37" name="椭圆 36">
            <a:extLst>
              <a:ext uri="{FF2B5EF4-FFF2-40B4-BE49-F238E27FC236}">
                <a16:creationId xmlns:a16="http://schemas.microsoft.com/office/drawing/2014/main" id="{DE10733D-B809-4EE5-BEE5-77A36133EEE9}"/>
              </a:ext>
            </a:extLst>
          </p:cNvPr>
          <p:cNvSpPr/>
          <p:nvPr/>
        </p:nvSpPr>
        <p:spPr>
          <a:xfrm>
            <a:off x="4456743" y="2360898"/>
            <a:ext cx="636450" cy="636450"/>
          </a:xfrm>
          <a:prstGeom prst="ellipse">
            <a:avLst/>
          </a:prstGeom>
          <a:solidFill>
            <a:schemeClr val="accent1"/>
          </a:solidFill>
          <a:ln w="381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4FA2BB7B-1612-442A-A376-AA336644F8BA}"/>
              </a:ext>
            </a:extLst>
          </p:cNvPr>
          <p:cNvSpPr/>
          <p:nvPr/>
        </p:nvSpPr>
        <p:spPr>
          <a:xfrm>
            <a:off x="4630519" y="2519291"/>
            <a:ext cx="288898" cy="319665"/>
          </a:xfrm>
          <a:custGeom>
            <a:avLst/>
            <a:gdLst>
              <a:gd name="connsiteX0" fmla="*/ 481589 w 546670"/>
              <a:gd name="connsiteY0" fmla="*/ 391913 h 604887"/>
              <a:gd name="connsiteX1" fmla="*/ 451551 w 546670"/>
              <a:gd name="connsiteY1" fmla="*/ 406688 h 604887"/>
              <a:gd name="connsiteX2" fmla="*/ 375678 w 546670"/>
              <a:gd name="connsiteY2" fmla="*/ 429906 h 604887"/>
              <a:gd name="connsiteX3" fmla="*/ 352427 w 546670"/>
              <a:gd name="connsiteY3" fmla="*/ 505670 h 604887"/>
              <a:gd name="connsiteX4" fmla="*/ 337631 w 546670"/>
              <a:gd name="connsiteY4" fmla="*/ 535554 h 604887"/>
              <a:gd name="connsiteX5" fmla="*/ 481589 w 546670"/>
              <a:gd name="connsiteY5" fmla="*/ 391913 h 604887"/>
              <a:gd name="connsiteX6" fmla="*/ 384133 w 546670"/>
              <a:gd name="connsiteY6" fmla="*/ 226609 h 604887"/>
              <a:gd name="connsiteX7" fmla="*/ 388361 w 546670"/>
              <a:gd name="connsiteY7" fmla="*/ 302373 h 604887"/>
              <a:gd name="connsiteX8" fmla="*/ 384133 w 546670"/>
              <a:gd name="connsiteY8" fmla="*/ 378137 h 604887"/>
              <a:gd name="connsiteX9" fmla="*/ 432639 w 546670"/>
              <a:gd name="connsiteY9" fmla="*/ 362029 h 604887"/>
              <a:gd name="connsiteX10" fmla="*/ 498165 w 546670"/>
              <a:gd name="connsiteY10" fmla="*/ 302373 h 604887"/>
              <a:gd name="connsiteX11" fmla="*/ 432639 w 546670"/>
              <a:gd name="connsiteY11" fmla="*/ 242717 h 604887"/>
              <a:gd name="connsiteX12" fmla="*/ 384133 w 546670"/>
              <a:gd name="connsiteY12" fmla="*/ 226609 h 604887"/>
              <a:gd name="connsiteX13" fmla="*/ 135706 w 546670"/>
              <a:gd name="connsiteY13" fmla="*/ 175523 h 604887"/>
              <a:gd name="connsiteX14" fmla="*/ 126473 w 546670"/>
              <a:gd name="connsiteY14" fmla="*/ 178856 h 604887"/>
              <a:gd name="connsiteX15" fmla="*/ 123248 w 546670"/>
              <a:gd name="connsiteY15" fmla="*/ 182633 h 604887"/>
              <a:gd name="connsiteX16" fmla="*/ 123248 w 546670"/>
              <a:gd name="connsiteY16" fmla="*/ 192075 h 604887"/>
              <a:gd name="connsiteX17" fmla="*/ 121801 w 546670"/>
              <a:gd name="connsiteY17" fmla="*/ 193075 h 604887"/>
              <a:gd name="connsiteX18" fmla="*/ 120912 w 546670"/>
              <a:gd name="connsiteY18" fmla="*/ 196075 h 604887"/>
              <a:gd name="connsiteX19" fmla="*/ 122914 w 546670"/>
              <a:gd name="connsiteY19" fmla="*/ 216404 h 604887"/>
              <a:gd name="connsiteX20" fmla="*/ 125695 w 546670"/>
              <a:gd name="connsiteY20" fmla="*/ 219737 h 604887"/>
              <a:gd name="connsiteX21" fmla="*/ 126807 w 546670"/>
              <a:gd name="connsiteY21" fmla="*/ 219848 h 604887"/>
              <a:gd name="connsiteX22" fmla="*/ 129810 w 546670"/>
              <a:gd name="connsiteY22" fmla="*/ 218293 h 604887"/>
              <a:gd name="connsiteX23" fmla="*/ 140600 w 546670"/>
              <a:gd name="connsiteY23" fmla="*/ 204073 h 604887"/>
              <a:gd name="connsiteX24" fmla="*/ 141379 w 546670"/>
              <a:gd name="connsiteY24" fmla="*/ 201740 h 604887"/>
              <a:gd name="connsiteX25" fmla="*/ 141379 w 546670"/>
              <a:gd name="connsiteY25" fmla="*/ 178856 h 604887"/>
              <a:gd name="connsiteX26" fmla="*/ 139488 w 546670"/>
              <a:gd name="connsiteY26" fmla="*/ 175634 h 604887"/>
              <a:gd name="connsiteX27" fmla="*/ 135706 w 546670"/>
              <a:gd name="connsiteY27" fmla="*/ 175523 h 604887"/>
              <a:gd name="connsiteX28" fmla="*/ 87208 w 546670"/>
              <a:gd name="connsiteY28" fmla="*/ 175523 h 604887"/>
              <a:gd name="connsiteX29" fmla="*/ 83537 w 546670"/>
              <a:gd name="connsiteY29" fmla="*/ 175634 h 604887"/>
              <a:gd name="connsiteX30" fmla="*/ 81646 w 546670"/>
              <a:gd name="connsiteY30" fmla="*/ 178856 h 604887"/>
              <a:gd name="connsiteX31" fmla="*/ 81646 w 546670"/>
              <a:gd name="connsiteY31" fmla="*/ 201740 h 604887"/>
              <a:gd name="connsiteX32" fmla="*/ 82425 w 546670"/>
              <a:gd name="connsiteY32" fmla="*/ 204073 h 604887"/>
              <a:gd name="connsiteX33" fmla="*/ 93103 w 546670"/>
              <a:gd name="connsiteY33" fmla="*/ 218293 h 604887"/>
              <a:gd name="connsiteX34" fmla="*/ 96218 w 546670"/>
              <a:gd name="connsiteY34" fmla="*/ 219848 h 604887"/>
              <a:gd name="connsiteX35" fmla="*/ 97219 w 546670"/>
              <a:gd name="connsiteY35" fmla="*/ 219737 h 604887"/>
              <a:gd name="connsiteX36" fmla="*/ 100000 w 546670"/>
              <a:gd name="connsiteY36" fmla="*/ 216404 h 604887"/>
              <a:gd name="connsiteX37" fmla="*/ 102113 w 546670"/>
              <a:gd name="connsiteY37" fmla="*/ 196075 h 604887"/>
              <a:gd name="connsiteX38" fmla="*/ 101112 w 546670"/>
              <a:gd name="connsiteY38" fmla="*/ 193075 h 604887"/>
              <a:gd name="connsiteX39" fmla="*/ 99666 w 546670"/>
              <a:gd name="connsiteY39" fmla="*/ 192075 h 604887"/>
              <a:gd name="connsiteX40" fmla="*/ 99666 w 546670"/>
              <a:gd name="connsiteY40" fmla="*/ 182633 h 604887"/>
              <a:gd name="connsiteX41" fmla="*/ 96551 w 546670"/>
              <a:gd name="connsiteY41" fmla="*/ 178856 h 604887"/>
              <a:gd name="connsiteX42" fmla="*/ 87208 w 546670"/>
              <a:gd name="connsiteY42" fmla="*/ 175523 h 604887"/>
              <a:gd name="connsiteX43" fmla="*/ 93214 w 546670"/>
              <a:gd name="connsiteY43" fmla="*/ 72653 h 604887"/>
              <a:gd name="connsiteX44" fmla="*/ 66629 w 546670"/>
              <a:gd name="connsiteY44" fmla="*/ 79652 h 604887"/>
              <a:gd name="connsiteX45" fmla="*/ 64516 w 546670"/>
              <a:gd name="connsiteY45" fmla="*/ 83096 h 604887"/>
              <a:gd name="connsiteX46" fmla="*/ 64516 w 546670"/>
              <a:gd name="connsiteY46" fmla="*/ 89872 h 604887"/>
              <a:gd name="connsiteX47" fmla="*/ 62959 w 546670"/>
              <a:gd name="connsiteY47" fmla="*/ 89872 h 604887"/>
              <a:gd name="connsiteX48" fmla="*/ 59065 w 546670"/>
              <a:gd name="connsiteY48" fmla="*/ 93761 h 604887"/>
              <a:gd name="connsiteX49" fmla="*/ 59065 w 546670"/>
              <a:gd name="connsiteY49" fmla="*/ 99982 h 604887"/>
              <a:gd name="connsiteX50" fmla="*/ 60845 w 546670"/>
              <a:gd name="connsiteY50" fmla="*/ 103203 h 604887"/>
              <a:gd name="connsiteX51" fmla="*/ 64516 w 546670"/>
              <a:gd name="connsiteY51" fmla="*/ 105647 h 604887"/>
              <a:gd name="connsiteX52" fmla="*/ 64738 w 546670"/>
              <a:gd name="connsiteY52" fmla="*/ 107202 h 604887"/>
              <a:gd name="connsiteX53" fmla="*/ 78531 w 546670"/>
              <a:gd name="connsiteY53" fmla="*/ 138974 h 604887"/>
              <a:gd name="connsiteX54" fmla="*/ 101223 w 546670"/>
              <a:gd name="connsiteY54" fmla="*/ 158526 h 604887"/>
              <a:gd name="connsiteX55" fmla="*/ 121801 w 546670"/>
              <a:gd name="connsiteY55" fmla="*/ 158526 h 604887"/>
              <a:gd name="connsiteX56" fmla="*/ 144493 w 546670"/>
              <a:gd name="connsiteY56" fmla="*/ 138974 h 604887"/>
              <a:gd name="connsiteX57" fmla="*/ 158175 w 546670"/>
              <a:gd name="connsiteY57" fmla="*/ 107202 h 604887"/>
              <a:gd name="connsiteX58" fmla="*/ 158398 w 546670"/>
              <a:gd name="connsiteY58" fmla="*/ 105647 h 604887"/>
              <a:gd name="connsiteX59" fmla="*/ 162179 w 546670"/>
              <a:gd name="connsiteY59" fmla="*/ 103203 h 604887"/>
              <a:gd name="connsiteX60" fmla="*/ 163848 w 546670"/>
              <a:gd name="connsiteY60" fmla="*/ 100093 h 604887"/>
              <a:gd name="connsiteX61" fmla="*/ 163848 w 546670"/>
              <a:gd name="connsiteY61" fmla="*/ 93761 h 604887"/>
              <a:gd name="connsiteX62" fmla="*/ 160066 w 546670"/>
              <a:gd name="connsiteY62" fmla="*/ 89872 h 604887"/>
              <a:gd name="connsiteX63" fmla="*/ 157953 w 546670"/>
              <a:gd name="connsiteY63" fmla="*/ 89872 h 604887"/>
              <a:gd name="connsiteX64" fmla="*/ 156729 w 546670"/>
              <a:gd name="connsiteY64" fmla="*/ 88650 h 604887"/>
              <a:gd name="connsiteX65" fmla="*/ 153058 w 546670"/>
              <a:gd name="connsiteY65" fmla="*/ 88317 h 604887"/>
              <a:gd name="connsiteX66" fmla="*/ 137930 w 546670"/>
              <a:gd name="connsiteY66" fmla="*/ 91761 h 604887"/>
              <a:gd name="connsiteX67" fmla="*/ 114460 w 546670"/>
              <a:gd name="connsiteY67" fmla="*/ 81207 h 604887"/>
              <a:gd name="connsiteX68" fmla="*/ 93214 w 546670"/>
              <a:gd name="connsiteY68" fmla="*/ 72653 h 604887"/>
              <a:gd name="connsiteX69" fmla="*/ 337631 w 546670"/>
              <a:gd name="connsiteY69" fmla="*/ 69193 h 604887"/>
              <a:gd name="connsiteX70" fmla="*/ 352427 w 546670"/>
              <a:gd name="connsiteY70" fmla="*/ 99187 h 604887"/>
              <a:gd name="connsiteX71" fmla="*/ 375678 w 546670"/>
              <a:gd name="connsiteY71" fmla="*/ 174952 h 604887"/>
              <a:gd name="connsiteX72" fmla="*/ 451551 w 546670"/>
              <a:gd name="connsiteY72" fmla="*/ 198059 h 604887"/>
              <a:gd name="connsiteX73" fmla="*/ 481589 w 546670"/>
              <a:gd name="connsiteY73" fmla="*/ 212945 h 604887"/>
              <a:gd name="connsiteX74" fmla="*/ 337631 w 546670"/>
              <a:gd name="connsiteY74" fmla="*/ 69193 h 604887"/>
              <a:gd name="connsiteX75" fmla="*/ 247963 w 546670"/>
              <a:gd name="connsiteY75" fmla="*/ 4093 h 604887"/>
              <a:gd name="connsiteX76" fmla="*/ 546670 w 546670"/>
              <a:gd name="connsiteY76" fmla="*/ 302373 h 604887"/>
              <a:gd name="connsiteX77" fmla="*/ 247963 w 546670"/>
              <a:gd name="connsiteY77" fmla="*/ 600653 h 604887"/>
              <a:gd name="connsiteX78" fmla="*/ 242957 w 546670"/>
              <a:gd name="connsiteY78" fmla="*/ 600653 h 604887"/>
              <a:gd name="connsiteX79" fmla="*/ 242957 w 546670"/>
              <a:gd name="connsiteY79" fmla="*/ 551662 h 604887"/>
              <a:gd name="connsiteX80" fmla="*/ 247963 w 546670"/>
              <a:gd name="connsiteY80" fmla="*/ 552217 h 604887"/>
              <a:gd name="connsiteX81" fmla="*/ 307705 w 546670"/>
              <a:gd name="connsiteY81" fmla="*/ 486674 h 604887"/>
              <a:gd name="connsiteX82" fmla="*/ 323836 w 546670"/>
              <a:gd name="connsiteY82" fmla="*/ 438238 h 604887"/>
              <a:gd name="connsiteX83" fmla="*/ 247963 w 546670"/>
              <a:gd name="connsiteY83" fmla="*/ 442570 h 604887"/>
              <a:gd name="connsiteX84" fmla="*/ 242957 w 546670"/>
              <a:gd name="connsiteY84" fmla="*/ 442570 h 604887"/>
              <a:gd name="connsiteX85" fmla="*/ 242957 w 546670"/>
              <a:gd name="connsiteY85" fmla="*/ 394024 h 604887"/>
              <a:gd name="connsiteX86" fmla="*/ 247963 w 546670"/>
              <a:gd name="connsiteY86" fmla="*/ 394135 h 604887"/>
              <a:gd name="connsiteX87" fmla="*/ 333848 w 546670"/>
              <a:gd name="connsiteY87" fmla="*/ 388136 h 604887"/>
              <a:gd name="connsiteX88" fmla="*/ 339856 w 546670"/>
              <a:gd name="connsiteY88" fmla="*/ 302373 h 604887"/>
              <a:gd name="connsiteX89" fmla="*/ 333848 w 546670"/>
              <a:gd name="connsiteY89" fmla="*/ 216722 h 604887"/>
              <a:gd name="connsiteX90" fmla="*/ 247963 w 546670"/>
              <a:gd name="connsiteY90" fmla="*/ 210723 h 604887"/>
              <a:gd name="connsiteX91" fmla="*/ 242957 w 546670"/>
              <a:gd name="connsiteY91" fmla="*/ 210723 h 604887"/>
              <a:gd name="connsiteX92" fmla="*/ 242957 w 546670"/>
              <a:gd name="connsiteY92" fmla="*/ 162287 h 604887"/>
              <a:gd name="connsiteX93" fmla="*/ 247963 w 546670"/>
              <a:gd name="connsiteY93" fmla="*/ 162176 h 604887"/>
              <a:gd name="connsiteX94" fmla="*/ 323836 w 546670"/>
              <a:gd name="connsiteY94" fmla="*/ 166509 h 604887"/>
              <a:gd name="connsiteX95" fmla="*/ 307705 w 546670"/>
              <a:gd name="connsiteY95" fmla="*/ 118073 h 604887"/>
              <a:gd name="connsiteX96" fmla="*/ 247963 w 546670"/>
              <a:gd name="connsiteY96" fmla="*/ 52640 h 604887"/>
              <a:gd name="connsiteX97" fmla="*/ 242957 w 546670"/>
              <a:gd name="connsiteY97" fmla="*/ 53196 h 604887"/>
              <a:gd name="connsiteX98" fmla="*/ 242957 w 546670"/>
              <a:gd name="connsiteY98" fmla="*/ 4204 h 604887"/>
              <a:gd name="connsiteX99" fmla="*/ 247963 w 546670"/>
              <a:gd name="connsiteY99" fmla="*/ 4093 h 604887"/>
              <a:gd name="connsiteX100" fmla="*/ 101779 w 546670"/>
              <a:gd name="connsiteY100" fmla="*/ 0 h 604887"/>
              <a:gd name="connsiteX101" fmla="*/ 121134 w 546670"/>
              <a:gd name="connsiteY101" fmla="*/ 0 h 604887"/>
              <a:gd name="connsiteX102" fmla="*/ 180978 w 546670"/>
              <a:gd name="connsiteY102" fmla="*/ 59656 h 604887"/>
              <a:gd name="connsiteX103" fmla="*/ 180978 w 546670"/>
              <a:gd name="connsiteY103" fmla="*/ 78430 h 604887"/>
              <a:gd name="connsiteX104" fmla="*/ 184315 w 546670"/>
              <a:gd name="connsiteY104" fmla="*/ 89095 h 604887"/>
              <a:gd name="connsiteX105" fmla="*/ 184315 w 546670"/>
              <a:gd name="connsiteY105" fmla="*/ 102426 h 604887"/>
              <a:gd name="connsiteX106" fmla="*/ 177752 w 546670"/>
              <a:gd name="connsiteY106" fmla="*/ 116534 h 604887"/>
              <a:gd name="connsiteX107" fmla="*/ 173859 w 546670"/>
              <a:gd name="connsiteY107" fmla="*/ 126643 h 604887"/>
              <a:gd name="connsiteX108" fmla="*/ 161067 w 546670"/>
              <a:gd name="connsiteY108" fmla="*/ 150861 h 604887"/>
              <a:gd name="connsiteX109" fmla="*/ 152502 w 546670"/>
              <a:gd name="connsiteY109" fmla="*/ 161748 h 604887"/>
              <a:gd name="connsiteX110" fmla="*/ 160400 w 546670"/>
              <a:gd name="connsiteY110" fmla="*/ 167747 h 604887"/>
              <a:gd name="connsiteX111" fmla="*/ 204115 w 546670"/>
              <a:gd name="connsiteY111" fmla="*/ 176412 h 604887"/>
              <a:gd name="connsiteX112" fmla="*/ 223692 w 546670"/>
              <a:gd name="connsiteY112" fmla="*/ 200407 h 604887"/>
              <a:gd name="connsiteX113" fmla="*/ 223692 w 546670"/>
              <a:gd name="connsiteY113" fmla="*/ 358044 h 604887"/>
              <a:gd name="connsiteX114" fmla="*/ 221467 w 546670"/>
              <a:gd name="connsiteY114" fmla="*/ 368265 h 604887"/>
              <a:gd name="connsiteX115" fmla="*/ 221467 w 546670"/>
              <a:gd name="connsiteY115" fmla="*/ 385484 h 604887"/>
              <a:gd name="connsiteX116" fmla="*/ 200110 w 546670"/>
              <a:gd name="connsiteY116" fmla="*/ 406813 h 604887"/>
              <a:gd name="connsiteX117" fmla="*/ 188431 w 546670"/>
              <a:gd name="connsiteY117" fmla="*/ 403369 h 604887"/>
              <a:gd name="connsiteX118" fmla="*/ 188431 w 546670"/>
              <a:gd name="connsiteY118" fmla="*/ 566561 h 604887"/>
              <a:gd name="connsiteX119" fmla="*/ 150166 w 546670"/>
              <a:gd name="connsiteY119" fmla="*/ 604887 h 604887"/>
              <a:gd name="connsiteX120" fmla="*/ 111902 w 546670"/>
              <a:gd name="connsiteY120" fmla="*/ 566561 h 604887"/>
              <a:gd name="connsiteX121" fmla="*/ 73526 w 546670"/>
              <a:gd name="connsiteY121" fmla="*/ 604887 h 604887"/>
              <a:gd name="connsiteX122" fmla="*/ 35261 w 546670"/>
              <a:gd name="connsiteY122" fmla="*/ 566561 h 604887"/>
              <a:gd name="connsiteX123" fmla="*/ 35261 w 546670"/>
              <a:gd name="connsiteY123" fmla="*/ 403369 h 604887"/>
              <a:gd name="connsiteX124" fmla="*/ 23582 w 546670"/>
              <a:gd name="connsiteY124" fmla="*/ 406813 h 604887"/>
              <a:gd name="connsiteX125" fmla="*/ 2225 w 546670"/>
              <a:gd name="connsiteY125" fmla="*/ 385484 h 604887"/>
              <a:gd name="connsiteX126" fmla="*/ 2225 w 546670"/>
              <a:gd name="connsiteY126" fmla="*/ 368265 h 604887"/>
              <a:gd name="connsiteX127" fmla="*/ 0 w 546670"/>
              <a:gd name="connsiteY127" fmla="*/ 358044 h 604887"/>
              <a:gd name="connsiteX128" fmla="*/ 0 w 546670"/>
              <a:gd name="connsiteY128" fmla="*/ 200296 h 604887"/>
              <a:gd name="connsiteX129" fmla="*/ 19577 w 546670"/>
              <a:gd name="connsiteY129" fmla="*/ 176412 h 604887"/>
              <a:gd name="connsiteX130" fmla="*/ 62625 w 546670"/>
              <a:gd name="connsiteY130" fmla="*/ 167747 h 604887"/>
              <a:gd name="connsiteX131" fmla="*/ 70522 w 546670"/>
              <a:gd name="connsiteY131" fmla="*/ 161748 h 604887"/>
              <a:gd name="connsiteX132" fmla="*/ 61957 w 546670"/>
              <a:gd name="connsiteY132" fmla="*/ 150861 h 604887"/>
              <a:gd name="connsiteX133" fmla="*/ 49054 w 546670"/>
              <a:gd name="connsiteY133" fmla="*/ 126643 h 604887"/>
              <a:gd name="connsiteX134" fmla="*/ 45161 w 546670"/>
              <a:gd name="connsiteY134" fmla="*/ 116534 h 604887"/>
              <a:gd name="connsiteX135" fmla="*/ 38598 w 546670"/>
              <a:gd name="connsiteY135" fmla="*/ 102426 h 604887"/>
              <a:gd name="connsiteX136" fmla="*/ 38598 w 546670"/>
              <a:gd name="connsiteY136" fmla="*/ 89095 h 604887"/>
              <a:gd name="connsiteX137" fmla="*/ 42047 w 546670"/>
              <a:gd name="connsiteY137" fmla="*/ 78430 h 604887"/>
              <a:gd name="connsiteX138" fmla="*/ 42047 w 546670"/>
              <a:gd name="connsiteY138" fmla="*/ 59656 h 604887"/>
              <a:gd name="connsiteX139" fmla="*/ 101779 w 546670"/>
              <a:gd name="connsiteY139" fmla="*/ 0 h 60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46670" h="604887">
                <a:moveTo>
                  <a:pt x="481589" y="391913"/>
                </a:moveTo>
                <a:cubicBezTo>
                  <a:pt x="472466" y="397134"/>
                  <a:pt x="462454" y="402133"/>
                  <a:pt x="451551" y="406688"/>
                </a:cubicBezTo>
                <a:cubicBezTo>
                  <a:pt x="428967" y="416242"/>
                  <a:pt x="403269" y="424018"/>
                  <a:pt x="375678" y="429906"/>
                </a:cubicBezTo>
                <a:cubicBezTo>
                  <a:pt x="369782" y="457457"/>
                  <a:pt x="361995" y="483008"/>
                  <a:pt x="352427" y="505670"/>
                </a:cubicBezTo>
                <a:cubicBezTo>
                  <a:pt x="347866" y="516446"/>
                  <a:pt x="342860" y="526444"/>
                  <a:pt x="337631" y="535554"/>
                </a:cubicBezTo>
                <a:cubicBezTo>
                  <a:pt x="403602" y="510225"/>
                  <a:pt x="456112" y="457790"/>
                  <a:pt x="481589" y="391913"/>
                </a:cubicBezTo>
                <a:close/>
                <a:moveTo>
                  <a:pt x="384133" y="226609"/>
                </a:moveTo>
                <a:cubicBezTo>
                  <a:pt x="386915" y="251049"/>
                  <a:pt x="388361" y="276489"/>
                  <a:pt x="388361" y="302373"/>
                </a:cubicBezTo>
                <a:cubicBezTo>
                  <a:pt x="388361" y="328369"/>
                  <a:pt x="386915" y="353697"/>
                  <a:pt x="384133" y="378137"/>
                </a:cubicBezTo>
                <a:cubicBezTo>
                  <a:pt x="401600" y="373694"/>
                  <a:pt x="417842" y="368250"/>
                  <a:pt x="432639" y="362029"/>
                </a:cubicBezTo>
                <a:cubicBezTo>
                  <a:pt x="473690" y="344699"/>
                  <a:pt x="498165" y="322370"/>
                  <a:pt x="498165" y="302373"/>
                </a:cubicBezTo>
                <a:cubicBezTo>
                  <a:pt x="498165" y="282377"/>
                  <a:pt x="473690" y="260047"/>
                  <a:pt x="432639" y="242717"/>
                </a:cubicBezTo>
                <a:cubicBezTo>
                  <a:pt x="417842" y="236496"/>
                  <a:pt x="401600" y="231164"/>
                  <a:pt x="384133" y="226609"/>
                </a:cubicBezTo>
                <a:close/>
                <a:moveTo>
                  <a:pt x="135706" y="175523"/>
                </a:moveTo>
                <a:cubicBezTo>
                  <a:pt x="132591" y="177189"/>
                  <a:pt x="129477" y="178300"/>
                  <a:pt x="126473" y="178856"/>
                </a:cubicBezTo>
                <a:cubicBezTo>
                  <a:pt x="124582" y="179189"/>
                  <a:pt x="123248" y="180744"/>
                  <a:pt x="123248" y="182633"/>
                </a:cubicBezTo>
                <a:lnTo>
                  <a:pt x="123248" y="192075"/>
                </a:lnTo>
                <a:cubicBezTo>
                  <a:pt x="122691" y="192298"/>
                  <a:pt x="122246" y="192631"/>
                  <a:pt x="121801" y="193075"/>
                </a:cubicBezTo>
                <a:cubicBezTo>
                  <a:pt x="121134" y="193964"/>
                  <a:pt x="120689" y="194964"/>
                  <a:pt x="120912" y="196075"/>
                </a:cubicBezTo>
                <a:lnTo>
                  <a:pt x="122914" y="216404"/>
                </a:lnTo>
                <a:cubicBezTo>
                  <a:pt x="123136" y="217960"/>
                  <a:pt x="124249" y="219293"/>
                  <a:pt x="125695" y="219737"/>
                </a:cubicBezTo>
                <a:cubicBezTo>
                  <a:pt x="126028" y="219737"/>
                  <a:pt x="126473" y="219848"/>
                  <a:pt x="126807" y="219848"/>
                </a:cubicBezTo>
                <a:cubicBezTo>
                  <a:pt x="127919" y="219848"/>
                  <a:pt x="129032" y="219293"/>
                  <a:pt x="129810" y="218293"/>
                </a:cubicBezTo>
                <a:lnTo>
                  <a:pt x="140600" y="204073"/>
                </a:lnTo>
                <a:cubicBezTo>
                  <a:pt x="141045" y="203407"/>
                  <a:pt x="141379" y="202629"/>
                  <a:pt x="141379" y="201740"/>
                </a:cubicBezTo>
                <a:lnTo>
                  <a:pt x="141379" y="178856"/>
                </a:lnTo>
                <a:cubicBezTo>
                  <a:pt x="141379" y="177523"/>
                  <a:pt x="140600" y="176301"/>
                  <a:pt x="139488" y="175634"/>
                </a:cubicBezTo>
                <a:cubicBezTo>
                  <a:pt x="138375" y="174968"/>
                  <a:pt x="136929" y="174856"/>
                  <a:pt x="135706" y="175523"/>
                </a:cubicBezTo>
                <a:close/>
                <a:moveTo>
                  <a:pt x="87208" y="175523"/>
                </a:moveTo>
                <a:cubicBezTo>
                  <a:pt x="86095" y="174856"/>
                  <a:pt x="84649" y="174968"/>
                  <a:pt x="83537" y="175634"/>
                </a:cubicBezTo>
                <a:cubicBezTo>
                  <a:pt x="82313" y="176301"/>
                  <a:pt x="81646" y="177523"/>
                  <a:pt x="81646" y="178856"/>
                </a:cubicBezTo>
                <a:lnTo>
                  <a:pt x="81646" y="201740"/>
                </a:lnTo>
                <a:cubicBezTo>
                  <a:pt x="81646" y="202629"/>
                  <a:pt x="81868" y="203407"/>
                  <a:pt x="82425" y="204073"/>
                </a:cubicBezTo>
                <a:lnTo>
                  <a:pt x="93103" y="218293"/>
                </a:lnTo>
                <a:cubicBezTo>
                  <a:pt x="93882" y="219293"/>
                  <a:pt x="94994" y="219848"/>
                  <a:pt x="96218" y="219848"/>
                </a:cubicBezTo>
                <a:cubicBezTo>
                  <a:pt x="96551" y="219848"/>
                  <a:pt x="96885" y="219848"/>
                  <a:pt x="97219" y="219737"/>
                </a:cubicBezTo>
                <a:cubicBezTo>
                  <a:pt x="98776" y="219293"/>
                  <a:pt x="99888" y="217960"/>
                  <a:pt x="100000" y="216404"/>
                </a:cubicBezTo>
                <a:lnTo>
                  <a:pt x="102113" y="196075"/>
                </a:lnTo>
                <a:cubicBezTo>
                  <a:pt x="102224" y="194964"/>
                  <a:pt x="101891" y="193964"/>
                  <a:pt x="101112" y="193075"/>
                </a:cubicBezTo>
                <a:cubicBezTo>
                  <a:pt x="100778" y="192631"/>
                  <a:pt x="100222" y="192298"/>
                  <a:pt x="99666" y="192075"/>
                </a:cubicBezTo>
                <a:lnTo>
                  <a:pt x="99666" y="182633"/>
                </a:lnTo>
                <a:cubicBezTo>
                  <a:pt x="99666" y="180744"/>
                  <a:pt x="98331" y="179189"/>
                  <a:pt x="96551" y="178856"/>
                </a:cubicBezTo>
                <a:cubicBezTo>
                  <a:pt x="93548" y="178300"/>
                  <a:pt x="90433" y="177189"/>
                  <a:pt x="87208" y="175523"/>
                </a:cubicBezTo>
                <a:close/>
                <a:moveTo>
                  <a:pt x="93214" y="72653"/>
                </a:moveTo>
                <a:cubicBezTo>
                  <a:pt x="82313" y="72653"/>
                  <a:pt x="71857" y="77097"/>
                  <a:pt x="66629" y="79652"/>
                </a:cubicBezTo>
                <a:cubicBezTo>
                  <a:pt x="65294" y="80319"/>
                  <a:pt x="64516" y="81652"/>
                  <a:pt x="64516" y="83096"/>
                </a:cubicBezTo>
                <a:lnTo>
                  <a:pt x="64516" y="89872"/>
                </a:lnTo>
                <a:lnTo>
                  <a:pt x="62959" y="89872"/>
                </a:lnTo>
                <a:cubicBezTo>
                  <a:pt x="60845" y="89872"/>
                  <a:pt x="59065" y="91650"/>
                  <a:pt x="59065" y="93761"/>
                </a:cubicBezTo>
                <a:lnTo>
                  <a:pt x="59065" y="99982"/>
                </a:lnTo>
                <a:cubicBezTo>
                  <a:pt x="59065" y="101315"/>
                  <a:pt x="59733" y="102537"/>
                  <a:pt x="60845" y="103203"/>
                </a:cubicBezTo>
                <a:lnTo>
                  <a:pt x="64516" y="105647"/>
                </a:lnTo>
                <a:lnTo>
                  <a:pt x="64738" y="107202"/>
                </a:lnTo>
                <a:cubicBezTo>
                  <a:pt x="65962" y="116423"/>
                  <a:pt x="71079" y="128199"/>
                  <a:pt x="78531" y="138974"/>
                </a:cubicBezTo>
                <a:cubicBezTo>
                  <a:pt x="87875" y="152527"/>
                  <a:pt x="96663" y="158526"/>
                  <a:pt x="101223" y="158526"/>
                </a:cubicBezTo>
                <a:lnTo>
                  <a:pt x="121801" y="158526"/>
                </a:lnTo>
                <a:cubicBezTo>
                  <a:pt x="126362" y="158526"/>
                  <a:pt x="135150" y="152527"/>
                  <a:pt x="144493" y="138974"/>
                </a:cubicBezTo>
                <a:cubicBezTo>
                  <a:pt x="151835" y="128199"/>
                  <a:pt x="156951" y="116423"/>
                  <a:pt x="158175" y="107202"/>
                </a:cubicBezTo>
                <a:lnTo>
                  <a:pt x="158398" y="105647"/>
                </a:lnTo>
                <a:lnTo>
                  <a:pt x="162179" y="103203"/>
                </a:lnTo>
                <a:cubicBezTo>
                  <a:pt x="163181" y="102537"/>
                  <a:pt x="163848" y="101315"/>
                  <a:pt x="163848" y="100093"/>
                </a:cubicBezTo>
                <a:lnTo>
                  <a:pt x="163848" y="93761"/>
                </a:lnTo>
                <a:cubicBezTo>
                  <a:pt x="163848" y="91650"/>
                  <a:pt x="162179" y="89872"/>
                  <a:pt x="160066" y="89872"/>
                </a:cubicBezTo>
                <a:lnTo>
                  <a:pt x="157953" y="89872"/>
                </a:lnTo>
                <a:cubicBezTo>
                  <a:pt x="157619" y="89428"/>
                  <a:pt x="157285" y="88984"/>
                  <a:pt x="156729" y="88650"/>
                </a:cubicBezTo>
                <a:cubicBezTo>
                  <a:pt x="155617" y="87984"/>
                  <a:pt x="154282" y="87873"/>
                  <a:pt x="153058" y="88317"/>
                </a:cubicBezTo>
                <a:cubicBezTo>
                  <a:pt x="147942" y="90650"/>
                  <a:pt x="142825" y="91761"/>
                  <a:pt x="137930" y="91761"/>
                </a:cubicBezTo>
                <a:cubicBezTo>
                  <a:pt x="129254" y="91761"/>
                  <a:pt x="121357" y="88206"/>
                  <a:pt x="114460" y="81207"/>
                </a:cubicBezTo>
                <a:cubicBezTo>
                  <a:pt x="109010" y="75542"/>
                  <a:pt x="101779" y="72653"/>
                  <a:pt x="93214" y="72653"/>
                </a:cubicBezTo>
                <a:close/>
                <a:moveTo>
                  <a:pt x="337631" y="69193"/>
                </a:moveTo>
                <a:cubicBezTo>
                  <a:pt x="342860" y="78302"/>
                  <a:pt x="347866" y="88300"/>
                  <a:pt x="352427" y="99187"/>
                </a:cubicBezTo>
                <a:cubicBezTo>
                  <a:pt x="361995" y="121739"/>
                  <a:pt x="369782" y="147290"/>
                  <a:pt x="375678" y="174952"/>
                </a:cubicBezTo>
                <a:cubicBezTo>
                  <a:pt x="403269" y="180728"/>
                  <a:pt x="428967" y="188505"/>
                  <a:pt x="451551" y="198059"/>
                </a:cubicBezTo>
                <a:cubicBezTo>
                  <a:pt x="462454" y="202724"/>
                  <a:pt x="472466" y="207612"/>
                  <a:pt x="481589" y="212945"/>
                </a:cubicBezTo>
                <a:cubicBezTo>
                  <a:pt x="456112" y="147068"/>
                  <a:pt x="403602" y="94633"/>
                  <a:pt x="337631" y="69193"/>
                </a:cubicBezTo>
                <a:close/>
                <a:moveTo>
                  <a:pt x="247963" y="4093"/>
                </a:moveTo>
                <a:cubicBezTo>
                  <a:pt x="412725" y="4093"/>
                  <a:pt x="546670" y="137958"/>
                  <a:pt x="546670" y="302373"/>
                </a:cubicBezTo>
                <a:cubicBezTo>
                  <a:pt x="546670" y="466899"/>
                  <a:pt x="412725" y="600653"/>
                  <a:pt x="247963" y="600653"/>
                </a:cubicBezTo>
                <a:cubicBezTo>
                  <a:pt x="246295" y="600653"/>
                  <a:pt x="244626" y="600653"/>
                  <a:pt x="242957" y="600653"/>
                </a:cubicBezTo>
                <a:lnTo>
                  <a:pt x="242957" y="551662"/>
                </a:lnTo>
                <a:cubicBezTo>
                  <a:pt x="244626" y="551995"/>
                  <a:pt x="246295" y="552217"/>
                  <a:pt x="247963" y="552217"/>
                </a:cubicBezTo>
                <a:cubicBezTo>
                  <a:pt x="268100" y="552217"/>
                  <a:pt x="290350" y="527666"/>
                  <a:pt x="307705" y="486674"/>
                </a:cubicBezTo>
                <a:cubicBezTo>
                  <a:pt x="314046" y="472010"/>
                  <a:pt x="319386" y="455679"/>
                  <a:pt x="323836" y="438238"/>
                </a:cubicBezTo>
                <a:cubicBezTo>
                  <a:pt x="299472" y="441126"/>
                  <a:pt x="273996" y="442570"/>
                  <a:pt x="247963" y="442570"/>
                </a:cubicBezTo>
                <a:cubicBezTo>
                  <a:pt x="246295" y="442570"/>
                  <a:pt x="244626" y="442570"/>
                  <a:pt x="242957" y="442570"/>
                </a:cubicBezTo>
                <a:lnTo>
                  <a:pt x="242957" y="394024"/>
                </a:lnTo>
                <a:cubicBezTo>
                  <a:pt x="244626" y="394024"/>
                  <a:pt x="246295" y="394135"/>
                  <a:pt x="247963" y="394135"/>
                </a:cubicBezTo>
                <a:cubicBezTo>
                  <a:pt x="277778" y="394135"/>
                  <a:pt x="306703" y="392024"/>
                  <a:pt x="333848" y="388136"/>
                </a:cubicBezTo>
                <a:cubicBezTo>
                  <a:pt x="337742" y="361029"/>
                  <a:pt x="339856" y="332146"/>
                  <a:pt x="339856" y="302373"/>
                </a:cubicBezTo>
                <a:cubicBezTo>
                  <a:pt x="339856" y="272712"/>
                  <a:pt x="337742" y="243828"/>
                  <a:pt x="333848" y="216722"/>
                </a:cubicBezTo>
                <a:cubicBezTo>
                  <a:pt x="306703" y="212723"/>
                  <a:pt x="277778" y="210723"/>
                  <a:pt x="247963" y="210723"/>
                </a:cubicBezTo>
                <a:cubicBezTo>
                  <a:pt x="246295" y="210723"/>
                  <a:pt x="244626" y="210723"/>
                  <a:pt x="242957" y="210723"/>
                </a:cubicBezTo>
                <a:lnTo>
                  <a:pt x="242957" y="162287"/>
                </a:lnTo>
                <a:cubicBezTo>
                  <a:pt x="244626" y="162287"/>
                  <a:pt x="246295" y="162176"/>
                  <a:pt x="247963" y="162176"/>
                </a:cubicBezTo>
                <a:cubicBezTo>
                  <a:pt x="273996" y="162176"/>
                  <a:pt x="299472" y="163731"/>
                  <a:pt x="323836" y="166509"/>
                </a:cubicBezTo>
                <a:cubicBezTo>
                  <a:pt x="319386" y="149067"/>
                  <a:pt x="314046" y="132848"/>
                  <a:pt x="307705" y="118073"/>
                </a:cubicBezTo>
                <a:cubicBezTo>
                  <a:pt x="290350" y="77080"/>
                  <a:pt x="268100" y="52640"/>
                  <a:pt x="247963" y="52640"/>
                </a:cubicBezTo>
                <a:cubicBezTo>
                  <a:pt x="246295" y="52640"/>
                  <a:pt x="244626" y="52862"/>
                  <a:pt x="242957" y="53196"/>
                </a:cubicBezTo>
                <a:lnTo>
                  <a:pt x="242957" y="4204"/>
                </a:lnTo>
                <a:cubicBezTo>
                  <a:pt x="244626" y="4204"/>
                  <a:pt x="246295" y="4093"/>
                  <a:pt x="247963" y="4093"/>
                </a:cubicBezTo>
                <a:close/>
                <a:moveTo>
                  <a:pt x="101779" y="0"/>
                </a:moveTo>
                <a:lnTo>
                  <a:pt x="121134" y="0"/>
                </a:lnTo>
                <a:cubicBezTo>
                  <a:pt x="154171" y="0"/>
                  <a:pt x="180978" y="26773"/>
                  <a:pt x="180978" y="59656"/>
                </a:cubicBezTo>
                <a:lnTo>
                  <a:pt x="180978" y="78430"/>
                </a:lnTo>
                <a:cubicBezTo>
                  <a:pt x="183203" y="81541"/>
                  <a:pt x="184315" y="85318"/>
                  <a:pt x="184315" y="89095"/>
                </a:cubicBezTo>
                <a:lnTo>
                  <a:pt x="184315" y="102426"/>
                </a:lnTo>
                <a:cubicBezTo>
                  <a:pt x="184315" y="107869"/>
                  <a:pt x="181868" y="113090"/>
                  <a:pt x="177752" y="116534"/>
                </a:cubicBezTo>
                <a:cubicBezTo>
                  <a:pt x="176751" y="119867"/>
                  <a:pt x="175416" y="123311"/>
                  <a:pt x="173859" y="126643"/>
                </a:cubicBezTo>
                <a:cubicBezTo>
                  <a:pt x="170856" y="134753"/>
                  <a:pt x="166406" y="143085"/>
                  <a:pt x="161067" y="150861"/>
                </a:cubicBezTo>
                <a:cubicBezTo>
                  <a:pt x="158842" y="154083"/>
                  <a:pt x="155839" y="157860"/>
                  <a:pt x="152502" y="161748"/>
                </a:cubicBezTo>
                <a:cubicBezTo>
                  <a:pt x="155505" y="163192"/>
                  <a:pt x="158175" y="165192"/>
                  <a:pt x="160400" y="167747"/>
                </a:cubicBezTo>
                <a:lnTo>
                  <a:pt x="204115" y="176412"/>
                </a:lnTo>
                <a:cubicBezTo>
                  <a:pt x="215461" y="178745"/>
                  <a:pt x="223692" y="188743"/>
                  <a:pt x="223692" y="200407"/>
                </a:cubicBezTo>
                <a:lnTo>
                  <a:pt x="223692" y="358044"/>
                </a:lnTo>
                <a:cubicBezTo>
                  <a:pt x="223692" y="361710"/>
                  <a:pt x="222913" y="365154"/>
                  <a:pt x="221467" y="368265"/>
                </a:cubicBezTo>
                <a:lnTo>
                  <a:pt x="221467" y="385484"/>
                </a:lnTo>
                <a:cubicBezTo>
                  <a:pt x="221467" y="397259"/>
                  <a:pt x="211901" y="406813"/>
                  <a:pt x="200110" y="406813"/>
                </a:cubicBezTo>
                <a:cubicBezTo>
                  <a:pt x="195772" y="406813"/>
                  <a:pt x="191879" y="405591"/>
                  <a:pt x="188431" y="403369"/>
                </a:cubicBezTo>
                <a:lnTo>
                  <a:pt x="188431" y="566561"/>
                </a:lnTo>
                <a:cubicBezTo>
                  <a:pt x="188431" y="587668"/>
                  <a:pt x="171301" y="604887"/>
                  <a:pt x="150166" y="604887"/>
                </a:cubicBezTo>
                <a:cubicBezTo>
                  <a:pt x="129032" y="604887"/>
                  <a:pt x="111902" y="587668"/>
                  <a:pt x="111902" y="566561"/>
                </a:cubicBezTo>
                <a:cubicBezTo>
                  <a:pt x="111902" y="587668"/>
                  <a:pt x="94772" y="604887"/>
                  <a:pt x="73526" y="604887"/>
                </a:cubicBezTo>
                <a:cubicBezTo>
                  <a:pt x="52391" y="604887"/>
                  <a:pt x="35261" y="587668"/>
                  <a:pt x="35261" y="566561"/>
                </a:cubicBezTo>
                <a:lnTo>
                  <a:pt x="35261" y="403369"/>
                </a:lnTo>
                <a:cubicBezTo>
                  <a:pt x="31924" y="405591"/>
                  <a:pt x="27920" y="406813"/>
                  <a:pt x="23582" y="406813"/>
                </a:cubicBezTo>
                <a:cubicBezTo>
                  <a:pt x="11791" y="406813"/>
                  <a:pt x="2225" y="397259"/>
                  <a:pt x="2225" y="385484"/>
                </a:cubicBezTo>
                <a:lnTo>
                  <a:pt x="2225" y="368265"/>
                </a:lnTo>
                <a:cubicBezTo>
                  <a:pt x="779" y="365154"/>
                  <a:pt x="0" y="361710"/>
                  <a:pt x="0" y="358044"/>
                </a:cubicBezTo>
                <a:lnTo>
                  <a:pt x="0" y="200296"/>
                </a:lnTo>
                <a:cubicBezTo>
                  <a:pt x="0" y="188743"/>
                  <a:pt x="8231" y="178745"/>
                  <a:pt x="19577" y="176412"/>
                </a:cubicBezTo>
                <a:lnTo>
                  <a:pt x="62625" y="167747"/>
                </a:lnTo>
                <a:cubicBezTo>
                  <a:pt x="64850" y="165192"/>
                  <a:pt x="67519" y="163192"/>
                  <a:pt x="70522" y="161748"/>
                </a:cubicBezTo>
                <a:cubicBezTo>
                  <a:pt x="67074" y="157971"/>
                  <a:pt x="64182" y="154083"/>
                  <a:pt x="61957" y="150861"/>
                </a:cubicBezTo>
                <a:cubicBezTo>
                  <a:pt x="56618" y="143085"/>
                  <a:pt x="52169" y="134753"/>
                  <a:pt x="49054" y="126643"/>
                </a:cubicBezTo>
                <a:cubicBezTo>
                  <a:pt x="47497" y="123311"/>
                  <a:pt x="46273" y="119867"/>
                  <a:pt x="45161" y="116534"/>
                </a:cubicBezTo>
                <a:cubicBezTo>
                  <a:pt x="41045" y="113090"/>
                  <a:pt x="38598" y="107869"/>
                  <a:pt x="38598" y="102426"/>
                </a:cubicBezTo>
                <a:lnTo>
                  <a:pt x="38598" y="89095"/>
                </a:lnTo>
                <a:cubicBezTo>
                  <a:pt x="38598" y="85318"/>
                  <a:pt x="39822" y="81541"/>
                  <a:pt x="42047" y="78430"/>
                </a:cubicBezTo>
                <a:lnTo>
                  <a:pt x="42047" y="59656"/>
                </a:lnTo>
                <a:cubicBezTo>
                  <a:pt x="42047" y="26773"/>
                  <a:pt x="68854" y="0"/>
                  <a:pt x="10177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椭圆 34">
            <a:extLst>
              <a:ext uri="{FF2B5EF4-FFF2-40B4-BE49-F238E27FC236}">
                <a16:creationId xmlns:a16="http://schemas.microsoft.com/office/drawing/2014/main" id="{DEA5D0FD-E46F-4887-AF23-769BDC3216AB}"/>
              </a:ext>
            </a:extLst>
          </p:cNvPr>
          <p:cNvSpPr/>
          <p:nvPr/>
        </p:nvSpPr>
        <p:spPr>
          <a:xfrm>
            <a:off x="7111536" y="2360898"/>
            <a:ext cx="636450" cy="636450"/>
          </a:xfrm>
          <a:prstGeom prst="ellipse">
            <a:avLst/>
          </a:prstGeom>
          <a:solidFill>
            <a:schemeClr val="accent1"/>
          </a:solidFill>
          <a:ln w="381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C4EBF9A7-C54B-4F6A-AB81-FA33D90D89A0}"/>
              </a:ext>
            </a:extLst>
          </p:cNvPr>
          <p:cNvSpPr/>
          <p:nvPr/>
        </p:nvSpPr>
        <p:spPr>
          <a:xfrm>
            <a:off x="7285312" y="2519291"/>
            <a:ext cx="288898" cy="319665"/>
          </a:xfrm>
          <a:custGeom>
            <a:avLst/>
            <a:gdLst>
              <a:gd name="connsiteX0" fmla="*/ 481589 w 546670"/>
              <a:gd name="connsiteY0" fmla="*/ 391913 h 604887"/>
              <a:gd name="connsiteX1" fmla="*/ 451551 w 546670"/>
              <a:gd name="connsiteY1" fmla="*/ 406688 h 604887"/>
              <a:gd name="connsiteX2" fmla="*/ 375678 w 546670"/>
              <a:gd name="connsiteY2" fmla="*/ 429906 h 604887"/>
              <a:gd name="connsiteX3" fmla="*/ 352427 w 546670"/>
              <a:gd name="connsiteY3" fmla="*/ 505670 h 604887"/>
              <a:gd name="connsiteX4" fmla="*/ 337631 w 546670"/>
              <a:gd name="connsiteY4" fmla="*/ 535554 h 604887"/>
              <a:gd name="connsiteX5" fmla="*/ 481589 w 546670"/>
              <a:gd name="connsiteY5" fmla="*/ 391913 h 604887"/>
              <a:gd name="connsiteX6" fmla="*/ 384133 w 546670"/>
              <a:gd name="connsiteY6" fmla="*/ 226609 h 604887"/>
              <a:gd name="connsiteX7" fmla="*/ 388361 w 546670"/>
              <a:gd name="connsiteY7" fmla="*/ 302373 h 604887"/>
              <a:gd name="connsiteX8" fmla="*/ 384133 w 546670"/>
              <a:gd name="connsiteY8" fmla="*/ 378137 h 604887"/>
              <a:gd name="connsiteX9" fmla="*/ 432639 w 546670"/>
              <a:gd name="connsiteY9" fmla="*/ 362029 h 604887"/>
              <a:gd name="connsiteX10" fmla="*/ 498165 w 546670"/>
              <a:gd name="connsiteY10" fmla="*/ 302373 h 604887"/>
              <a:gd name="connsiteX11" fmla="*/ 432639 w 546670"/>
              <a:gd name="connsiteY11" fmla="*/ 242717 h 604887"/>
              <a:gd name="connsiteX12" fmla="*/ 384133 w 546670"/>
              <a:gd name="connsiteY12" fmla="*/ 226609 h 604887"/>
              <a:gd name="connsiteX13" fmla="*/ 135706 w 546670"/>
              <a:gd name="connsiteY13" fmla="*/ 175523 h 604887"/>
              <a:gd name="connsiteX14" fmla="*/ 126473 w 546670"/>
              <a:gd name="connsiteY14" fmla="*/ 178856 h 604887"/>
              <a:gd name="connsiteX15" fmla="*/ 123248 w 546670"/>
              <a:gd name="connsiteY15" fmla="*/ 182633 h 604887"/>
              <a:gd name="connsiteX16" fmla="*/ 123248 w 546670"/>
              <a:gd name="connsiteY16" fmla="*/ 192075 h 604887"/>
              <a:gd name="connsiteX17" fmla="*/ 121801 w 546670"/>
              <a:gd name="connsiteY17" fmla="*/ 193075 h 604887"/>
              <a:gd name="connsiteX18" fmla="*/ 120912 w 546670"/>
              <a:gd name="connsiteY18" fmla="*/ 196075 h 604887"/>
              <a:gd name="connsiteX19" fmla="*/ 122914 w 546670"/>
              <a:gd name="connsiteY19" fmla="*/ 216404 h 604887"/>
              <a:gd name="connsiteX20" fmla="*/ 125695 w 546670"/>
              <a:gd name="connsiteY20" fmla="*/ 219737 h 604887"/>
              <a:gd name="connsiteX21" fmla="*/ 126807 w 546670"/>
              <a:gd name="connsiteY21" fmla="*/ 219848 h 604887"/>
              <a:gd name="connsiteX22" fmla="*/ 129810 w 546670"/>
              <a:gd name="connsiteY22" fmla="*/ 218293 h 604887"/>
              <a:gd name="connsiteX23" fmla="*/ 140600 w 546670"/>
              <a:gd name="connsiteY23" fmla="*/ 204073 h 604887"/>
              <a:gd name="connsiteX24" fmla="*/ 141379 w 546670"/>
              <a:gd name="connsiteY24" fmla="*/ 201740 h 604887"/>
              <a:gd name="connsiteX25" fmla="*/ 141379 w 546670"/>
              <a:gd name="connsiteY25" fmla="*/ 178856 h 604887"/>
              <a:gd name="connsiteX26" fmla="*/ 139488 w 546670"/>
              <a:gd name="connsiteY26" fmla="*/ 175634 h 604887"/>
              <a:gd name="connsiteX27" fmla="*/ 135706 w 546670"/>
              <a:gd name="connsiteY27" fmla="*/ 175523 h 604887"/>
              <a:gd name="connsiteX28" fmla="*/ 87208 w 546670"/>
              <a:gd name="connsiteY28" fmla="*/ 175523 h 604887"/>
              <a:gd name="connsiteX29" fmla="*/ 83537 w 546670"/>
              <a:gd name="connsiteY29" fmla="*/ 175634 h 604887"/>
              <a:gd name="connsiteX30" fmla="*/ 81646 w 546670"/>
              <a:gd name="connsiteY30" fmla="*/ 178856 h 604887"/>
              <a:gd name="connsiteX31" fmla="*/ 81646 w 546670"/>
              <a:gd name="connsiteY31" fmla="*/ 201740 h 604887"/>
              <a:gd name="connsiteX32" fmla="*/ 82425 w 546670"/>
              <a:gd name="connsiteY32" fmla="*/ 204073 h 604887"/>
              <a:gd name="connsiteX33" fmla="*/ 93103 w 546670"/>
              <a:gd name="connsiteY33" fmla="*/ 218293 h 604887"/>
              <a:gd name="connsiteX34" fmla="*/ 96218 w 546670"/>
              <a:gd name="connsiteY34" fmla="*/ 219848 h 604887"/>
              <a:gd name="connsiteX35" fmla="*/ 97219 w 546670"/>
              <a:gd name="connsiteY35" fmla="*/ 219737 h 604887"/>
              <a:gd name="connsiteX36" fmla="*/ 100000 w 546670"/>
              <a:gd name="connsiteY36" fmla="*/ 216404 h 604887"/>
              <a:gd name="connsiteX37" fmla="*/ 102113 w 546670"/>
              <a:gd name="connsiteY37" fmla="*/ 196075 h 604887"/>
              <a:gd name="connsiteX38" fmla="*/ 101112 w 546670"/>
              <a:gd name="connsiteY38" fmla="*/ 193075 h 604887"/>
              <a:gd name="connsiteX39" fmla="*/ 99666 w 546670"/>
              <a:gd name="connsiteY39" fmla="*/ 192075 h 604887"/>
              <a:gd name="connsiteX40" fmla="*/ 99666 w 546670"/>
              <a:gd name="connsiteY40" fmla="*/ 182633 h 604887"/>
              <a:gd name="connsiteX41" fmla="*/ 96551 w 546670"/>
              <a:gd name="connsiteY41" fmla="*/ 178856 h 604887"/>
              <a:gd name="connsiteX42" fmla="*/ 87208 w 546670"/>
              <a:gd name="connsiteY42" fmla="*/ 175523 h 604887"/>
              <a:gd name="connsiteX43" fmla="*/ 93214 w 546670"/>
              <a:gd name="connsiteY43" fmla="*/ 72653 h 604887"/>
              <a:gd name="connsiteX44" fmla="*/ 66629 w 546670"/>
              <a:gd name="connsiteY44" fmla="*/ 79652 h 604887"/>
              <a:gd name="connsiteX45" fmla="*/ 64516 w 546670"/>
              <a:gd name="connsiteY45" fmla="*/ 83096 h 604887"/>
              <a:gd name="connsiteX46" fmla="*/ 64516 w 546670"/>
              <a:gd name="connsiteY46" fmla="*/ 89872 h 604887"/>
              <a:gd name="connsiteX47" fmla="*/ 62959 w 546670"/>
              <a:gd name="connsiteY47" fmla="*/ 89872 h 604887"/>
              <a:gd name="connsiteX48" fmla="*/ 59065 w 546670"/>
              <a:gd name="connsiteY48" fmla="*/ 93761 h 604887"/>
              <a:gd name="connsiteX49" fmla="*/ 59065 w 546670"/>
              <a:gd name="connsiteY49" fmla="*/ 99982 h 604887"/>
              <a:gd name="connsiteX50" fmla="*/ 60845 w 546670"/>
              <a:gd name="connsiteY50" fmla="*/ 103203 h 604887"/>
              <a:gd name="connsiteX51" fmla="*/ 64516 w 546670"/>
              <a:gd name="connsiteY51" fmla="*/ 105647 h 604887"/>
              <a:gd name="connsiteX52" fmla="*/ 64738 w 546670"/>
              <a:gd name="connsiteY52" fmla="*/ 107202 h 604887"/>
              <a:gd name="connsiteX53" fmla="*/ 78531 w 546670"/>
              <a:gd name="connsiteY53" fmla="*/ 138974 h 604887"/>
              <a:gd name="connsiteX54" fmla="*/ 101223 w 546670"/>
              <a:gd name="connsiteY54" fmla="*/ 158526 h 604887"/>
              <a:gd name="connsiteX55" fmla="*/ 121801 w 546670"/>
              <a:gd name="connsiteY55" fmla="*/ 158526 h 604887"/>
              <a:gd name="connsiteX56" fmla="*/ 144493 w 546670"/>
              <a:gd name="connsiteY56" fmla="*/ 138974 h 604887"/>
              <a:gd name="connsiteX57" fmla="*/ 158175 w 546670"/>
              <a:gd name="connsiteY57" fmla="*/ 107202 h 604887"/>
              <a:gd name="connsiteX58" fmla="*/ 158398 w 546670"/>
              <a:gd name="connsiteY58" fmla="*/ 105647 h 604887"/>
              <a:gd name="connsiteX59" fmla="*/ 162179 w 546670"/>
              <a:gd name="connsiteY59" fmla="*/ 103203 h 604887"/>
              <a:gd name="connsiteX60" fmla="*/ 163848 w 546670"/>
              <a:gd name="connsiteY60" fmla="*/ 100093 h 604887"/>
              <a:gd name="connsiteX61" fmla="*/ 163848 w 546670"/>
              <a:gd name="connsiteY61" fmla="*/ 93761 h 604887"/>
              <a:gd name="connsiteX62" fmla="*/ 160066 w 546670"/>
              <a:gd name="connsiteY62" fmla="*/ 89872 h 604887"/>
              <a:gd name="connsiteX63" fmla="*/ 157953 w 546670"/>
              <a:gd name="connsiteY63" fmla="*/ 89872 h 604887"/>
              <a:gd name="connsiteX64" fmla="*/ 156729 w 546670"/>
              <a:gd name="connsiteY64" fmla="*/ 88650 h 604887"/>
              <a:gd name="connsiteX65" fmla="*/ 153058 w 546670"/>
              <a:gd name="connsiteY65" fmla="*/ 88317 h 604887"/>
              <a:gd name="connsiteX66" fmla="*/ 137930 w 546670"/>
              <a:gd name="connsiteY66" fmla="*/ 91761 h 604887"/>
              <a:gd name="connsiteX67" fmla="*/ 114460 w 546670"/>
              <a:gd name="connsiteY67" fmla="*/ 81207 h 604887"/>
              <a:gd name="connsiteX68" fmla="*/ 93214 w 546670"/>
              <a:gd name="connsiteY68" fmla="*/ 72653 h 604887"/>
              <a:gd name="connsiteX69" fmla="*/ 337631 w 546670"/>
              <a:gd name="connsiteY69" fmla="*/ 69193 h 604887"/>
              <a:gd name="connsiteX70" fmla="*/ 352427 w 546670"/>
              <a:gd name="connsiteY70" fmla="*/ 99187 h 604887"/>
              <a:gd name="connsiteX71" fmla="*/ 375678 w 546670"/>
              <a:gd name="connsiteY71" fmla="*/ 174952 h 604887"/>
              <a:gd name="connsiteX72" fmla="*/ 451551 w 546670"/>
              <a:gd name="connsiteY72" fmla="*/ 198059 h 604887"/>
              <a:gd name="connsiteX73" fmla="*/ 481589 w 546670"/>
              <a:gd name="connsiteY73" fmla="*/ 212945 h 604887"/>
              <a:gd name="connsiteX74" fmla="*/ 337631 w 546670"/>
              <a:gd name="connsiteY74" fmla="*/ 69193 h 604887"/>
              <a:gd name="connsiteX75" fmla="*/ 247963 w 546670"/>
              <a:gd name="connsiteY75" fmla="*/ 4093 h 604887"/>
              <a:gd name="connsiteX76" fmla="*/ 546670 w 546670"/>
              <a:gd name="connsiteY76" fmla="*/ 302373 h 604887"/>
              <a:gd name="connsiteX77" fmla="*/ 247963 w 546670"/>
              <a:gd name="connsiteY77" fmla="*/ 600653 h 604887"/>
              <a:gd name="connsiteX78" fmla="*/ 242957 w 546670"/>
              <a:gd name="connsiteY78" fmla="*/ 600653 h 604887"/>
              <a:gd name="connsiteX79" fmla="*/ 242957 w 546670"/>
              <a:gd name="connsiteY79" fmla="*/ 551662 h 604887"/>
              <a:gd name="connsiteX80" fmla="*/ 247963 w 546670"/>
              <a:gd name="connsiteY80" fmla="*/ 552217 h 604887"/>
              <a:gd name="connsiteX81" fmla="*/ 307705 w 546670"/>
              <a:gd name="connsiteY81" fmla="*/ 486674 h 604887"/>
              <a:gd name="connsiteX82" fmla="*/ 323836 w 546670"/>
              <a:gd name="connsiteY82" fmla="*/ 438238 h 604887"/>
              <a:gd name="connsiteX83" fmla="*/ 247963 w 546670"/>
              <a:gd name="connsiteY83" fmla="*/ 442570 h 604887"/>
              <a:gd name="connsiteX84" fmla="*/ 242957 w 546670"/>
              <a:gd name="connsiteY84" fmla="*/ 442570 h 604887"/>
              <a:gd name="connsiteX85" fmla="*/ 242957 w 546670"/>
              <a:gd name="connsiteY85" fmla="*/ 394024 h 604887"/>
              <a:gd name="connsiteX86" fmla="*/ 247963 w 546670"/>
              <a:gd name="connsiteY86" fmla="*/ 394135 h 604887"/>
              <a:gd name="connsiteX87" fmla="*/ 333848 w 546670"/>
              <a:gd name="connsiteY87" fmla="*/ 388136 h 604887"/>
              <a:gd name="connsiteX88" fmla="*/ 339856 w 546670"/>
              <a:gd name="connsiteY88" fmla="*/ 302373 h 604887"/>
              <a:gd name="connsiteX89" fmla="*/ 333848 w 546670"/>
              <a:gd name="connsiteY89" fmla="*/ 216722 h 604887"/>
              <a:gd name="connsiteX90" fmla="*/ 247963 w 546670"/>
              <a:gd name="connsiteY90" fmla="*/ 210723 h 604887"/>
              <a:gd name="connsiteX91" fmla="*/ 242957 w 546670"/>
              <a:gd name="connsiteY91" fmla="*/ 210723 h 604887"/>
              <a:gd name="connsiteX92" fmla="*/ 242957 w 546670"/>
              <a:gd name="connsiteY92" fmla="*/ 162287 h 604887"/>
              <a:gd name="connsiteX93" fmla="*/ 247963 w 546670"/>
              <a:gd name="connsiteY93" fmla="*/ 162176 h 604887"/>
              <a:gd name="connsiteX94" fmla="*/ 323836 w 546670"/>
              <a:gd name="connsiteY94" fmla="*/ 166509 h 604887"/>
              <a:gd name="connsiteX95" fmla="*/ 307705 w 546670"/>
              <a:gd name="connsiteY95" fmla="*/ 118073 h 604887"/>
              <a:gd name="connsiteX96" fmla="*/ 247963 w 546670"/>
              <a:gd name="connsiteY96" fmla="*/ 52640 h 604887"/>
              <a:gd name="connsiteX97" fmla="*/ 242957 w 546670"/>
              <a:gd name="connsiteY97" fmla="*/ 53196 h 604887"/>
              <a:gd name="connsiteX98" fmla="*/ 242957 w 546670"/>
              <a:gd name="connsiteY98" fmla="*/ 4204 h 604887"/>
              <a:gd name="connsiteX99" fmla="*/ 247963 w 546670"/>
              <a:gd name="connsiteY99" fmla="*/ 4093 h 604887"/>
              <a:gd name="connsiteX100" fmla="*/ 101779 w 546670"/>
              <a:gd name="connsiteY100" fmla="*/ 0 h 604887"/>
              <a:gd name="connsiteX101" fmla="*/ 121134 w 546670"/>
              <a:gd name="connsiteY101" fmla="*/ 0 h 604887"/>
              <a:gd name="connsiteX102" fmla="*/ 180978 w 546670"/>
              <a:gd name="connsiteY102" fmla="*/ 59656 h 604887"/>
              <a:gd name="connsiteX103" fmla="*/ 180978 w 546670"/>
              <a:gd name="connsiteY103" fmla="*/ 78430 h 604887"/>
              <a:gd name="connsiteX104" fmla="*/ 184315 w 546670"/>
              <a:gd name="connsiteY104" fmla="*/ 89095 h 604887"/>
              <a:gd name="connsiteX105" fmla="*/ 184315 w 546670"/>
              <a:gd name="connsiteY105" fmla="*/ 102426 h 604887"/>
              <a:gd name="connsiteX106" fmla="*/ 177752 w 546670"/>
              <a:gd name="connsiteY106" fmla="*/ 116534 h 604887"/>
              <a:gd name="connsiteX107" fmla="*/ 173859 w 546670"/>
              <a:gd name="connsiteY107" fmla="*/ 126643 h 604887"/>
              <a:gd name="connsiteX108" fmla="*/ 161067 w 546670"/>
              <a:gd name="connsiteY108" fmla="*/ 150861 h 604887"/>
              <a:gd name="connsiteX109" fmla="*/ 152502 w 546670"/>
              <a:gd name="connsiteY109" fmla="*/ 161748 h 604887"/>
              <a:gd name="connsiteX110" fmla="*/ 160400 w 546670"/>
              <a:gd name="connsiteY110" fmla="*/ 167747 h 604887"/>
              <a:gd name="connsiteX111" fmla="*/ 204115 w 546670"/>
              <a:gd name="connsiteY111" fmla="*/ 176412 h 604887"/>
              <a:gd name="connsiteX112" fmla="*/ 223692 w 546670"/>
              <a:gd name="connsiteY112" fmla="*/ 200407 h 604887"/>
              <a:gd name="connsiteX113" fmla="*/ 223692 w 546670"/>
              <a:gd name="connsiteY113" fmla="*/ 358044 h 604887"/>
              <a:gd name="connsiteX114" fmla="*/ 221467 w 546670"/>
              <a:gd name="connsiteY114" fmla="*/ 368265 h 604887"/>
              <a:gd name="connsiteX115" fmla="*/ 221467 w 546670"/>
              <a:gd name="connsiteY115" fmla="*/ 385484 h 604887"/>
              <a:gd name="connsiteX116" fmla="*/ 200110 w 546670"/>
              <a:gd name="connsiteY116" fmla="*/ 406813 h 604887"/>
              <a:gd name="connsiteX117" fmla="*/ 188431 w 546670"/>
              <a:gd name="connsiteY117" fmla="*/ 403369 h 604887"/>
              <a:gd name="connsiteX118" fmla="*/ 188431 w 546670"/>
              <a:gd name="connsiteY118" fmla="*/ 566561 h 604887"/>
              <a:gd name="connsiteX119" fmla="*/ 150166 w 546670"/>
              <a:gd name="connsiteY119" fmla="*/ 604887 h 604887"/>
              <a:gd name="connsiteX120" fmla="*/ 111902 w 546670"/>
              <a:gd name="connsiteY120" fmla="*/ 566561 h 604887"/>
              <a:gd name="connsiteX121" fmla="*/ 73526 w 546670"/>
              <a:gd name="connsiteY121" fmla="*/ 604887 h 604887"/>
              <a:gd name="connsiteX122" fmla="*/ 35261 w 546670"/>
              <a:gd name="connsiteY122" fmla="*/ 566561 h 604887"/>
              <a:gd name="connsiteX123" fmla="*/ 35261 w 546670"/>
              <a:gd name="connsiteY123" fmla="*/ 403369 h 604887"/>
              <a:gd name="connsiteX124" fmla="*/ 23582 w 546670"/>
              <a:gd name="connsiteY124" fmla="*/ 406813 h 604887"/>
              <a:gd name="connsiteX125" fmla="*/ 2225 w 546670"/>
              <a:gd name="connsiteY125" fmla="*/ 385484 h 604887"/>
              <a:gd name="connsiteX126" fmla="*/ 2225 w 546670"/>
              <a:gd name="connsiteY126" fmla="*/ 368265 h 604887"/>
              <a:gd name="connsiteX127" fmla="*/ 0 w 546670"/>
              <a:gd name="connsiteY127" fmla="*/ 358044 h 604887"/>
              <a:gd name="connsiteX128" fmla="*/ 0 w 546670"/>
              <a:gd name="connsiteY128" fmla="*/ 200296 h 604887"/>
              <a:gd name="connsiteX129" fmla="*/ 19577 w 546670"/>
              <a:gd name="connsiteY129" fmla="*/ 176412 h 604887"/>
              <a:gd name="connsiteX130" fmla="*/ 62625 w 546670"/>
              <a:gd name="connsiteY130" fmla="*/ 167747 h 604887"/>
              <a:gd name="connsiteX131" fmla="*/ 70522 w 546670"/>
              <a:gd name="connsiteY131" fmla="*/ 161748 h 604887"/>
              <a:gd name="connsiteX132" fmla="*/ 61957 w 546670"/>
              <a:gd name="connsiteY132" fmla="*/ 150861 h 604887"/>
              <a:gd name="connsiteX133" fmla="*/ 49054 w 546670"/>
              <a:gd name="connsiteY133" fmla="*/ 126643 h 604887"/>
              <a:gd name="connsiteX134" fmla="*/ 45161 w 546670"/>
              <a:gd name="connsiteY134" fmla="*/ 116534 h 604887"/>
              <a:gd name="connsiteX135" fmla="*/ 38598 w 546670"/>
              <a:gd name="connsiteY135" fmla="*/ 102426 h 604887"/>
              <a:gd name="connsiteX136" fmla="*/ 38598 w 546670"/>
              <a:gd name="connsiteY136" fmla="*/ 89095 h 604887"/>
              <a:gd name="connsiteX137" fmla="*/ 42047 w 546670"/>
              <a:gd name="connsiteY137" fmla="*/ 78430 h 604887"/>
              <a:gd name="connsiteX138" fmla="*/ 42047 w 546670"/>
              <a:gd name="connsiteY138" fmla="*/ 59656 h 604887"/>
              <a:gd name="connsiteX139" fmla="*/ 101779 w 546670"/>
              <a:gd name="connsiteY139" fmla="*/ 0 h 60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46670" h="604887">
                <a:moveTo>
                  <a:pt x="481589" y="391913"/>
                </a:moveTo>
                <a:cubicBezTo>
                  <a:pt x="472466" y="397134"/>
                  <a:pt x="462454" y="402133"/>
                  <a:pt x="451551" y="406688"/>
                </a:cubicBezTo>
                <a:cubicBezTo>
                  <a:pt x="428967" y="416242"/>
                  <a:pt x="403269" y="424018"/>
                  <a:pt x="375678" y="429906"/>
                </a:cubicBezTo>
                <a:cubicBezTo>
                  <a:pt x="369782" y="457457"/>
                  <a:pt x="361995" y="483008"/>
                  <a:pt x="352427" y="505670"/>
                </a:cubicBezTo>
                <a:cubicBezTo>
                  <a:pt x="347866" y="516446"/>
                  <a:pt x="342860" y="526444"/>
                  <a:pt x="337631" y="535554"/>
                </a:cubicBezTo>
                <a:cubicBezTo>
                  <a:pt x="403602" y="510225"/>
                  <a:pt x="456112" y="457790"/>
                  <a:pt x="481589" y="391913"/>
                </a:cubicBezTo>
                <a:close/>
                <a:moveTo>
                  <a:pt x="384133" y="226609"/>
                </a:moveTo>
                <a:cubicBezTo>
                  <a:pt x="386915" y="251049"/>
                  <a:pt x="388361" y="276489"/>
                  <a:pt x="388361" y="302373"/>
                </a:cubicBezTo>
                <a:cubicBezTo>
                  <a:pt x="388361" y="328369"/>
                  <a:pt x="386915" y="353697"/>
                  <a:pt x="384133" y="378137"/>
                </a:cubicBezTo>
                <a:cubicBezTo>
                  <a:pt x="401600" y="373694"/>
                  <a:pt x="417842" y="368250"/>
                  <a:pt x="432639" y="362029"/>
                </a:cubicBezTo>
                <a:cubicBezTo>
                  <a:pt x="473690" y="344699"/>
                  <a:pt x="498165" y="322370"/>
                  <a:pt x="498165" y="302373"/>
                </a:cubicBezTo>
                <a:cubicBezTo>
                  <a:pt x="498165" y="282377"/>
                  <a:pt x="473690" y="260047"/>
                  <a:pt x="432639" y="242717"/>
                </a:cubicBezTo>
                <a:cubicBezTo>
                  <a:pt x="417842" y="236496"/>
                  <a:pt x="401600" y="231164"/>
                  <a:pt x="384133" y="226609"/>
                </a:cubicBezTo>
                <a:close/>
                <a:moveTo>
                  <a:pt x="135706" y="175523"/>
                </a:moveTo>
                <a:cubicBezTo>
                  <a:pt x="132591" y="177189"/>
                  <a:pt x="129477" y="178300"/>
                  <a:pt x="126473" y="178856"/>
                </a:cubicBezTo>
                <a:cubicBezTo>
                  <a:pt x="124582" y="179189"/>
                  <a:pt x="123248" y="180744"/>
                  <a:pt x="123248" y="182633"/>
                </a:cubicBezTo>
                <a:lnTo>
                  <a:pt x="123248" y="192075"/>
                </a:lnTo>
                <a:cubicBezTo>
                  <a:pt x="122691" y="192298"/>
                  <a:pt x="122246" y="192631"/>
                  <a:pt x="121801" y="193075"/>
                </a:cubicBezTo>
                <a:cubicBezTo>
                  <a:pt x="121134" y="193964"/>
                  <a:pt x="120689" y="194964"/>
                  <a:pt x="120912" y="196075"/>
                </a:cubicBezTo>
                <a:lnTo>
                  <a:pt x="122914" y="216404"/>
                </a:lnTo>
                <a:cubicBezTo>
                  <a:pt x="123136" y="217960"/>
                  <a:pt x="124249" y="219293"/>
                  <a:pt x="125695" y="219737"/>
                </a:cubicBezTo>
                <a:cubicBezTo>
                  <a:pt x="126028" y="219737"/>
                  <a:pt x="126473" y="219848"/>
                  <a:pt x="126807" y="219848"/>
                </a:cubicBezTo>
                <a:cubicBezTo>
                  <a:pt x="127919" y="219848"/>
                  <a:pt x="129032" y="219293"/>
                  <a:pt x="129810" y="218293"/>
                </a:cubicBezTo>
                <a:lnTo>
                  <a:pt x="140600" y="204073"/>
                </a:lnTo>
                <a:cubicBezTo>
                  <a:pt x="141045" y="203407"/>
                  <a:pt x="141379" y="202629"/>
                  <a:pt x="141379" y="201740"/>
                </a:cubicBezTo>
                <a:lnTo>
                  <a:pt x="141379" y="178856"/>
                </a:lnTo>
                <a:cubicBezTo>
                  <a:pt x="141379" y="177523"/>
                  <a:pt x="140600" y="176301"/>
                  <a:pt x="139488" y="175634"/>
                </a:cubicBezTo>
                <a:cubicBezTo>
                  <a:pt x="138375" y="174968"/>
                  <a:pt x="136929" y="174856"/>
                  <a:pt x="135706" y="175523"/>
                </a:cubicBezTo>
                <a:close/>
                <a:moveTo>
                  <a:pt x="87208" y="175523"/>
                </a:moveTo>
                <a:cubicBezTo>
                  <a:pt x="86095" y="174856"/>
                  <a:pt x="84649" y="174968"/>
                  <a:pt x="83537" y="175634"/>
                </a:cubicBezTo>
                <a:cubicBezTo>
                  <a:pt x="82313" y="176301"/>
                  <a:pt x="81646" y="177523"/>
                  <a:pt x="81646" y="178856"/>
                </a:cubicBezTo>
                <a:lnTo>
                  <a:pt x="81646" y="201740"/>
                </a:lnTo>
                <a:cubicBezTo>
                  <a:pt x="81646" y="202629"/>
                  <a:pt x="81868" y="203407"/>
                  <a:pt x="82425" y="204073"/>
                </a:cubicBezTo>
                <a:lnTo>
                  <a:pt x="93103" y="218293"/>
                </a:lnTo>
                <a:cubicBezTo>
                  <a:pt x="93882" y="219293"/>
                  <a:pt x="94994" y="219848"/>
                  <a:pt x="96218" y="219848"/>
                </a:cubicBezTo>
                <a:cubicBezTo>
                  <a:pt x="96551" y="219848"/>
                  <a:pt x="96885" y="219848"/>
                  <a:pt x="97219" y="219737"/>
                </a:cubicBezTo>
                <a:cubicBezTo>
                  <a:pt x="98776" y="219293"/>
                  <a:pt x="99888" y="217960"/>
                  <a:pt x="100000" y="216404"/>
                </a:cubicBezTo>
                <a:lnTo>
                  <a:pt x="102113" y="196075"/>
                </a:lnTo>
                <a:cubicBezTo>
                  <a:pt x="102224" y="194964"/>
                  <a:pt x="101891" y="193964"/>
                  <a:pt x="101112" y="193075"/>
                </a:cubicBezTo>
                <a:cubicBezTo>
                  <a:pt x="100778" y="192631"/>
                  <a:pt x="100222" y="192298"/>
                  <a:pt x="99666" y="192075"/>
                </a:cubicBezTo>
                <a:lnTo>
                  <a:pt x="99666" y="182633"/>
                </a:lnTo>
                <a:cubicBezTo>
                  <a:pt x="99666" y="180744"/>
                  <a:pt x="98331" y="179189"/>
                  <a:pt x="96551" y="178856"/>
                </a:cubicBezTo>
                <a:cubicBezTo>
                  <a:pt x="93548" y="178300"/>
                  <a:pt x="90433" y="177189"/>
                  <a:pt x="87208" y="175523"/>
                </a:cubicBezTo>
                <a:close/>
                <a:moveTo>
                  <a:pt x="93214" y="72653"/>
                </a:moveTo>
                <a:cubicBezTo>
                  <a:pt x="82313" y="72653"/>
                  <a:pt x="71857" y="77097"/>
                  <a:pt x="66629" y="79652"/>
                </a:cubicBezTo>
                <a:cubicBezTo>
                  <a:pt x="65294" y="80319"/>
                  <a:pt x="64516" y="81652"/>
                  <a:pt x="64516" y="83096"/>
                </a:cubicBezTo>
                <a:lnTo>
                  <a:pt x="64516" y="89872"/>
                </a:lnTo>
                <a:lnTo>
                  <a:pt x="62959" y="89872"/>
                </a:lnTo>
                <a:cubicBezTo>
                  <a:pt x="60845" y="89872"/>
                  <a:pt x="59065" y="91650"/>
                  <a:pt x="59065" y="93761"/>
                </a:cubicBezTo>
                <a:lnTo>
                  <a:pt x="59065" y="99982"/>
                </a:lnTo>
                <a:cubicBezTo>
                  <a:pt x="59065" y="101315"/>
                  <a:pt x="59733" y="102537"/>
                  <a:pt x="60845" y="103203"/>
                </a:cubicBezTo>
                <a:lnTo>
                  <a:pt x="64516" y="105647"/>
                </a:lnTo>
                <a:lnTo>
                  <a:pt x="64738" y="107202"/>
                </a:lnTo>
                <a:cubicBezTo>
                  <a:pt x="65962" y="116423"/>
                  <a:pt x="71079" y="128199"/>
                  <a:pt x="78531" y="138974"/>
                </a:cubicBezTo>
                <a:cubicBezTo>
                  <a:pt x="87875" y="152527"/>
                  <a:pt x="96663" y="158526"/>
                  <a:pt x="101223" y="158526"/>
                </a:cubicBezTo>
                <a:lnTo>
                  <a:pt x="121801" y="158526"/>
                </a:lnTo>
                <a:cubicBezTo>
                  <a:pt x="126362" y="158526"/>
                  <a:pt x="135150" y="152527"/>
                  <a:pt x="144493" y="138974"/>
                </a:cubicBezTo>
                <a:cubicBezTo>
                  <a:pt x="151835" y="128199"/>
                  <a:pt x="156951" y="116423"/>
                  <a:pt x="158175" y="107202"/>
                </a:cubicBezTo>
                <a:lnTo>
                  <a:pt x="158398" y="105647"/>
                </a:lnTo>
                <a:lnTo>
                  <a:pt x="162179" y="103203"/>
                </a:lnTo>
                <a:cubicBezTo>
                  <a:pt x="163181" y="102537"/>
                  <a:pt x="163848" y="101315"/>
                  <a:pt x="163848" y="100093"/>
                </a:cubicBezTo>
                <a:lnTo>
                  <a:pt x="163848" y="93761"/>
                </a:lnTo>
                <a:cubicBezTo>
                  <a:pt x="163848" y="91650"/>
                  <a:pt x="162179" y="89872"/>
                  <a:pt x="160066" y="89872"/>
                </a:cubicBezTo>
                <a:lnTo>
                  <a:pt x="157953" y="89872"/>
                </a:lnTo>
                <a:cubicBezTo>
                  <a:pt x="157619" y="89428"/>
                  <a:pt x="157285" y="88984"/>
                  <a:pt x="156729" y="88650"/>
                </a:cubicBezTo>
                <a:cubicBezTo>
                  <a:pt x="155617" y="87984"/>
                  <a:pt x="154282" y="87873"/>
                  <a:pt x="153058" y="88317"/>
                </a:cubicBezTo>
                <a:cubicBezTo>
                  <a:pt x="147942" y="90650"/>
                  <a:pt x="142825" y="91761"/>
                  <a:pt x="137930" y="91761"/>
                </a:cubicBezTo>
                <a:cubicBezTo>
                  <a:pt x="129254" y="91761"/>
                  <a:pt x="121357" y="88206"/>
                  <a:pt x="114460" y="81207"/>
                </a:cubicBezTo>
                <a:cubicBezTo>
                  <a:pt x="109010" y="75542"/>
                  <a:pt x="101779" y="72653"/>
                  <a:pt x="93214" y="72653"/>
                </a:cubicBezTo>
                <a:close/>
                <a:moveTo>
                  <a:pt x="337631" y="69193"/>
                </a:moveTo>
                <a:cubicBezTo>
                  <a:pt x="342860" y="78302"/>
                  <a:pt x="347866" y="88300"/>
                  <a:pt x="352427" y="99187"/>
                </a:cubicBezTo>
                <a:cubicBezTo>
                  <a:pt x="361995" y="121739"/>
                  <a:pt x="369782" y="147290"/>
                  <a:pt x="375678" y="174952"/>
                </a:cubicBezTo>
                <a:cubicBezTo>
                  <a:pt x="403269" y="180728"/>
                  <a:pt x="428967" y="188505"/>
                  <a:pt x="451551" y="198059"/>
                </a:cubicBezTo>
                <a:cubicBezTo>
                  <a:pt x="462454" y="202724"/>
                  <a:pt x="472466" y="207612"/>
                  <a:pt x="481589" y="212945"/>
                </a:cubicBezTo>
                <a:cubicBezTo>
                  <a:pt x="456112" y="147068"/>
                  <a:pt x="403602" y="94633"/>
                  <a:pt x="337631" y="69193"/>
                </a:cubicBezTo>
                <a:close/>
                <a:moveTo>
                  <a:pt x="247963" y="4093"/>
                </a:moveTo>
                <a:cubicBezTo>
                  <a:pt x="412725" y="4093"/>
                  <a:pt x="546670" y="137958"/>
                  <a:pt x="546670" y="302373"/>
                </a:cubicBezTo>
                <a:cubicBezTo>
                  <a:pt x="546670" y="466899"/>
                  <a:pt x="412725" y="600653"/>
                  <a:pt x="247963" y="600653"/>
                </a:cubicBezTo>
                <a:cubicBezTo>
                  <a:pt x="246295" y="600653"/>
                  <a:pt x="244626" y="600653"/>
                  <a:pt x="242957" y="600653"/>
                </a:cubicBezTo>
                <a:lnTo>
                  <a:pt x="242957" y="551662"/>
                </a:lnTo>
                <a:cubicBezTo>
                  <a:pt x="244626" y="551995"/>
                  <a:pt x="246295" y="552217"/>
                  <a:pt x="247963" y="552217"/>
                </a:cubicBezTo>
                <a:cubicBezTo>
                  <a:pt x="268100" y="552217"/>
                  <a:pt x="290350" y="527666"/>
                  <a:pt x="307705" y="486674"/>
                </a:cubicBezTo>
                <a:cubicBezTo>
                  <a:pt x="314046" y="472010"/>
                  <a:pt x="319386" y="455679"/>
                  <a:pt x="323836" y="438238"/>
                </a:cubicBezTo>
                <a:cubicBezTo>
                  <a:pt x="299472" y="441126"/>
                  <a:pt x="273996" y="442570"/>
                  <a:pt x="247963" y="442570"/>
                </a:cubicBezTo>
                <a:cubicBezTo>
                  <a:pt x="246295" y="442570"/>
                  <a:pt x="244626" y="442570"/>
                  <a:pt x="242957" y="442570"/>
                </a:cubicBezTo>
                <a:lnTo>
                  <a:pt x="242957" y="394024"/>
                </a:lnTo>
                <a:cubicBezTo>
                  <a:pt x="244626" y="394024"/>
                  <a:pt x="246295" y="394135"/>
                  <a:pt x="247963" y="394135"/>
                </a:cubicBezTo>
                <a:cubicBezTo>
                  <a:pt x="277778" y="394135"/>
                  <a:pt x="306703" y="392024"/>
                  <a:pt x="333848" y="388136"/>
                </a:cubicBezTo>
                <a:cubicBezTo>
                  <a:pt x="337742" y="361029"/>
                  <a:pt x="339856" y="332146"/>
                  <a:pt x="339856" y="302373"/>
                </a:cubicBezTo>
                <a:cubicBezTo>
                  <a:pt x="339856" y="272712"/>
                  <a:pt x="337742" y="243828"/>
                  <a:pt x="333848" y="216722"/>
                </a:cubicBezTo>
                <a:cubicBezTo>
                  <a:pt x="306703" y="212723"/>
                  <a:pt x="277778" y="210723"/>
                  <a:pt x="247963" y="210723"/>
                </a:cubicBezTo>
                <a:cubicBezTo>
                  <a:pt x="246295" y="210723"/>
                  <a:pt x="244626" y="210723"/>
                  <a:pt x="242957" y="210723"/>
                </a:cubicBezTo>
                <a:lnTo>
                  <a:pt x="242957" y="162287"/>
                </a:lnTo>
                <a:cubicBezTo>
                  <a:pt x="244626" y="162287"/>
                  <a:pt x="246295" y="162176"/>
                  <a:pt x="247963" y="162176"/>
                </a:cubicBezTo>
                <a:cubicBezTo>
                  <a:pt x="273996" y="162176"/>
                  <a:pt x="299472" y="163731"/>
                  <a:pt x="323836" y="166509"/>
                </a:cubicBezTo>
                <a:cubicBezTo>
                  <a:pt x="319386" y="149067"/>
                  <a:pt x="314046" y="132848"/>
                  <a:pt x="307705" y="118073"/>
                </a:cubicBezTo>
                <a:cubicBezTo>
                  <a:pt x="290350" y="77080"/>
                  <a:pt x="268100" y="52640"/>
                  <a:pt x="247963" y="52640"/>
                </a:cubicBezTo>
                <a:cubicBezTo>
                  <a:pt x="246295" y="52640"/>
                  <a:pt x="244626" y="52862"/>
                  <a:pt x="242957" y="53196"/>
                </a:cubicBezTo>
                <a:lnTo>
                  <a:pt x="242957" y="4204"/>
                </a:lnTo>
                <a:cubicBezTo>
                  <a:pt x="244626" y="4204"/>
                  <a:pt x="246295" y="4093"/>
                  <a:pt x="247963" y="4093"/>
                </a:cubicBezTo>
                <a:close/>
                <a:moveTo>
                  <a:pt x="101779" y="0"/>
                </a:moveTo>
                <a:lnTo>
                  <a:pt x="121134" y="0"/>
                </a:lnTo>
                <a:cubicBezTo>
                  <a:pt x="154171" y="0"/>
                  <a:pt x="180978" y="26773"/>
                  <a:pt x="180978" y="59656"/>
                </a:cubicBezTo>
                <a:lnTo>
                  <a:pt x="180978" y="78430"/>
                </a:lnTo>
                <a:cubicBezTo>
                  <a:pt x="183203" y="81541"/>
                  <a:pt x="184315" y="85318"/>
                  <a:pt x="184315" y="89095"/>
                </a:cubicBezTo>
                <a:lnTo>
                  <a:pt x="184315" y="102426"/>
                </a:lnTo>
                <a:cubicBezTo>
                  <a:pt x="184315" y="107869"/>
                  <a:pt x="181868" y="113090"/>
                  <a:pt x="177752" y="116534"/>
                </a:cubicBezTo>
                <a:cubicBezTo>
                  <a:pt x="176751" y="119867"/>
                  <a:pt x="175416" y="123311"/>
                  <a:pt x="173859" y="126643"/>
                </a:cubicBezTo>
                <a:cubicBezTo>
                  <a:pt x="170856" y="134753"/>
                  <a:pt x="166406" y="143085"/>
                  <a:pt x="161067" y="150861"/>
                </a:cubicBezTo>
                <a:cubicBezTo>
                  <a:pt x="158842" y="154083"/>
                  <a:pt x="155839" y="157860"/>
                  <a:pt x="152502" y="161748"/>
                </a:cubicBezTo>
                <a:cubicBezTo>
                  <a:pt x="155505" y="163192"/>
                  <a:pt x="158175" y="165192"/>
                  <a:pt x="160400" y="167747"/>
                </a:cubicBezTo>
                <a:lnTo>
                  <a:pt x="204115" y="176412"/>
                </a:lnTo>
                <a:cubicBezTo>
                  <a:pt x="215461" y="178745"/>
                  <a:pt x="223692" y="188743"/>
                  <a:pt x="223692" y="200407"/>
                </a:cubicBezTo>
                <a:lnTo>
                  <a:pt x="223692" y="358044"/>
                </a:lnTo>
                <a:cubicBezTo>
                  <a:pt x="223692" y="361710"/>
                  <a:pt x="222913" y="365154"/>
                  <a:pt x="221467" y="368265"/>
                </a:cubicBezTo>
                <a:lnTo>
                  <a:pt x="221467" y="385484"/>
                </a:lnTo>
                <a:cubicBezTo>
                  <a:pt x="221467" y="397259"/>
                  <a:pt x="211901" y="406813"/>
                  <a:pt x="200110" y="406813"/>
                </a:cubicBezTo>
                <a:cubicBezTo>
                  <a:pt x="195772" y="406813"/>
                  <a:pt x="191879" y="405591"/>
                  <a:pt x="188431" y="403369"/>
                </a:cubicBezTo>
                <a:lnTo>
                  <a:pt x="188431" y="566561"/>
                </a:lnTo>
                <a:cubicBezTo>
                  <a:pt x="188431" y="587668"/>
                  <a:pt x="171301" y="604887"/>
                  <a:pt x="150166" y="604887"/>
                </a:cubicBezTo>
                <a:cubicBezTo>
                  <a:pt x="129032" y="604887"/>
                  <a:pt x="111902" y="587668"/>
                  <a:pt x="111902" y="566561"/>
                </a:cubicBezTo>
                <a:cubicBezTo>
                  <a:pt x="111902" y="587668"/>
                  <a:pt x="94772" y="604887"/>
                  <a:pt x="73526" y="604887"/>
                </a:cubicBezTo>
                <a:cubicBezTo>
                  <a:pt x="52391" y="604887"/>
                  <a:pt x="35261" y="587668"/>
                  <a:pt x="35261" y="566561"/>
                </a:cubicBezTo>
                <a:lnTo>
                  <a:pt x="35261" y="403369"/>
                </a:lnTo>
                <a:cubicBezTo>
                  <a:pt x="31924" y="405591"/>
                  <a:pt x="27920" y="406813"/>
                  <a:pt x="23582" y="406813"/>
                </a:cubicBezTo>
                <a:cubicBezTo>
                  <a:pt x="11791" y="406813"/>
                  <a:pt x="2225" y="397259"/>
                  <a:pt x="2225" y="385484"/>
                </a:cubicBezTo>
                <a:lnTo>
                  <a:pt x="2225" y="368265"/>
                </a:lnTo>
                <a:cubicBezTo>
                  <a:pt x="779" y="365154"/>
                  <a:pt x="0" y="361710"/>
                  <a:pt x="0" y="358044"/>
                </a:cubicBezTo>
                <a:lnTo>
                  <a:pt x="0" y="200296"/>
                </a:lnTo>
                <a:cubicBezTo>
                  <a:pt x="0" y="188743"/>
                  <a:pt x="8231" y="178745"/>
                  <a:pt x="19577" y="176412"/>
                </a:cubicBezTo>
                <a:lnTo>
                  <a:pt x="62625" y="167747"/>
                </a:lnTo>
                <a:cubicBezTo>
                  <a:pt x="64850" y="165192"/>
                  <a:pt x="67519" y="163192"/>
                  <a:pt x="70522" y="161748"/>
                </a:cubicBezTo>
                <a:cubicBezTo>
                  <a:pt x="67074" y="157971"/>
                  <a:pt x="64182" y="154083"/>
                  <a:pt x="61957" y="150861"/>
                </a:cubicBezTo>
                <a:cubicBezTo>
                  <a:pt x="56618" y="143085"/>
                  <a:pt x="52169" y="134753"/>
                  <a:pt x="49054" y="126643"/>
                </a:cubicBezTo>
                <a:cubicBezTo>
                  <a:pt x="47497" y="123311"/>
                  <a:pt x="46273" y="119867"/>
                  <a:pt x="45161" y="116534"/>
                </a:cubicBezTo>
                <a:cubicBezTo>
                  <a:pt x="41045" y="113090"/>
                  <a:pt x="38598" y="107869"/>
                  <a:pt x="38598" y="102426"/>
                </a:cubicBezTo>
                <a:lnTo>
                  <a:pt x="38598" y="89095"/>
                </a:lnTo>
                <a:cubicBezTo>
                  <a:pt x="38598" y="85318"/>
                  <a:pt x="39822" y="81541"/>
                  <a:pt x="42047" y="78430"/>
                </a:cubicBezTo>
                <a:lnTo>
                  <a:pt x="42047" y="59656"/>
                </a:lnTo>
                <a:cubicBezTo>
                  <a:pt x="42047" y="26773"/>
                  <a:pt x="68854" y="0"/>
                  <a:pt x="10177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CDA0A867-E89F-44C8-9322-67E8D3FD4096}"/>
              </a:ext>
            </a:extLst>
          </p:cNvPr>
          <p:cNvSpPr/>
          <p:nvPr/>
        </p:nvSpPr>
        <p:spPr>
          <a:xfrm>
            <a:off x="4456743" y="4623876"/>
            <a:ext cx="636450" cy="636450"/>
          </a:xfrm>
          <a:prstGeom prst="ellipse">
            <a:avLst/>
          </a:prstGeom>
          <a:solidFill>
            <a:schemeClr val="accent1"/>
          </a:solidFill>
          <a:ln w="381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D991D603-92F2-42DD-AD05-E4E12D3A4697}"/>
              </a:ext>
            </a:extLst>
          </p:cNvPr>
          <p:cNvSpPr/>
          <p:nvPr/>
        </p:nvSpPr>
        <p:spPr>
          <a:xfrm>
            <a:off x="4630519" y="4782269"/>
            <a:ext cx="288898" cy="319665"/>
          </a:xfrm>
          <a:custGeom>
            <a:avLst/>
            <a:gdLst>
              <a:gd name="connsiteX0" fmla="*/ 481589 w 546670"/>
              <a:gd name="connsiteY0" fmla="*/ 391913 h 604887"/>
              <a:gd name="connsiteX1" fmla="*/ 451551 w 546670"/>
              <a:gd name="connsiteY1" fmla="*/ 406688 h 604887"/>
              <a:gd name="connsiteX2" fmla="*/ 375678 w 546670"/>
              <a:gd name="connsiteY2" fmla="*/ 429906 h 604887"/>
              <a:gd name="connsiteX3" fmla="*/ 352427 w 546670"/>
              <a:gd name="connsiteY3" fmla="*/ 505670 h 604887"/>
              <a:gd name="connsiteX4" fmla="*/ 337631 w 546670"/>
              <a:gd name="connsiteY4" fmla="*/ 535554 h 604887"/>
              <a:gd name="connsiteX5" fmla="*/ 481589 w 546670"/>
              <a:gd name="connsiteY5" fmla="*/ 391913 h 604887"/>
              <a:gd name="connsiteX6" fmla="*/ 384133 w 546670"/>
              <a:gd name="connsiteY6" fmla="*/ 226609 h 604887"/>
              <a:gd name="connsiteX7" fmla="*/ 388361 w 546670"/>
              <a:gd name="connsiteY7" fmla="*/ 302373 h 604887"/>
              <a:gd name="connsiteX8" fmla="*/ 384133 w 546670"/>
              <a:gd name="connsiteY8" fmla="*/ 378137 h 604887"/>
              <a:gd name="connsiteX9" fmla="*/ 432639 w 546670"/>
              <a:gd name="connsiteY9" fmla="*/ 362029 h 604887"/>
              <a:gd name="connsiteX10" fmla="*/ 498165 w 546670"/>
              <a:gd name="connsiteY10" fmla="*/ 302373 h 604887"/>
              <a:gd name="connsiteX11" fmla="*/ 432639 w 546670"/>
              <a:gd name="connsiteY11" fmla="*/ 242717 h 604887"/>
              <a:gd name="connsiteX12" fmla="*/ 384133 w 546670"/>
              <a:gd name="connsiteY12" fmla="*/ 226609 h 604887"/>
              <a:gd name="connsiteX13" fmla="*/ 135706 w 546670"/>
              <a:gd name="connsiteY13" fmla="*/ 175523 h 604887"/>
              <a:gd name="connsiteX14" fmla="*/ 126473 w 546670"/>
              <a:gd name="connsiteY14" fmla="*/ 178856 h 604887"/>
              <a:gd name="connsiteX15" fmla="*/ 123248 w 546670"/>
              <a:gd name="connsiteY15" fmla="*/ 182633 h 604887"/>
              <a:gd name="connsiteX16" fmla="*/ 123248 w 546670"/>
              <a:gd name="connsiteY16" fmla="*/ 192075 h 604887"/>
              <a:gd name="connsiteX17" fmla="*/ 121801 w 546670"/>
              <a:gd name="connsiteY17" fmla="*/ 193075 h 604887"/>
              <a:gd name="connsiteX18" fmla="*/ 120912 w 546670"/>
              <a:gd name="connsiteY18" fmla="*/ 196075 h 604887"/>
              <a:gd name="connsiteX19" fmla="*/ 122914 w 546670"/>
              <a:gd name="connsiteY19" fmla="*/ 216404 h 604887"/>
              <a:gd name="connsiteX20" fmla="*/ 125695 w 546670"/>
              <a:gd name="connsiteY20" fmla="*/ 219737 h 604887"/>
              <a:gd name="connsiteX21" fmla="*/ 126807 w 546670"/>
              <a:gd name="connsiteY21" fmla="*/ 219848 h 604887"/>
              <a:gd name="connsiteX22" fmla="*/ 129810 w 546670"/>
              <a:gd name="connsiteY22" fmla="*/ 218293 h 604887"/>
              <a:gd name="connsiteX23" fmla="*/ 140600 w 546670"/>
              <a:gd name="connsiteY23" fmla="*/ 204073 h 604887"/>
              <a:gd name="connsiteX24" fmla="*/ 141379 w 546670"/>
              <a:gd name="connsiteY24" fmla="*/ 201740 h 604887"/>
              <a:gd name="connsiteX25" fmla="*/ 141379 w 546670"/>
              <a:gd name="connsiteY25" fmla="*/ 178856 h 604887"/>
              <a:gd name="connsiteX26" fmla="*/ 139488 w 546670"/>
              <a:gd name="connsiteY26" fmla="*/ 175634 h 604887"/>
              <a:gd name="connsiteX27" fmla="*/ 135706 w 546670"/>
              <a:gd name="connsiteY27" fmla="*/ 175523 h 604887"/>
              <a:gd name="connsiteX28" fmla="*/ 87208 w 546670"/>
              <a:gd name="connsiteY28" fmla="*/ 175523 h 604887"/>
              <a:gd name="connsiteX29" fmla="*/ 83537 w 546670"/>
              <a:gd name="connsiteY29" fmla="*/ 175634 h 604887"/>
              <a:gd name="connsiteX30" fmla="*/ 81646 w 546670"/>
              <a:gd name="connsiteY30" fmla="*/ 178856 h 604887"/>
              <a:gd name="connsiteX31" fmla="*/ 81646 w 546670"/>
              <a:gd name="connsiteY31" fmla="*/ 201740 h 604887"/>
              <a:gd name="connsiteX32" fmla="*/ 82425 w 546670"/>
              <a:gd name="connsiteY32" fmla="*/ 204073 h 604887"/>
              <a:gd name="connsiteX33" fmla="*/ 93103 w 546670"/>
              <a:gd name="connsiteY33" fmla="*/ 218293 h 604887"/>
              <a:gd name="connsiteX34" fmla="*/ 96218 w 546670"/>
              <a:gd name="connsiteY34" fmla="*/ 219848 h 604887"/>
              <a:gd name="connsiteX35" fmla="*/ 97219 w 546670"/>
              <a:gd name="connsiteY35" fmla="*/ 219737 h 604887"/>
              <a:gd name="connsiteX36" fmla="*/ 100000 w 546670"/>
              <a:gd name="connsiteY36" fmla="*/ 216404 h 604887"/>
              <a:gd name="connsiteX37" fmla="*/ 102113 w 546670"/>
              <a:gd name="connsiteY37" fmla="*/ 196075 h 604887"/>
              <a:gd name="connsiteX38" fmla="*/ 101112 w 546670"/>
              <a:gd name="connsiteY38" fmla="*/ 193075 h 604887"/>
              <a:gd name="connsiteX39" fmla="*/ 99666 w 546670"/>
              <a:gd name="connsiteY39" fmla="*/ 192075 h 604887"/>
              <a:gd name="connsiteX40" fmla="*/ 99666 w 546670"/>
              <a:gd name="connsiteY40" fmla="*/ 182633 h 604887"/>
              <a:gd name="connsiteX41" fmla="*/ 96551 w 546670"/>
              <a:gd name="connsiteY41" fmla="*/ 178856 h 604887"/>
              <a:gd name="connsiteX42" fmla="*/ 87208 w 546670"/>
              <a:gd name="connsiteY42" fmla="*/ 175523 h 604887"/>
              <a:gd name="connsiteX43" fmla="*/ 93214 w 546670"/>
              <a:gd name="connsiteY43" fmla="*/ 72653 h 604887"/>
              <a:gd name="connsiteX44" fmla="*/ 66629 w 546670"/>
              <a:gd name="connsiteY44" fmla="*/ 79652 h 604887"/>
              <a:gd name="connsiteX45" fmla="*/ 64516 w 546670"/>
              <a:gd name="connsiteY45" fmla="*/ 83096 h 604887"/>
              <a:gd name="connsiteX46" fmla="*/ 64516 w 546670"/>
              <a:gd name="connsiteY46" fmla="*/ 89872 h 604887"/>
              <a:gd name="connsiteX47" fmla="*/ 62959 w 546670"/>
              <a:gd name="connsiteY47" fmla="*/ 89872 h 604887"/>
              <a:gd name="connsiteX48" fmla="*/ 59065 w 546670"/>
              <a:gd name="connsiteY48" fmla="*/ 93761 h 604887"/>
              <a:gd name="connsiteX49" fmla="*/ 59065 w 546670"/>
              <a:gd name="connsiteY49" fmla="*/ 99982 h 604887"/>
              <a:gd name="connsiteX50" fmla="*/ 60845 w 546670"/>
              <a:gd name="connsiteY50" fmla="*/ 103203 h 604887"/>
              <a:gd name="connsiteX51" fmla="*/ 64516 w 546670"/>
              <a:gd name="connsiteY51" fmla="*/ 105647 h 604887"/>
              <a:gd name="connsiteX52" fmla="*/ 64738 w 546670"/>
              <a:gd name="connsiteY52" fmla="*/ 107202 h 604887"/>
              <a:gd name="connsiteX53" fmla="*/ 78531 w 546670"/>
              <a:gd name="connsiteY53" fmla="*/ 138974 h 604887"/>
              <a:gd name="connsiteX54" fmla="*/ 101223 w 546670"/>
              <a:gd name="connsiteY54" fmla="*/ 158526 h 604887"/>
              <a:gd name="connsiteX55" fmla="*/ 121801 w 546670"/>
              <a:gd name="connsiteY55" fmla="*/ 158526 h 604887"/>
              <a:gd name="connsiteX56" fmla="*/ 144493 w 546670"/>
              <a:gd name="connsiteY56" fmla="*/ 138974 h 604887"/>
              <a:gd name="connsiteX57" fmla="*/ 158175 w 546670"/>
              <a:gd name="connsiteY57" fmla="*/ 107202 h 604887"/>
              <a:gd name="connsiteX58" fmla="*/ 158398 w 546670"/>
              <a:gd name="connsiteY58" fmla="*/ 105647 h 604887"/>
              <a:gd name="connsiteX59" fmla="*/ 162179 w 546670"/>
              <a:gd name="connsiteY59" fmla="*/ 103203 h 604887"/>
              <a:gd name="connsiteX60" fmla="*/ 163848 w 546670"/>
              <a:gd name="connsiteY60" fmla="*/ 100093 h 604887"/>
              <a:gd name="connsiteX61" fmla="*/ 163848 w 546670"/>
              <a:gd name="connsiteY61" fmla="*/ 93761 h 604887"/>
              <a:gd name="connsiteX62" fmla="*/ 160066 w 546670"/>
              <a:gd name="connsiteY62" fmla="*/ 89872 h 604887"/>
              <a:gd name="connsiteX63" fmla="*/ 157953 w 546670"/>
              <a:gd name="connsiteY63" fmla="*/ 89872 h 604887"/>
              <a:gd name="connsiteX64" fmla="*/ 156729 w 546670"/>
              <a:gd name="connsiteY64" fmla="*/ 88650 h 604887"/>
              <a:gd name="connsiteX65" fmla="*/ 153058 w 546670"/>
              <a:gd name="connsiteY65" fmla="*/ 88317 h 604887"/>
              <a:gd name="connsiteX66" fmla="*/ 137930 w 546670"/>
              <a:gd name="connsiteY66" fmla="*/ 91761 h 604887"/>
              <a:gd name="connsiteX67" fmla="*/ 114460 w 546670"/>
              <a:gd name="connsiteY67" fmla="*/ 81207 h 604887"/>
              <a:gd name="connsiteX68" fmla="*/ 93214 w 546670"/>
              <a:gd name="connsiteY68" fmla="*/ 72653 h 604887"/>
              <a:gd name="connsiteX69" fmla="*/ 337631 w 546670"/>
              <a:gd name="connsiteY69" fmla="*/ 69193 h 604887"/>
              <a:gd name="connsiteX70" fmla="*/ 352427 w 546670"/>
              <a:gd name="connsiteY70" fmla="*/ 99187 h 604887"/>
              <a:gd name="connsiteX71" fmla="*/ 375678 w 546670"/>
              <a:gd name="connsiteY71" fmla="*/ 174952 h 604887"/>
              <a:gd name="connsiteX72" fmla="*/ 451551 w 546670"/>
              <a:gd name="connsiteY72" fmla="*/ 198059 h 604887"/>
              <a:gd name="connsiteX73" fmla="*/ 481589 w 546670"/>
              <a:gd name="connsiteY73" fmla="*/ 212945 h 604887"/>
              <a:gd name="connsiteX74" fmla="*/ 337631 w 546670"/>
              <a:gd name="connsiteY74" fmla="*/ 69193 h 604887"/>
              <a:gd name="connsiteX75" fmla="*/ 247963 w 546670"/>
              <a:gd name="connsiteY75" fmla="*/ 4093 h 604887"/>
              <a:gd name="connsiteX76" fmla="*/ 546670 w 546670"/>
              <a:gd name="connsiteY76" fmla="*/ 302373 h 604887"/>
              <a:gd name="connsiteX77" fmla="*/ 247963 w 546670"/>
              <a:gd name="connsiteY77" fmla="*/ 600653 h 604887"/>
              <a:gd name="connsiteX78" fmla="*/ 242957 w 546670"/>
              <a:gd name="connsiteY78" fmla="*/ 600653 h 604887"/>
              <a:gd name="connsiteX79" fmla="*/ 242957 w 546670"/>
              <a:gd name="connsiteY79" fmla="*/ 551662 h 604887"/>
              <a:gd name="connsiteX80" fmla="*/ 247963 w 546670"/>
              <a:gd name="connsiteY80" fmla="*/ 552217 h 604887"/>
              <a:gd name="connsiteX81" fmla="*/ 307705 w 546670"/>
              <a:gd name="connsiteY81" fmla="*/ 486674 h 604887"/>
              <a:gd name="connsiteX82" fmla="*/ 323836 w 546670"/>
              <a:gd name="connsiteY82" fmla="*/ 438238 h 604887"/>
              <a:gd name="connsiteX83" fmla="*/ 247963 w 546670"/>
              <a:gd name="connsiteY83" fmla="*/ 442570 h 604887"/>
              <a:gd name="connsiteX84" fmla="*/ 242957 w 546670"/>
              <a:gd name="connsiteY84" fmla="*/ 442570 h 604887"/>
              <a:gd name="connsiteX85" fmla="*/ 242957 w 546670"/>
              <a:gd name="connsiteY85" fmla="*/ 394024 h 604887"/>
              <a:gd name="connsiteX86" fmla="*/ 247963 w 546670"/>
              <a:gd name="connsiteY86" fmla="*/ 394135 h 604887"/>
              <a:gd name="connsiteX87" fmla="*/ 333848 w 546670"/>
              <a:gd name="connsiteY87" fmla="*/ 388136 h 604887"/>
              <a:gd name="connsiteX88" fmla="*/ 339856 w 546670"/>
              <a:gd name="connsiteY88" fmla="*/ 302373 h 604887"/>
              <a:gd name="connsiteX89" fmla="*/ 333848 w 546670"/>
              <a:gd name="connsiteY89" fmla="*/ 216722 h 604887"/>
              <a:gd name="connsiteX90" fmla="*/ 247963 w 546670"/>
              <a:gd name="connsiteY90" fmla="*/ 210723 h 604887"/>
              <a:gd name="connsiteX91" fmla="*/ 242957 w 546670"/>
              <a:gd name="connsiteY91" fmla="*/ 210723 h 604887"/>
              <a:gd name="connsiteX92" fmla="*/ 242957 w 546670"/>
              <a:gd name="connsiteY92" fmla="*/ 162287 h 604887"/>
              <a:gd name="connsiteX93" fmla="*/ 247963 w 546670"/>
              <a:gd name="connsiteY93" fmla="*/ 162176 h 604887"/>
              <a:gd name="connsiteX94" fmla="*/ 323836 w 546670"/>
              <a:gd name="connsiteY94" fmla="*/ 166509 h 604887"/>
              <a:gd name="connsiteX95" fmla="*/ 307705 w 546670"/>
              <a:gd name="connsiteY95" fmla="*/ 118073 h 604887"/>
              <a:gd name="connsiteX96" fmla="*/ 247963 w 546670"/>
              <a:gd name="connsiteY96" fmla="*/ 52640 h 604887"/>
              <a:gd name="connsiteX97" fmla="*/ 242957 w 546670"/>
              <a:gd name="connsiteY97" fmla="*/ 53196 h 604887"/>
              <a:gd name="connsiteX98" fmla="*/ 242957 w 546670"/>
              <a:gd name="connsiteY98" fmla="*/ 4204 h 604887"/>
              <a:gd name="connsiteX99" fmla="*/ 247963 w 546670"/>
              <a:gd name="connsiteY99" fmla="*/ 4093 h 604887"/>
              <a:gd name="connsiteX100" fmla="*/ 101779 w 546670"/>
              <a:gd name="connsiteY100" fmla="*/ 0 h 604887"/>
              <a:gd name="connsiteX101" fmla="*/ 121134 w 546670"/>
              <a:gd name="connsiteY101" fmla="*/ 0 h 604887"/>
              <a:gd name="connsiteX102" fmla="*/ 180978 w 546670"/>
              <a:gd name="connsiteY102" fmla="*/ 59656 h 604887"/>
              <a:gd name="connsiteX103" fmla="*/ 180978 w 546670"/>
              <a:gd name="connsiteY103" fmla="*/ 78430 h 604887"/>
              <a:gd name="connsiteX104" fmla="*/ 184315 w 546670"/>
              <a:gd name="connsiteY104" fmla="*/ 89095 h 604887"/>
              <a:gd name="connsiteX105" fmla="*/ 184315 w 546670"/>
              <a:gd name="connsiteY105" fmla="*/ 102426 h 604887"/>
              <a:gd name="connsiteX106" fmla="*/ 177752 w 546670"/>
              <a:gd name="connsiteY106" fmla="*/ 116534 h 604887"/>
              <a:gd name="connsiteX107" fmla="*/ 173859 w 546670"/>
              <a:gd name="connsiteY107" fmla="*/ 126643 h 604887"/>
              <a:gd name="connsiteX108" fmla="*/ 161067 w 546670"/>
              <a:gd name="connsiteY108" fmla="*/ 150861 h 604887"/>
              <a:gd name="connsiteX109" fmla="*/ 152502 w 546670"/>
              <a:gd name="connsiteY109" fmla="*/ 161748 h 604887"/>
              <a:gd name="connsiteX110" fmla="*/ 160400 w 546670"/>
              <a:gd name="connsiteY110" fmla="*/ 167747 h 604887"/>
              <a:gd name="connsiteX111" fmla="*/ 204115 w 546670"/>
              <a:gd name="connsiteY111" fmla="*/ 176412 h 604887"/>
              <a:gd name="connsiteX112" fmla="*/ 223692 w 546670"/>
              <a:gd name="connsiteY112" fmla="*/ 200407 h 604887"/>
              <a:gd name="connsiteX113" fmla="*/ 223692 w 546670"/>
              <a:gd name="connsiteY113" fmla="*/ 358044 h 604887"/>
              <a:gd name="connsiteX114" fmla="*/ 221467 w 546670"/>
              <a:gd name="connsiteY114" fmla="*/ 368265 h 604887"/>
              <a:gd name="connsiteX115" fmla="*/ 221467 w 546670"/>
              <a:gd name="connsiteY115" fmla="*/ 385484 h 604887"/>
              <a:gd name="connsiteX116" fmla="*/ 200110 w 546670"/>
              <a:gd name="connsiteY116" fmla="*/ 406813 h 604887"/>
              <a:gd name="connsiteX117" fmla="*/ 188431 w 546670"/>
              <a:gd name="connsiteY117" fmla="*/ 403369 h 604887"/>
              <a:gd name="connsiteX118" fmla="*/ 188431 w 546670"/>
              <a:gd name="connsiteY118" fmla="*/ 566561 h 604887"/>
              <a:gd name="connsiteX119" fmla="*/ 150166 w 546670"/>
              <a:gd name="connsiteY119" fmla="*/ 604887 h 604887"/>
              <a:gd name="connsiteX120" fmla="*/ 111902 w 546670"/>
              <a:gd name="connsiteY120" fmla="*/ 566561 h 604887"/>
              <a:gd name="connsiteX121" fmla="*/ 73526 w 546670"/>
              <a:gd name="connsiteY121" fmla="*/ 604887 h 604887"/>
              <a:gd name="connsiteX122" fmla="*/ 35261 w 546670"/>
              <a:gd name="connsiteY122" fmla="*/ 566561 h 604887"/>
              <a:gd name="connsiteX123" fmla="*/ 35261 w 546670"/>
              <a:gd name="connsiteY123" fmla="*/ 403369 h 604887"/>
              <a:gd name="connsiteX124" fmla="*/ 23582 w 546670"/>
              <a:gd name="connsiteY124" fmla="*/ 406813 h 604887"/>
              <a:gd name="connsiteX125" fmla="*/ 2225 w 546670"/>
              <a:gd name="connsiteY125" fmla="*/ 385484 h 604887"/>
              <a:gd name="connsiteX126" fmla="*/ 2225 w 546670"/>
              <a:gd name="connsiteY126" fmla="*/ 368265 h 604887"/>
              <a:gd name="connsiteX127" fmla="*/ 0 w 546670"/>
              <a:gd name="connsiteY127" fmla="*/ 358044 h 604887"/>
              <a:gd name="connsiteX128" fmla="*/ 0 w 546670"/>
              <a:gd name="connsiteY128" fmla="*/ 200296 h 604887"/>
              <a:gd name="connsiteX129" fmla="*/ 19577 w 546670"/>
              <a:gd name="connsiteY129" fmla="*/ 176412 h 604887"/>
              <a:gd name="connsiteX130" fmla="*/ 62625 w 546670"/>
              <a:gd name="connsiteY130" fmla="*/ 167747 h 604887"/>
              <a:gd name="connsiteX131" fmla="*/ 70522 w 546670"/>
              <a:gd name="connsiteY131" fmla="*/ 161748 h 604887"/>
              <a:gd name="connsiteX132" fmla="*/ 61957 w 546670"/>
              <a:gd name="connsiteY132" fmla="*/ 150861 h 604887"/>
              <a:gd name="connsiteX133" fmla="*/ 49054 w 546670"/>
              <a:gd name="connsiteY133" fmla="*/ 126643 h 604887"/>
              <a:gd name="connsiteX134" fmla="*/ 45161 w 546670"/>
              <a:gd name="connsiteY134" fmla="*/ 116534 h 604887"/>
              <a:gd name="connsiteX135" fmla="*/ 38598 w 546670"/>
              <a:gd name="connsiteY135" fmla="*/ 102426 h 604887"/>
              <a:gd name="connsiteX136" fmla="*/ 38598 w 546670"/>
              <a:gd name="connsiteY136" fmla="*/ 89095 h 604887"/>
              <a:gd name="connsiteX137" fmla="*/ 42047 w 546670"/>
              <a:gd name="connsiteY137" fmla="*/ 78430 h 604887"/>
              <a:gd name="connsiteX138" fmla="*/ 42047 w 546670"/>
              <a:gd name="connsiteY138" fmla="*/ 59656 h 604887"/>
              <a:gd name="connsiteX139" fmla="*/ 101779 w 546670"/>
              <a:gd name="connsiteY139" fmla="*/ 0 h 60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46670" h="604887">
                <a:moveTo>
                  <a:pt x="481589" y="391913"/>
                </a:moveTo>
                <a:cubicBezTo>
                  <a:pt x="472466" y="397134"/>
                  <a:pt x="462454" y="402133"/>
                  <a:pt x="451551" y="406688"/>
                </a:cubicBezTo>
                <a:cubicBezTo>
                  <a:pt x="428967" y="416242"/>
                  <a:pt x="403269" y="424018"/>
                  <a:pt x="375678" y="429906"/>
                </a:cubicBezTo>
                <a:cubicBezTo>
                  <a:pt x="369782" y="457457"/>
                  <a:pt x="361995" y="483008"/>
                  <a:pt x="352427" y="505670"/>
                </a:cubicBezTo>
                <a:cubicBezTo>
                  <a:pt x="347866" y="516446"/>
                  <a:pt x="342860" y="526444"/>
                  <a:pt x="337631" y="535554"/>
                </a:cubicBezTo>
                <a:cubicBezTo>
                  <a:pt x="403602" y="510225"/>
                  <a:pt x="456112" y="457790"/>
                  <a:pt x="481589" y="391913"/>
                </a:cubicBezTo>
                <a:close/>
                <a:moveTo>
                  <a:pt x="384133" y="226609"/>
                </a:moveTo>
                <a:cubicBezTo>
                  <a:pt x="386915" y="251049"/>
                  <a:pt x="388361" y="276489"/>
                  <a:pt x="388361" y="302373"/>
                </a:cubicBezTo>
                <a:cubicBezTo>
                  <a:pt x="388361" y="328369"/>
                  <a:pt x="386915" y="353697"/>
                  <a:pt x="384133" y="378137"/>
                </a:cubicBezTo>
                <a:cubicBezTo>
                  <a:pt x="401600" y="373694"/>
                  <a:pt x="417842" y="368250"/>
                  <a:pt x="432639" y="362029"/>
                </a:cubicBezTo>
                <a:cubicBezTo>
                  <a:pt x="473690" y="344699"/>
                  <a:pt x="498165" y="322370"/>
                  <a:pt x="498165" y="302373"/>
                </a:cubicBezTo>
                <a:cubicBezTo>
                  <a:pt x="498165" y="282377"/>
                  <a:pt x="473690" y="260047"/>
                  <a:pt x="432639" y="242717"/>
                </a:cubicBezTo>
                <a:cubicBezTo>
                  <a:pt x="417842" y="236496"/>
                  <a:pt x="401600" y="231164"/>
                  <a:pt x="384133" y="226609"/>
                </a:cubicBezTo>
                <a:close/>
                <a:moveTo>
                  <a:pt x="135706" y="175523"/>
                </a:moveTo>
                <a:cubicBezTo>
                  <a:pt x="132591" y="177189"/>
                  <a:pt x="129477" y="178300"/>
                  <a:pt x="126473" y="178856"/>
                </a:cubicBezTo>
                <a:cubicBezTo>
                  <a:pt x="124582" y="179189"/>
                  <a:pt x="123248" y="180744"/>
                  <a:pt x="123248" y="182633"/>
                </a:cubicBezTo>
                <a:lnTo>
                  <a:pt x="123248" y="192075"/>
                </a:lnTo>
                <a:cubicBezTo>
                  <a:pt x="122691" y="192298"/>
                  <a:pt x="122246" y="192631"/>
                  <a:pt x="121801" y="193075"/>
                </a:cubicBezTo>
                <a:cubicBezTo>
                  <a:pt x="121134" y="193964"/>
                  <a:pt x="120689" y="194964"/>
                  <a:pt x="120912" y="196075"/>
                </a:cubicBezTo>
                <a:lnTo>
                  <a:pt x="122914" y="216404"/>
                </a:lnTo>
                <a:cubicBezTo>
                  <a:pt x="123136" y="217960"/>
                  <a:pt x="124249" y="219293"/>
                  <a:pt x="125695" y="219737"/>
                </a:cubicBezTo>
                <a:cubicBezTo>
                  <a:pt x="126028" y="219737"/>
                  <a:pt x="126473" y="219848"/>
                  <a:pt x="126807" y="219848"/>
                </a:cubicBezTo>
                <a:cubicBezTo>
                  <a:pt x="127919" y="219848"/>
                  <a:pt x="129032" y="219293"/>
                  <a:pt x="129810" y="218293"/>
                </a:cubicBezTo>
                <a:lnTo>
                  <a:pt x="140600" y="204073"/>
                </a:lnTo>
                <a:cubicBezTo>
                  <a:pt x="141045" y="203407"/>
                  <a:pt x="141379" y="202629"/>
                  <a:pt x="141379" y="201740"/>
                </a:cubicBezTo>
                <a:lnTo>
                  <a:pt x="141379" y="178856"/>
                </a:lnTo>
                <a:cubicBezTo>
                  <a:pt x="141379" y="177523"/>
                  <a:pt x="140600" y="176301"/>
                  <a:pt x="139488" y="175634"/>
                </a:cubicBezTo>
                <a:cubicBezTo>
                  <a:pt x="138375" y="174968"/>
                  <a:pt x="136929" y="174856"/>
                  <a:pt x="135706" y="175523"/>
                </a:cubicBezTo>
                <a:close/>
                <a:moveTo>
                  <a:pt x="87208" y="175523"/>
                </a:moveTo>
                <a:cubicBezTo>
                  <a:pt x="86095" y="174856"/>
                  <a:pt x="84649" y="174968"/>
                  <a:pt x="83537" y="175634"/>
                </a:cubicBezTo>
                <a:cubicBezTo>
                  <a:pt x="82313" y="176301"/>
                  <a:pt x="81646" y="177523"/>
                  <a:pt x="81646" y="178856"/>
                </a:cubicBezTo>
                <a:lnTo>
                  <a:pt x="81646" y="201740"/>
                </a:lnTo>
                <a:cubicBezTo>
                  <a:pt x="81646" y="202629"/>
                  <a:pt x="81868" y="203407"/>
                  <a:pt x="82425" y="204073"/>
                </a:cubicBezTo>
                <a:lnTo>
                  <a:pt x="93103" y="218293"/>
                </a:lnTo>
                <a:cubicBezTo>
                  <a:pt x="93882" y="219293"/>
                  <a:pt x="94994" y="219848"/>
                  <a:pt x="96218" y="219848"/>
                </a:cubicBezTo>
                <a:cubicBezTo>
                  <a:pt x="96551" y="219848"/>
                  <a:pt x="96885" y="219848"/>
                  <a:pt x="97219" y="219737"/>
                </a:cubicBezTo>
                <a:cubicBezTo>
                  <a:pt x="98776" y="219293"/>
                  <a:pt x="99888" y="217960"/>
                  <a:pt x="100000" y="216404"/>
                </a:cubicBezTo>
                <a:lnTo>
                  <a:pt x="102113" y="196075"/>
                </a:lnTo>
                <a:cubicBezTo>
                  <a:pt x="102224" y="194964"/>
                  <a:pt x="101891" y="193964"/>
                  <a:pt x="101112" y="193075"/>
                </a:cubicBezTo>
                <a:cubicBezTo>
                  <a:pt x="100778" y="192631"/>
                  <a:pt x="100222" y="192298"/>
                  <a:pt x="99666" y="192075"/>
                </a:cubicBezTo>
                <a:lnTo>
                  <a:pt x="99666" y="182633"/>
                </a:lnTo>
                <a:cubicBezTo>
                  <a:pt x="99666" y="180744"/>
                  <a:pt x="98331" y="179189"/>
                  <a:pt x="96551" y="178856"/>
                </a:cubicBezTo>
                <a:cubicBezTo>
                  <a:pt x="93548" y="178300"/>
                  <a:pt x="90433" y="177189"/>
                  <a:pt x="87208" y="175523"/>
                </a:cubicBezTo>
                <a:close/>
                <a:moveTo>
                  <a:pt x="93214" y="72653"/>
                </a:moveTo>
                <a:cubicBezTo>
                  <a:pt x="82313" y="72653"/>
                  <a:pt x="71857" y="77097"/>
                  <a:pt x="66629" y="79652"/>
                </a:cubicBezTo>
                <a:cubicBezTo>
                  <a:pt x="65294" y="80319"/>
                  <a:pt x="64516" y="81652"/>
                  <a:pt x="64516" y="83096"/>
                </a:cubicBezTo>
                <a:lnTo>
                  <a:pt x="64516" y="89872"/>
                </a:lnTo>
                <a:lnTo>
                  <a:pt x="62959" y="89872"/>
                </a:lnTo>
                <a:cubicBezTo>
                  <a:pt x="60845" y="89872"/>
                  <a:pt x="59065" y="91650"/>
                  <a:pt x="59065" y="93761"/>
                </a:cubicBezTo>
                <a:lnTo>
                  <a:pt x="59065" y="99982"/>
                </a:lnTo>
                <a:cubicBezTo>
                  <a:pt x="59065" y="101315"/>
                  <a:pt x="59733" y="102537"/>
                  <a:pt x="60845" y="103203"/>
                </a:cubicBezTo>
                <a:lnTo>
                  <a:pt x="64516" y="105647"/>
                </a:lnTo>
                <a:lnTo>
                  <a:pt x="64738" y="107202"/>
                </a:lnTo>
                <a:cubicBezTo>
                  <a:pt x="65962" y="116423"/>
                  <a:pt x="71079" y="128199"/>
                  <a:pt x="78531" y="138974"/>
                </a:cubicBezTo>
                <a:cubicBezTo>
                  <a:pt x="87875" y="152527"/>
                  <a:pt x="96663" y="158526"/>
                  <a:pt x="101223" y="158526"/>
                </a:cubicBezTo>
                <a:lnTo>
                  <a:pt x="121801" y="158526"/>
                </a:lnTo>
                <a:cubicBezTo>
                  <a:pt x="126362" y="158526"/>
                  <a:pt x="135150" y="152527"/>
                  <a:pt x="144493" y="138974"/>
                </a:cubicBezTo>
                <a:cubicBezTo>
                  <a:pt x="151835" y="128199"/>
                  <a:pt x="156951" y="116423"/>
                  <a:pt x="158175" y="107202"/>
                </a:cubicBezTo>
                <a:lnTo>
                  <a:pt x="158398" y="105647"/>
                </a:lnTo>
                <a:lnTo>
                  <a:pt x="162179" y="103203"/>
                </a:lnTo>
                <a:cubicBezTo>
                  <a:pt x="163181" y="102537"/>
                  <a:pt x="163848" y="101315"/>
                  <a:pt x="163848" y="100093"/>
                </a:cubicBezTo>
                <a:lnTo>
                  <a:pt x="163848" y="93761"/>
                </a:lnTo>
                <a:cubicBezTo>
                  <a:pt x="163848" y="91650"/>
                  <a:pt x="162179" y="89872"/>
                  <a:pt x="160066" y="89872"/>
                </a:cubicBezTo>
                <a:lnTo>
                  <a:pt x="157953" y="89872"/>
                </a:lnTo>
                <a:cubicBezTo>
                  <a:pt x="157619" y="89428"/>
                  <a:pt x="157285" y="88984"/>
                  <a:pt x="156729" y="88650"/>
                </a:cubicBezTo>
                <a:cubicBezTo>
                  <a:pt x="155617" y="87984"/>
                  <a:pt x="154282" y="87873"/>
                  <a:pt x="153058" y="88317"/>
                </a:cubicBezTo>
                <a:cubicBezTo>
                  <a:pt x="147942" y="90650"/>
                  <a:pt x="142825" y="91761"/>
                  <a:pt x="137930" y="91761"/>
                </a:cubicBezTo>
                <a:cubicBezTo>
                  <a:pt x="129254" y="91761"/>
                  <a:pt x="121357" y="88206"/>
                  <a:pt x="114460" y="81207"/>
                </a:cubicBezTo>
                <a:cubicBezTo>
                  <a:pt x="109010" y="75542"/>
                  <a:pt x="101779" y="72653"/>
                  <a:pt x="93214" y="72653"/>
                </a:cubicBezTo>
                <a:close/>
                <a:moveTo>
                  <a:pt x="337631" y="69193"/>
                </a:moveTo>
                <a:cubicBezTo>
                  <a:pt x="342860" y="78302"/>
                  <a:pt x="347866" y="88300"/>
                  <a:pt x="352427" y="99187"/>
                </a:cubicBezTo>
                <a:cubicBezTo>
                  <a:pt x="361995" y="121739"/>
                  <a:pt x="369782" y="147290"/>
                  <a:pt x="375678" y="174952"/>
                </a:cubicBezTo>
                <a:cubicBezTo>
                  <a:pt x="403269" y="180728"/>
                  <a:pt x="428967" y="188505"/>
                  <a:pt x="451551" y="198059"/>
                </a:cubicBezTo>
                <a:cubicBezTo>
                  <a:pt x="462454" y="202724"/>
                  <a:pt x="472466" y="207612"/>
                  <a:pt x="481589" y="212945"/>
                </a:cubicBezTo>
                <a:cubicBezTo>
                  <a:pt x="456112" y="147068"/>
                  <a:pt x="403602" y="94633"/>
                  <a:pt x="337631" y="69193"/>
                </a:cubicBezTo>
                <a:close/>
                <a:moveTo>
                  <a:pt x="247963" y="4093"/>
                </a:moveTo>
                <a:cubicBezTo>
                  <a:pt x="412725" y="4093"/>
                  <a:pt x="546670" y="137958"/>
                  <a:pt x="546670" y="302373"/>
                </a:cubicBezTo>
                <a:cubicBezTo>
                  <a:pt x="546670" y="466899"/>
                  <a:pt x="412725" y="600653"/>
                  <a:pt x="247963" y="600653"/>
                </a:cubicBezTo>
                <a:cubicBezTo>
                  <a:pt x="246295" y="600653"/>
                  <a:pt x="244626" y="600653"/>
                  <a:pt x="242957" y="600653"/>
                </a:cubicBezTo>
                <a:lnTo>
                  <a:pt x="242957" y="551662"/>
                </a:lnTo>
                <a:cubicBezTo>
                  <a:pt x="244626" y="551995"/>
                  <a:pt x="246295" y="552217"/>
                  <a:pt x="247963" y="552217"/>
                </a:cubicBezTo>
                <a:cubicBezTo>
                  <a:pt x="268100" y="552217"/>
                  <a:pt x="290350" y="527666"/>
                  <a:pt x="307705" y="486674"/>
                </a:cubicBezTo>
                <a:cubicBezTo>
                  <a:pt x="314046" y="472010"/>
                  <a:pt x="319386" y="455679"/>
                  <a:pt x="323836" y="438238"/>
                </a:cubicBezTo>
                <a:cubicBezTo>
                  <a:pt x="299472" y="441126"/>
                  <a:pt x="273996" y="442570"/>
                  <a:pt x="247963" y="442570"/>
                </a:cubicBezTo>
                <a:cubicBezTo>
                  <a:pt x="246295" y="442570"/>
                  <a:pt x="244626" y="442570"/>
                  <a:pt x="242957" y="442570"/>
                </a:cubicBezTo>
                <a:lnTo>
                  <a:pt x="242957" y="394024"/>
                </a:lnTo>
                <a:cubicBezTo>
                  <a:pt x="244626" y="394024"/>
                  <a:pt x="246295" y="394135"/>
                  <a:pt x="247963" y="394135"/>
                </a:cubicBezTo>
                <a:cubicBezTo>
                  <a:pt x="277778" y="394135"/>
                  <a:pt x="306703" y="392024"/>
                  <a:pt x="333848" y="388136"/>
                </a:cubicBezTo>
                <a:cubicBezTo>
                  <a:pt x="337742" y="361029"/>
                  <a:pt x="339856" y="332146"/>
                  <a:pt x="339856" y="302373"/>
                </a:cubicBezTo>
                <a:cubicBezTo>
                  <a:pt x="339856" y="272712"/>
                  <a:pt x="337742" y="243828"/>
                  <a:pt x="333848" y="216722"/>
                </a:cubicBezTo>
                <a:cubicBezTo>
                  <a:pt x="306703" y="212723"/>
                  <a:pt x="277778" y="210723"/>
                  <a:pt x="247963" y="210723"/>
                </a:cubicBezTo>
                <a:cubicBezTo>
                  <a:pt x="246295" y="210723"/>
                  <a:pt x="244626" y="210723"/>
                  <a:pt x="242957" y="210723"/>
                </a:cubicBezTo>
                <a:lnTo>
                  <a:pt x="242957" y="162287"/>
                </a:lnTo>
                <a:cubicBezTo>
                  <a:pt x="244626" y="162287"/>
                  <a:pt x="246295" y="162176"/>
                  <a:pt x="247963" y="162176"/>
                </a:cubicBezTo>
                <a:cubicBezTo>
                  <a:pt x="273996" y="162176"/>
                  <a:pt x="299472" y="163731"/>
                  <a:pt x="323836" y="166509"/>
                </a:cubicBezTo>
                <a:cubicBezTo>
                  <a:pt x="319386" y="149067"/>
                  <a:pt x="314046" y="132848"/>
                  <a:pt x="307705" y="118073"/>
                </a:cubicBezTo>
                <a:cubicBezTo>
                  <a:pt x="290350" y="77080"/>
                  <a:pt x="268100" y="52640"/>
                  <a:pt x="247963" y="52640"/>
                </a:cubicBezTo>
                <a:cubicBezTo>
                  <a:pt x="246295" y="52640"/>
                  <a:pt x="244626" y="52862"/>
                  <a:pt x="242957" y="53196"/>
                </a:cubicBezTo>
                <a:lnTo>
                  <a:pt x="242957" y="4204"/>
                </a:lnTo>
                <a:cubicBezTo>
                  <a:pt x="244626" y="4204"/>
                  <a:pt x="246295" y="4093"/>
                  <a:pt x="247963" y="4093"/>
                </a:cubicBezTo>
                <a:close/>
                <a:moveTo>
                  <a:pt x="101779" y="0"/>
                </a:moveTo>
                <a:lnTo>
                  <a:pt x="121134" y="0"/>
                </a:lnTo>
                <a:cubicBezTo>
                  <a:pt x="154171" y="0"/>
                  <a:pt x="180978" y="26773"/>
                  <a:pt x="180978" y="59656"/>
                </a:cubicBezTo>
                <a:lnTo>
                  <a:pt x="180978" y="78430"/>
                </a:lnTo>
                <a:cubicBezTo>
                  <a:pt x="183203" y="81541"/>
                  <a:pt x="184315" y="85318"/>
                  <a:pt x="184315" y="89095"/>
                </a:cubicBezTo>
                <a:lnTo>
                  <a:pt x="184315" y="102426"/>
                </a:lnTo>
                <a:cubicBezTo>
                  <a:pt x="184315" y="107869"/>
                  <a:pt x="181868" y="113090"/>
                  <a:pt x="177752" y="116534"/>
                </a:cubicBezTo>
                <a:cubicBezTo>
                  <a:pt x="176751" y="119867"/>
                  <a:pt x="175416" y="123311"/>
                  <a:pt x="173859" y="126643"/>
                </a:cubicBezTo>
                <a:cubicBezTo>
                  <a:pt x="170856" y="134753"/>
                  <a:pt x="166406" y="143085"/>
                  <a:pt x="161067" y="150861"/>
                </a:cubicBezTo>
                <a:cubicBezTo>
                  <a:pt x="158842" y="154083"/>
                  <a:pt x="155839" y="157860"/>
                  <a:pt x="152502" y="161748"/>
                </a:cubicBezTo>
                <a:cubicBezTo>
                  <a:pt x="155505" y="163192"/>
                  <a:pt x="158175" y="165192"/>
                  <a:pt x="160400" y="167747"/>
                </a:cubicBezTo>
                <a:lnTo>
                  <a:pt x="204115" y="176412"/>
                </a:lnTo>
                <a:cubicBezTo>
                  <a:pt x="215461" y="178745"/>
                  <a:pt x="223692" y="188743"/>
                  <a:pt x="223692" y="200407"/>
                </a:cubicBezTo>
                <a:lnTo>
                  <a:pt x="223692" y="358044"/>
                </a:lnTo>
                <a:cubicBezTo>
                  <a:pt x="223692" y="361710"/>
                  <a:pt x="222913" y="365154"/>
                  <a:pt x="221467" y="368265"/>
                </a:cubicBezTo>
                <a:lnTo>
                  <a:pt x="221467" y="385484"/>
                </a:lnTo>
                <a:cubicBezTo>
                  <a:pt x="221467" y="397259"/>
                  <a:pt x="211901" y="406813"/>
                  <a:pt x="200110" y="406813"/>
                </a:cubicBezTo>
                <a:cubicBezTo>
                  <a:pt x="195772" y="406813"/>
                  <a:pt x="191879" y="405591"/>
                  <a:pt x="188431" y="403369"/>
                </a:cubicBezTo>
                <a:lnTo>
                  <a:pt x="188431" y="566561"/>
                </a:lnTo>
                <a:cubicBezTo>
                  <a:pt x="188431" y="587668"/>
                  <a:pt x="171301" y="604887"/>
                  <a:pt x="150166" y="604887"/>
                </a:cubicBezTo>
                <a:cubicBezTo>
                  <a:pt x="129032" y="604887"/>
                  <a:pt x="111902" y="587668"/>
                  <a:pt x="111902" y="566561"/>
                </a:cubicBezTo>
                <a:cubicBezTo>
                  <a:pt x="111902" y="587668"/>
                  <a:pt x="94772" y="604887"/>
                  <a:pt x="73526" y="604887"/>
                </a:cubicBezTo>
                <a:cubicBezTo>
                  <a:pt x="52391" y="604887"/>
                  <a:pt x="35261" y="587668"/>
                  <a:pt x="35261" y="566561"/>
                </a:cubicBezTo>
                <a:lnTo>
                  <a:pt x="35261" y="403369"/>
                </a:lnTo>
                <a:cubicBezTo>
                  <a:pt x="31924" y="405591"/>
                  <a:pt x="27920" y="406813"/>
                  <a:pt x="23582" y="406813"/>
                </a:cubicBezTo>
                <a:cubicBezTo>
                  <a:pt x="11791" y="406813"/>
                  <a:pt x="2225" y="397259"/>
                  <a:pt x="2225" y="385484"/>
                </a:cubicBezTo>
                <a:lnTo>
                  <a:pt x="2225" y="368265"/>
                </a:lnTo>
                <a:cubicBezTo>
                  <a:pt x="779" y="365154"/>
                  <a:pt x="0" y="361710"/>
                  <a:pt x="0" y="358044"/>
                </a:cubicBezTo>
                <a:lnTo>
                  <a:pt x="0" y="200296"/>
                </a:lnTo>
                <a:cubicBezTo>
                  <a:pt x="0" y="188743"/>
                  <a:pt x="8231" y="178745"/>
                  <a:pt x="19577" y="176412"/>
                </a:cubicBezTo>
                <a:lnTo>
                  <a:pt x="62625" y="167747"/>
                </a:lnTo>
                <a:cubicBezTo>
                  <a:pt x="64850" y="165192"/>
                  <a:pt x="67519" y="163192"/>
                  <a:pt x="70522" y="161748"/>
                </a:cubicBezTo>
                <a:cubicBezTo>
                  <a:pt x="67074" y="157971"/>
                  <a:pt x="64182" y="154083"/>
                  <a:pt x="61957" y="150861"/>
                </a:cubicBezTo>
                <a:cubicBezTo>
                  <a:pt x="56618" y="143085"/>
                  <a:pt x="52169" y="134753"/>
                  <a:pt x="49054" y="126643"/>
                </a:cubicBezTo>
                <a:cubicBezTo>
                  <a:pt x="47497" y="123311"/>
                  <a:pt x="46273" y="119867"/>
                  <a:pt x="45161" y="116534"/>
                </a:cubicBezTo>
                <a:cubicBezTo>
                  <a:pt x="41045" y="113090"/>
                  <a:pt x="38598" y="107869"/>
                  <a:pt x="38598" y="102426"/>
                </a:cubicBezTo>
                <a:lnTo>
                  <a:pt x="38598" y="89095"/>
                </a:lnTo>
                <a:cubicBezTo>
                  <a:pt x="38598" y="85318"/>
                  <a:pt x="39822" y="81541"/>
                  <a:pt x="42047" y="78430"/>
                </a:cubicBezTo>
                <a:lnTo>
                  <a:pt x="42047" y="59656"/>
                </a:lnTo>
                <a:cubicBezTo>
                  <a:pt x="42047" y="26773"/>
                  <a:pt x="68854" y="0"/>
                  <a:pt x="10177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椭圆 30">
            <a:extLst>
              <a:ext uri="{FF2B5EF4-FFF2-40B4-BE49-F238E27FC236}">
                <a16:creationId xmlns:a16="http://schemas.microsoft.com/office/drawing/2014/main" id="{300C882C-C300-4615-A670-891182A293F4}"/>
              </a:ext>
            </a:extLst>
          </p:cNvPr>
          <p:cNvSpPr/>
          <p:nvPr/>
        </p:nvSpPr>
        <p:spPr>
          <a:xfrm>
            <a:off x="7111536" y="4623876"/>
            <a:ext cx="636450" cy="636450"/>
          </a:xfrm>
          <a:prstGeom prst="ellipse">
            <a:avLst/>
          </a:prstGeom>
          <a:solidFill>
            <a:schemeClr val="accent1"/>
          </a:solidFill>
          <a:ln w="381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8E087CE9-CFA1-4AC0-AE02-0E8D788D2C0F}"/>
              </a:ext>
            </a:extLst>
          </p:cNvPr>
          <p:cNvSpPr/>
          <p:nvPr/>
        </p:nvSpPr>
        <p:spPr>
          <a:xfrm>
            <a:off x="7285312" y="4782269"/>
            <a:ext cx="288898" cy="319665"/>
          </a:xfrm>
          <a:custGeom>
            <a:avLst/>
            <a:gdLst>
              <a:gd name="connsiteX0" fmla="*/ 481589 w 546670"/>
              <a:gd name="connsiteY0" fmla="*/ 391913 h 604887"/>
              <a:gd name="connsiteX1" fmla="*/ 451551 w 546670"/>
              <a:gd name="connsiteY1" fmla="*/ 406688 h 604887"/>
              <a:gd name="connsiteX2" fmla="*/ 375678 w 546670"/>
              <a:gd name="connsiteY2" fmla="*/ 429906 h 604887"/>
              <a:gd name="connsiteX3" fmla="*/ 352427 w 546670"/>
              <a:gd name="connsiteY3" fmla="*/ 505670 h 604887"/>
              <a:gd name="connsiteX4" fmla="*/ 337631 w 546670"/>
              <a:gd name="connsiteY4" fmla="*/ 535554 h 604887"/>
              <a:gd name="connsiteX5" fmla="*/ 481589 w 546670"/>
              <a:gd name="connsiteY5" fmla="*/ 391913 h 604887"/>
              <a:gd name="connsiteX6" fmla="*/ 384133 w 546670"/>
              <a:gd name="connsiteY6" fmla="*/ 226609 h 604887"/>
              <a:gd name="connsiteX7" fmla="*/ 388361 w 546670"/>
              <a:gd name="connsiteY7" fmla="*/ 302373 h 604887"/>
              <a:gd name="connsiteX8" fmla="*/ 384133 w 546670"/>
              <a:gd name="connsiteY8" fmla="*/ 378137 h 604887"/>
              <a:gd name="connsiteX9" fmla="*/ 432639 w 546670"/>
              <a:gd name="connsiteY9" fmla="*/ 362029 h 604887"/>
              <a:gd name="connsiteX10" fmla="*/ 498165 w 546670"/>
              <a:gd name="connsiteY10" fmla="*/ 302373 h 604887"/>
              <a:gd name="connsiteX11" fmla="*/ 432639 w 546670"/>
              <a:gd name="connsiteY11" fmla="*/ 242717 h 604887"/>
              <a:gd name="connsiteX12" fmla="*/ 384133 w 546670"/>
              <a:gd name="connsiteY12" fmla="*/ 226609 h 604887"/>
              <a:gd name="connsiteX13" fmla="*/ 135706 w 546670"/>
              <a:gd name="connsiteY13" fmla="*/ 175523 h 604887"/>
              <a:gd name="connsiteX14" fmla="*/ 126473 w 546670"/>
              <a:gd name="connsiteY14" fmla="*/ 178856 h 604887"/>
              <a:gd name="connsiteX15" fmla="*/ 123248 w 546670"/>
              <a:gd name="connsiteY15" fmla="*/ 182633 h 604887"/>
              <a:gd name="connsiteX16" fmla="*/ 123248 w 546670"/>
              <a:gd name="connsiteY16" fmla="*/ 192075 h 604887"/>
              <a:gd name="connsiteX17" fmla="*/ 121801 w 546670"/>
              <a:gd name="connsiteY17" fmla="*/ 193075 h 604887"/>
              <a:gd name="connsiteX18" fmla="*/ 120912 w 546670"/>
              <a:gd name="connsiteY18" fmla="*/ 196075 h 604887"/>
              <a:gd name="connsiteX19" fmla="*/ 122914 w 546670"/>
              <a:gd name="connsiteY19" fmla="*/ 216404 h 604887"/>
              <a:gd name="connsiteX20" fmla="*/ 125695 w 546670"/>
              <a:gd name="connsiteY20" fmla="*/ 219737 h 604887"/>
              <a:gd name="connsiteX21" fmla="*/ 126807 w 546670"/>
              <a:gd name="connsiteY21" fmla="*/ 219848 h 604887"/>
              <a:gd name="connsiteX22" fmla="*/ 129810 w 546670"/>
              <a:gd name="connsiteY22" fmla="*/ 218293 h 604887"/>
              <a:gd name="connsiteX23" fmla="*/ 140600 w 546670"/>
              <a:gd name="connsiteY23" fmla="*/ 204073 h 604887"/>
              <a:gd name="connsiteX24" fmla="*/ 141379 w 546670"/>
              <a:gd name="connsiteY24" fmla="*/ 201740 h 604887"/>
              <a:gd name="connsiteX25" fmla="*/ 141379 w 546670"/>
              <a:gd name="connsiteY25" fmla="*/ 178856 h 604887"/>
              <a:gd name="connsiteX26" fmla="*/ 139488 w 546670"/>
              <a:gd name="connsiteY26" fmla="*/ 175634 h 604887"/>
              <a:gd name="connsiteX27" fmla="*/ 135706 w 546670"/>
              <a:gd name="connsiteY27" fmla="*/ 175523 h 604887"/>
              <a:gd name="connsiteX28" fmla="*/ 87208 w 546670"/>
              <a:gd name="connsiteY28" fmla="*/ 175523 h 604887"/>
              <a:gd name="connsiteX29" fmla="*/ 83537 w 546670"/>
              <a:gd name="connsiteY29" fmla="*/ 175634 h 604887"/>
              <a:gd name="connsiteX30" fmla="*/ 81646 w 546670"/>
              <a:gd name="connsiteY30" fmla="*/ 178856 h 604887"/>
              <a:gd name="connsiteX31" fmla="*/ 81646 w 546670"/>
              <a:gd name="connsiteY31" fmla="*/ 201740 h 604887"/>
              <a:gd name="connsiteX32" fmla="*/ 82425 w 546670"/>
              <a:gd name="connsiteY32" fmla="*/ 204073 h 604887"/>
              <a:gd name="connsiteX33" fmla="*/ 93103 w 546670"/>
              <a:gd name="connsiteY33" fmla="*/ 218293 h 604887"/>
              <a:gd name="connsiteX34" fmla="*/ 96218 w 546670"/>
              <a:gd name="connsiteY34" fmla="*/ 219848 h 604887"/>
              <a:gd name="connsiteX35" fmla="*/ 97219 w 546670"/>
              <a:gd name="connsiteY35" fmla="*/ 219737 h 604887"/>
              <a:gd name="connsiteX36" fmla="*/ 100000 w 546670"/>
              <a:gd name="connsiteY36" fmla="*/ 216404 h 604887"/>
              <a:gd name="connsiteX37" fmla="*/ 102113 w 546670"/>
              <a:gd name="connsiteY37" fmla="*/ 196075 h 604887"/>
              <a:gd name="connsiteX38" fmla="*/ 101112 w 546670"/>
              <a:gd name="connsiteY38" fmla="*/ 193075 h 604887"/>
              <a:gd name="connsiteX39" fmla="*/ 99666 w 546670"/>
              <a:gd name="connsiteY39" fmla="*/ 192075 h 604887"/>
              <a:gd name="connsiteX40" fmla="*/ 99666 w 546670"/>
              <a:gd name="connsiteY40" fmla="*/ 182633 h 604887"/>
              <a:gd name="connsiteX41" fmla="*/ 96551 w 546670"/>
              <a:gd name="connsiteY41" fmla="*/ 178856 h 604887"/>
              <a:gd name="connsiteX42" fmla="*/ 87208 w 546670"/>
              <a:gd name="connsiteY42" fmla="*/ 175523 h 604887"/>
              <a:gd name="connsiteX43" fmla="*/ 93214 w 546670"/>
              <a:gd name="connsiteY43" fmla="*/ 72653 h 604887"/>
              <a:gd name="connsiteX44" fmla="*/ 66629 w 546670"/>
              <a:gd name="connsiteY44" fmla="*/ 79652 h 604887"/>
              <a:gd name="connsiteX45" fmla="*/ 64516 w 546670"/>
              <a:gd name="connsiteY45" fmla="*/ 83096 h 604887"/>
              <a:gd name="connsiteX46" fmla="*/ 64516 w 546670"/>
              <a:gd name="connsiteY46" fmla="*/ 89872 h 604887"/>
              <a:gd name="connsiteX47" fmla="*/ 62959 w 546670"/>
              <a:gd name="connsiteY47" fmla="*/ 89872 h 604887"/>
              <a:gd name="connsiteX48" fmla="*/ 59065 w 546670"/>
              <a:gd name="connsiteY48" fmla="*/ 93761 h 604887"/>
              <a:gd name="connsiteX49" fmla="*/ 59065 w 546670"/>
              <a:gd name="connsiteY49" fmla="*/ 99982 h 604887"/>
              <a:gd name="connsiteX50" fmla="*/ 60845 w 546670"/>
              <a:gd name="connsiteY50" fmla="*/ 103203 h 604887"/>
              <a:gd name="connsiteX51" fmla="*/ 64516 w 546670"/>
              <a:gd name="connsiteY51" fmla="*/ 105647 h 604887"/>
              <a:gd name="connsiteX52" fmla="*/ 64738 w 546670"/>
              <a:gd name="connsiteY52" fmla="*/ 107202 h 604887"/>
              <a:gd name="connsiteX53" fmla="*/ 78531 w 546670"/>
              <a:gd name="connsiteY53" fmla="*/ 138974 h 604887"/>
              <a:gd name="connsiteX54" fmla="*/ 101223 w 546670"/>
              <a:gd name="connsiteY54" fmla="*/ 158526 h 604887"/>
              <a:gd name="connsiteX55" fmla="*/ 121801 w 546670"/>
              <a:gd name="connsiteY55" fmla="*/ 158526 h 604887"/>
              <a:gd name="connsiteX56" fmla="*/ 144493 w 546670"/>
              <a:gd name="connsiteY56" fmla="*/ 138974 h 604887"/>
              <a:gd name="connsiteX57" fmla="*/ 158175 w 546670"/>
              <a:gd name="connsiteY57" fmla="*/ 107202 h 604887"/>
              <a:gd name="connsiteX58" fmla="*/ 158398 w 546670"/>
              <a:gd name="connsiteY58" fmla="*/ 105647 h 604887"/>
              <a:gd name="connsiteX59" fmla="*/ 162179 w 546670"/>
              <a:gd name="connsiteY59" fmla="*/ 103203 h 604887"/>
              <a:gd name="connsiteX60" fmla="*/ 163848 w 546670"/>
              <a:gd name="connsiteY60" fmla="*/ 100093 h 604887"/>
              <a:gd name="connsiteX61" fmla="*/ 163848 w 546670"/>
              <a:gd name="connsiteY61" fmla="*/ 93761 h 604887"/>
              <a:gd name="connsiteX62" fmla="*/ 160066 w 546670"/>
              <a:gd name="connsiteY62" fmla="*/ 89872 h 604887"/>
              <a:gd name="connsiteX63" fmla="*/ 157953 w 546670"/>
              <a:gd name="connsiteY63" fmla="*/ 89872 h 604887"/>
              <a:gd name="connsiteX64" fmla="*/ 156729 w 546670"/>
              <a:gd name="connsiteY64" fmla="*/ 88650 h 604887"/>
              <a:gd name="connsiteX65" fmla="*/ 153058 w 546670"/>
              <a:gd name="connsiteY65" fmla="*/ 88317 h 604887"/>
              <a:gd name="connsiteX66" fmla="*/ 137930 w 546670"/>
              <a:gd name="connsiteY66" fmla="*/ 91761 h 604887"/>
              <a:gd name="connsiteX67" fmla="*/ 114460 w 546670"/>
              <a:gd name="connsiteY67" fmla="*/ 81207 h 604887"/>
              <a:gd name="connsiteX68" fmla="*/ 93214 w 546670"/>
              <a:gd name="connsiteY68" fmla="*/ 72653 h 604887"/>
              <a:gd name="connsiteX69" fmla="*/ 337631 w 546670"/>
              <a:gd name="connsiteY69" fmla="*/ 69193 h 604887"/>
              <a:gd name="connsiteX70" fmla="*/ 352427 w 546670"/>
              <a:gd name="connsiteY70" fmla="*/ 99187 h 604887"/>
              <a:gd name="connsiteX71" fmla="*/ 375678 w 546670"/>
              <a:gd name="connsiteY71" fmla="*/ 174952 h 604887"/>
              <a:gd name="connsiteX72" fmla="*/ 451551 w 546670"/>
              <a:gd name="connsiteY72" fmla="*/ 198059 h 604887"/>
              <a:gd name="connsiteX73" fmla="*/ 481589 w 546670"/>
              <a:gd name="connsiteY73" fmla="*/ 212945 h 604887"/>
              <a:gd name="connsiteX74" fmla="*/ 337631 w 546670"/>
              <a:gd name="connsiteY74" fmla="*/ 69193 h 604887"/>
              <a:gd name="connsiteX75" fmla="*/ 247963 w 546670"/>
              <a:gd name="connsiteY75" fmla="*/ 4093 h 604887"/>
              <a:gd name="connsiteX76" fmla="*/ 546670 w 546670"/>
              <a:gd name="connsiteY76" fmla="*/ 302373 h 604887"/>
              <a:gd name="connsiteX77" fmla="*/ 247963 w 546670"/>
              <a:gd name="connsiteY77" fmla="*/ 600653 h 604887"/>
              <a:gd name="connsiteX78" fmla="*/ 242957 w 546670"/>
              <a:gd name="connsiteY78" fmla="*/ 600653 h 604887"/>
              <a:gd name="connsiteX79" fmla="*/ 242957 w 546670"/>
              <a:gd name="connsiteY79" fmla="*/ 551662 h 604887"/>
              <a:gd name="connsiteX80" fmla="*/ 247963 w 546670"/>
              <a:gd name="connsiteY80" fmla="*/ 552217 h 604887"/>
              <a:gd name="connsiteX81" fmla="*/ 307705 w 546670"/>
              <a:gd name="connsiteY81" fmla="*/ 486674 h 604887"/>
              <a:gd name="connsiteX82" fmla="*/ 323836 w 546670"/>
              <a:gd name="connsiteY82" fmla="*/ 438238 h 604887"/>
              <a:gd name="connsiteX83" fmla="*/ 247963 w 546670"/>
              <a:gd name="connsiteY83" fmla="*/ 442570 h 604887"/>
              <a:gd name="connsiteX84" fmla="*/ 242957 w 546670"/>
              <a:gd name="connsiteY84" fmla="*/ 442570 h 604887"/>
              <a:gd name="connsiteX85" fmla="*/ 242957 w 546670"/>
              <a:gd name="connsiteY85" fmla="*/ 394024 h 604887"/>
              <a:gd name="connsiteX86" fmla="*/ 247963 w 546670"/>
              <a:gd name="connsiteY86" fmla="*/ 394135 h 604887"/>
              <a:gd name="connsiteX87" fmla="*/ 333848 w 546670"/>
              <a:gd name="connsiteY87" fmla="*/ 388136 h 604887"/>
              <a:gd name="connsiteX88" fmla="*/ 339856 w 546670"/>
              <a:gd name="connsiteY88" fmla="*/ 302373 h 604887"/>
              <a:gd name="connsiteX89" fmla="*/ 333848 w 546670"/>
              <a:gd name="connsiteY89" fmla="*/ 216722 h 604887"/>
              <a:gd name="connsiteX90" fmla="*/ 247963 w 546670"/>
              <a:gd name="connsiteY90" fmla="*/ 210723 h 604887"/>
              <a:gd name="connsiteX91" fmla="*/ 242957 w 546670"/>
              <a:gd name="connsiteY91" fmla="*/ 210723 h 604887"/>
              <a:gd name="connsiteX92" fmla="*/ 242957 w 546670"/>
              <a:gd name="connsiteY92" fmla="*/ 162287 h 604887"/>
              <a:gd name="connsiteX93" fmla="*/ 247963 w 546670"/>
              <a:gd name="connsiteY93" fmla="*/ 162176 h 604887"/>
              <a:gd name="connsiteX94" fmla="*/ 323836 w 546670"/>
              <a:gd name="connsiteY94" fmla="*/ 166509 h 604887"/>
              <a:gd name="connsiteX95" fmla="*/ 307705 w 546670"/>
              <a:gd name="connsiteY95" fmla="*/ 118073 h 604887"/>
              <a:gd name="connsiteX96" fmla="*/ 247963 w 546670"/>
              <a:gd name="connsiteY96" fmla="*/ 52640 h 604887"/>
              <a:gd name="connsiteX97" fmla="*/ 242957 w 546670"/>
              <a:gd name="connsiteY97" fmla="*/ 53196 h 604887"/>
              <a:gd name="connsiteX98" fmla="*/ 242957 w 546670"/>
              <a:gd name="connsiteY98" fmla="*/ 4204 h 604887"/>
              <a:gd name="connsiteX99" fmla="*/ 247963 w 546670"/>
              <a:gd name="connsiteY99" fmla="*/ 4093 h 604887"/>
              <a:gd name="connsiteX100" fmla="*/ 101779 w 546670"/>
              <a:gd name="connsiteY100" fmla="*/ 0 h 604887"/>
              <a:gd name="connsiteX101" fmla="*/ 121134 w 546670"/>
              <a:gd name="connsiteY101" fmla="*/ 0 h 604887"/>
              <a:gd name="connsiteX102" fmla="*/ 180978 w 546670"/>
              <a:gd name="connsiteY102" fmla="*/ 59656 h 604887"/>
              <a:gd name="connsiteX103" fmla="*/ 180978 w 546670"/>
              <a:gd name="connsiteY103" fmla="*/ 78430 h 604887"/>
              <a:gd name="connsiteX104" fmla="*/ 184315 w 546670"/>
              <a:gd name="connsiteY104" fmla="*/ 89095 h 604887"/>
              <a:gd name="connsiteX105" fmla="*/ 184315 w 546670"/>
              <a:gd name="connsiteY105" fmla="*/ 102426 h 604887"/>
              <a:gd name="connsiteX106" fmla="*/ 177752 w 546670"/>
              <a:gd name="connsiteY106" fmla="*/ 116534 h 604887"/>
              <a:gd name="connsiteX107" fmla="*/ 173859 w 546670"/>
              <a:gd name="connsiteY107" fmla="*/ 126643 h 604887"/>
              <a:gd name="connsiteX108" fmla="*/ 161067 w 546670"/>
              <a:gd name="connsiteY108" fmla="*/ 150861 h 604887"/>
              <a:gd name="connsiteX109" fmla="*/ 152502 w 546670"/>
              <a:gd name="connsiteY109" fmla="*/ 161748 h 604887"/>
              <a:gd name="connsiteX110" fmla="*/ 160400 w 546670"/>
              <a:gd name="connsiteY110" fmla="*/ 167747 h 604887"/>
              <a:gd name="connsiteX111" fmla="*/ 204115 w 546670"/>
              <a:gd name="connsiteY111" fmla="*/ 176412 h 604887"/>
              <a:gd name="connsiteX112" fmla="*/ 223692 w 546670"/>
              <a:gd name="connsiteY112" fmla="*/ 200407 h 604887"/>
              <a:gd name="connsiteX113" fmla="*/ 223692 w 546670"/>
              <a:gd name="connsiteY113" fmla="*/ 358044 h 604887"/>
              <a:gd name="connsiteX114" fmla="*/ 221467 w 546670"/>
              <a:gd name="connsiteY114" fmla="*/ 368265 h 604887"/>
              <a:gd name="connsiteX115" fmla="*/ 221467 w 546670"/>
              <a:gd name="connsiteY115" fmla="*/ 385484 h 604887"/>
              <a:gd name="connsiteX116" fmla="*/ 200110 w 546670"/>
              <a:gd name="connsiteY116" fmla="*/ 406813 h 604887"/>
              <a:gd name="connsiteX117" fmla="*/ 188431 w 546670"/>
              <a:gd name="connsiteY117" fmla="*/ 403369 h 604887"/>
              <a:gd name="connsiteX118" fmla="*/ 188431 w 546670"/>
              <a:gd name="connsiteY118" fmla="*/ 566561 h 604887"/>
              <a:gd name="connsiteX119" fmla="*/ 150166 w 546670"/>
              <a:gd name="connsiteY119" fmla="*/ 604887 h 604887"/>
              <a:gd name="connsiteX120" fmla="*/ 111902 w 546670"/>
              <a:gd name="connsiteY120" fmla="*/ 566561 h 604887"/>
              <a:gd name="connsiteX121" fmla="*/ 73526 w 546670"/>
              <a:gd name="connsiteY121" fmla="*/ 604887 h 604887"/>
              <a:gd name="connsiteX122" fmla="*/ 35261 w 546670"/>
              <a:gd name="connsiteY122" fmla="*/ 566561 h 604887"/>
              <a:gd name="connsiteX123" fmla="*/ 35261 w 546670"/>
              <a:gd name="connsiteY123" fmla="*/ 403369 h 604887"/>
              <a:gd name="connsiteX124" fmla="*/ 23582 w 546670"/>
              <a:gd name="connsiteY124" fmla="*/ 406813 h 604887"/>
              <a:gd name="connsiteX125" fmla="*/ 2225 w 546670"/>
              <a:gd name="connsiteY125" fmla="*/ 385484 h 604887"/>
              <a:gd name="connsiteX126" fmla="*/ 2225 w 546670"/>
              <a:gd name="connsiteY126" fmla="*/ 368265 h 604887"/>
              <a:gd name="connsiteX127" fmla="*/ 0 w 546670"/>
              <a:gd name="connsiteY127" fmla="*/ 358044 h 604887"/>
              <a:gd name="connsiteX128" fmla="*/ 0 w 546670"/>
              <a:gd name="connsiteY128" fmla="*/ 200296 h 604887"/>
              <a:gd name="connsiteX129" fmla="*/ 19577 w 546670"/>
              <a:gd name="connsiteY129" fmla="*/ 176412 h 604887"/>
              <a:gd name="connsiteX130" fmla="*/ 62625 w 546670"/>
              <a:gd name="connsiteY130" fmla="*/ 167747 h 604887"/>
              <a:gd name="connsiteX131" fmla="*/ 70522 w 546670"/>
              <a:gd name="connsiteY131" fmla="*/ 161748 h 604887"/>
              <a:gd name="connsiteX132" fmla="*/ 61957 w 546670"/>
              <a:gd name="connsiteY132" fmla="*/ 150861 h 604887"/>
              <a:gd name="connsiteX133" fmla="*/ 49054 w 546670"/>
              <a:gd name="connsiteY133" fmla="*/ 126643 h 604887"/>
              <a:gd name="connsiteX134" fmla="*/ 45161 w 546670"/>
              <a:gd name="connsiteY134" fmla="*/ 116534 h 604887"/>
              <a:gd name="connsiteX135" fmla="*/ 38598 w 546670"/>
              <a:gd name="connsiteY135" fmla="*/ 102426 h 604887"/>
              <a:gd name="connsiteX136" fmla="*/ 38598 w 546670"/>
              <a:gd name="connsiteY136" fmla="*/ 89095 h 604887"/>
              <a:gd name="connsiteX137" fmla="*/ 42047 w 546670"/>
              <a:gd name="connsiteY137" fmla="*/ 78430 h 604887"/>
              <a:gd name="connsiteX138" fmla="*/ 42047 w 546670"/>
              <a:gd name="connsiteY138" fmla="*/ 59656 h 604887"/>
              <a:gd name="connsiteX139" fmla="*/ 101779 w 546670"/>
              <a:gd name="connsiteY139" fmla="*/ 0 h 60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</a:cxnLst>
            <a:rect l="l" t="t" r="r" b="b"/>
            <a:pathLst>
              <a:path w="546670" h="604887">
                <a:moveTo>
                  <a:pt x="481589" y="391913"/>
                </a:moveTo>
                <a:cubicBezTo>
                  <a:pt x="472466" y="397134"/>
                  <a:pt x="462454" y="402133"/>
                  <a:pt x="451551" y="406688"/>
                </a:cubicBezTo>
                <a:cubicBezTo>
                  <a:pt x="428967" y="416242"/>
                  <a:pt x="403269" y="424018"/>
                  <a:pt x="375678" y="429906"/>
                </a:cubicBezTo>
                <a:cubicBezTo>
                  <a:pt x="369782" y="457457"/>
                  <a:pt x="361995" y="483008"/>
                  <a:pt x="352427" y="505670"/>
                </a:cubicBezTo>
                <a:cubicBezTo>
                  <a:pt x="347866" y="516446"/>
                  <a:pt x="342860" y="526444"/>
                  <a:pt x="337631" y="535554"/>
                </a:cubicBezTo>
                <a:cubicBezTo>
                  <a:pt x="403602" y="510225"/>
                  <a:pt x="456112" y="457790"/>
                  <a:pt x="481589" y="391913"/>
                </a:cubicBezTo>
                <a:close/>
                <a:moveTo>
                  <a:pt x="384133" y="226609"/>
                </a:moveTo>
                <a:cubicBezTo>
                  <a:pt x="386915" y="251049"/>
                  <a:pt x="388361" y="276489"/>
                  <a:pt x="388361" y="302373"/>
                </a:cubicBezTo>
                <a:cubicBezTo>
                  <a:pt x="388361" y="328369"/>
                  <a:pt x="386915" y="353697"/>
                  <a:pt x="384133" y="378137"/>
                </a:cubicBezTo>
                <a:cubicBezTo>
                  <a:pt x="401600" y="373694"/>
                  <a:pt x="417842" y="368250"/>
                  <a:pt x="432639" y="362029"/>
                </a:cubicBezTo>
                <a:cubicBezTo>
                  <a:pt x="473690" y="344699"/>
                  <a:pt x="498165" y="322370"/>
                  <a:pt x="498165" y="302373"/>
                </a:cubicBezTo>
                <a:cubicBezTo>
                  <a:pt x="498165" y="282377"/>
                  <a:pt x="473690" y="260047"/>
                  <a:pt x="432639" y="242717"/>
                </a:cubicBezTo>
                <a:cubicBezTo>
                  <a:pt x="417842" y="236496"/>
                  <a:pt x="401600" y="231164"/>
                  <a:pt x="384133" y="226609"/>
                </a:cubicBezTo>
                <a:close/>
                <a:moveTo>
                  <a:pt x="135706" y="175523"/>
                </a:moveTo>
                <a:cubicBezTo>
                  <a:pt x="132591" y="177189"/>
                  <a:pt x="129477" y="178300"/>
                  <a:pt x="126473" y="178856"/>
                </a:cubicBezTo>
                <a:cubicBezTo>
                  <a:pt x="124582" y="179189"/>
                  <a:pt x="123248" y="180744"/>
                  <a:pt x="123248" y="182633"/>
                </a:cubicBezTo>
                <a:lnTo>
                  <a:pt x="123248" y="192075"/>
                </a:lnTo>
                <a:cubicBezTo>
                  <a:pt x="122691" y="192298"/>
                  <a:pt x="122246" y="192631"/>
                  <a:pt x="121801" y="193075"/>
                </a:cubicBezTo>
                <a:cubicBezTo>
                  <a:pt x="121134" y="193964"/>
                  <a:pt x="120689" y="194964"/>
                  <a:pt x="120912" y="196075"/>
                </a:cubicBezTo>
                <a:lnTo>
                  <a:pt x="122914" y="216404"/>
                </a:lnTo>
                <a:cubicBezTo>
                  <a:pt x="123136" y="217960"/>
                  <a:pt x="124249" y="219293"/>
                  <a:pt x="125695" y="219737"/>
                </a:cubicBezTo>
                <a:cubicBezTo>
                  <a:pt x="126028" y="219737"/>
                  <a:pt x="126473" y="219848"/>
                  <a:pt x="126807" y="219848"/>
                </a:cubicBezTo>
                <a:cubicBezTo>
                  <a:pt x="127919" y="219848"/>
                  <a:pt x="129032" y="219293"/>
                  <a:pt x="129810" y="218293"/>
                </a:cubicBezTo>
                <a:lnTo>
                  <a:pt x="140600" y="204073"/>
                </a:lnTo>
                <a:cubicBezTo>
                  <a:pt x="141045" y="203407"/>
                  <a:pt x="141379" y="202629"/>
                  <a:pt x="141379" y="201740"/>
                </a:cubicBezTo>
                <a:lnTo>
                  <a:pt x="141379" y="178856"/>
                </a:lnTo>
                <a:cubicBezTo>
                  <a:pt x="141379" y="177523"/>
                  <a:pt x="140600" y="176301"/>
                  <a:pt x="139488" y="175634"/>
                </a:cubicBezTo>
                <a:cubicBezTo>
                  <a:pt x="138375" y="174968"/>
                  <a:pt x="136929" y="174856"/>
                  <a:pt x="135706" y="175523"/>
                </a:cubicBezTo>
                <a:close/>
                <a:moveTo>
                  <a:pt x="87208" y="175523"/>
                </a:moveTo>
                <a:cubicBezTo>
                  <a:pt x="86095" y="174856"/>
                  <a:pt x="84649" y="174968"/>
                  <a:pt x="83537" y="175634"/>
                </a:cubicBezTo>
                <a:cubicBezTo>
                  <a:pt x="82313" y="176301"/>
                  <a:pt x="81646" y="177523"/>
                  <a:pt x="81646" y="178856"/>
                </a:cubicBezTo>
                <a:lnTo>
                  <a:pt x="81646" y="201740"/>
                </a:lnTo>
                <a:cubicBezTo>
                  <a:pt x="81646" y="202629"/>
                  <a:pt x="81868" y="203407"/>
                  <a:pt x="82425" y="204073"/>
                </a:cubicBezTo>
                <a:lnTo>
                  <a:pt x="93103" y="218293"/>
                </a:lnTo>
                <a:cubicBezTo>
                  <a:pt x="93882" y="219293"/>
                  <a:pt x="94994" y="219848"/>
                  <a:pt x="96218" y="219848"/>
                </a:cubicBezTo>
                <a:cubicBezTo>
                  <a:pt x="96551" y="219848"/>
                  <a:pt x="96885" y="219848"/>
                  <a:pt x="97219" y="219737"/>
                </a:cubicBezTo>
                <a:cubicBezTo>
                  <a:pt x="98776" y="219293"/>
                  <a:pt x="99888" y="217960"/>
                  <a:pt x="100000" y="216404"/>
                </a:cubicBezTo>
                <a:lnTo>
                  <a:pt x="102113" y="196075"/>
                </a:lnTo>
                <a:cubicBezTo>
                  <a:pt x="102224" y="194964"/>
                  <a:pt x="101891" y="193964"/>
                  <a:pt x="101112" y="193075"/>
                </a:cubicBezTo>
                <a:cubicBezTo>
                  <a:pt x="100778" y="192631"/>
                  <a:pt x="100222" y="192298"/>
                  <a:pt x="99666" y="192075"/>
                </a:cubicBezTo>
                <a:lnTo>
                  <a:pt x="99666" y="182633"/>
                </a:lnTo>
                <a:cubicBezTo>
                  <a:pt x="99666" y="180744"/>
                  <a:pt x="98331" y="179189"/>
                  <a:pt x="96551" y="178856"/>
                </a:cubicBezTo>
                <a:cubicBezTo>
                  <a:pt x="93548" y="178300"/>
                  <a:pt x="90433" y="177189"/>
                  <a:pt x="87208" y="175523"/>
                </a:cubicBezTo>
                <a:close/>
                <a:moveTo>
                  <a:pt x="93214" y="72653"/>
                </a:moveTo>
                <a:cubicBezTo>
                  <a:pt x="82313" y="72653"/>
                  <a:pt x="71857" y="77097"/>
                  <a:pt x="66629" y="79652"/>
                </a:cubicBezTo>
                <a:cubicBezTo>
                  <a:pt x="65294" y="80319"/>
                  <a:pt x="64516" y="81652"/>
                  <a:pt x="64516" y="83096"/>
                </a:cubicBezTo>
                <a:lnTo>
                  <a:pt x="64516" y="89872"/>
                </a:lnTo>
                <a:lnTo>
                  <a:pt x="62959" y="89872"/>
                </a:lnTo>
                <a:cubicBezTo>
                  <a:pt x="60845" y="89872"/>
                  <a:pt x="59065" y="91650"/>
                  <a:pt x="59065" y="93761"/>
                </a:cubicBezTo>
                <a:lnTo>
                  <a:pt x="59065" y="99982"/>
                </a:lnTo>
                <a:cubicBezTo>
                  <a:pt x="59065" y="101315"/>
                  <a:pt x="59733" y="102537"/>
                  <a:pt x="60845" y="103203"/>
                </a:cubicBezTo>
                <a:lnTo>
                  <a:pt x="64516" y="105647"/>
                </a:lnTo>
                <a:lnTo>
                  <a:pt x="64738" y="107202"/>
                </a:lnTo>
                <a:cubicBezTo>
                  <a:pt x="65962" y="116423"/>
                  <a:pt x="71079" y="128199"/>
                  <a:pt x="78531" y="138974"/>
                </a:cubicBezTo>
                <a:cubicBezTo>
                  <a:pt x="87875" y="152527"/>
                  <a:pt x="96663" y="158526"/>
                  <a:pt x="101223" y="158526"/>
                </a:cubicBezTo>
                <a:lnTo>
                  <a:pt x="121801" y="158526"/>
                </a:lnTo>
                <a:cubicBezTo>
                  <a:pt x="126362" y="158526"/>
                  <a:pt x="135150" y="152527"/>
                  <a:pt x="144493" y="138974"/>
                </a:cubicBezTo>
                <a:cubicBezTo>
                  <a:pt x="151835" y="128199"/>
                  <a:pt x="156951" y="116423"/>
                  <a:pt x="158175" y="107202"/>
                </a:cubicBezTo>
                <a:lnTo>
                  <a:pt x="158398" y="105647"/>
                </a:lnTo>
                <a:lnTo>
                  <a:pt x="162179" y="103203"/>
                </a:lnTo>
                <a:cubicBezTo>
                  <a:pt x="163181" y="102537"/>
                  <a:pt x="163848" y="101315"/>
                  <a:pt x="163848" y="100093"/>
                </a:cubicBezTo>
                <a:lnTo>
                  <a:pt x="163848" y="93761"/>
                </a:lnTo>
                <a:cubicBezTo>
                  <a:pt x="163848" y="91650"/>
                  <a:pt x="162179" y="89872"/>
                  <a:pt x="160066" y="89872"/>
                </a:cubicBezTo>
                <a:lnTo>
                  <a:pt x="157953" y="89872"/>
                </a:lnTo>
                <a:cubicBezTo>
                  <a:pt x="157619" y="89428"/>
                  <a:pt x="157285" y="88984"/>
                  <a:pt x="156729" y="88650"/>
                </a:cubicBezTo>
                <a:cubicBezTo>
                  <a:pt x="155617" y="87984"/>
                  <a:pt x="154282" y="87873"/>
                  <a:pt x="153058" y="88317"/>
                </a:cubicBezTo>
                <a:cubicBezTo>
                  <a:pt x="147942" y="90650"/>
                  <a:pt x="142825" y="91761"/>
                  <a:pt x="137930" y="91761"/>
                </a:cubicBezTo>
                <a:cubicBezTo>
                  <a:pt x="129254" y="91761"/>
                  <a:pt x="121357" y="88206"/>
                  <a:pt x="114460" y="81207"/>
                </a:cubicBezTo>
                <a:cubicBezTo>
                  <a:pt x="109010" y="75542"/>
                  <a:pt x="101779" y="72653"/>
                  <a:pt x="93214" y="72653"/>
                </a:cubicBezTo>
                <a:close/>
                <a:moveTo>
                  <a:pt x="337631" y="69193"/>
                </a:moveTo>
                <a:cubicBezTo>
                  <a:pt x="342860" y="78302"/>
                  <a:pt x="347866" y="88300"/>
                  <a:pt x="352427" y="99187"/>
                </a:cubicBezTo>
                <a:cubicBezTo>
                  <a:pt x="361995" y="121739"/>
                  <a:pt x="369782" y="147290"/>
                  <a:pt x="375678" y="174952"/>
                </a:cubicBezTo>
                <a:cubicBezTo>
                  <a:pt x="403269" y="180728"/>
                  <a:pt x="428967" y="188505"/>
                  <a:pt x="451551" y="198059"/>
                </a:cubicBezTo>
                <a:cubicBezTo>
                  <a:pt x="462454" y="202724"/>
                  <a:pt x="472466" y="207612"/>
                  <a:pt x="481589" y="212945"/>
                </a:cubicBezTo>
                <a:cubicBezTo>
                  <a:pt x="456112" y="147068"/>
                  <a:pt x="403602" y="94633"/>
                  <a:pt x="337631" y="69193"/>
                </a:cubicBezTo>
                <a:close/>
                <a:moveTo>
                  <a:pt x="247963" y="4093"/>
                </a:moveTo>
                <a:cubicBezTo>
                  <a:pt x="412725" y="4093"/>
                  <a:pt x="546670" y="137958"/>
                  <a:pt x="546670" y="302373"/>
                </a:cubicBezTo>
                <a:cubicBezTo>
                  <a:pt x="546670" y="466899"/>
                  <a:pt x="412725" y="600653"/>
                  <a:pt x="247963" y="600653"/>
                </a:cubicBezTo>
                <a:cubicBezTo>
                  <a:pt x="246295" y="600653"/>
                  <a:pt x="244626" y="600653"/>
                  <a:pt x="242957" y="600653"/>
                </a:cubicBezTo>
                <a:lnTo>
                  <a:pt x="242957" y="551662"/>
                </a:lnTo>
                <a:cubicBezTo>
                  <a:pt x="244626" y="551995"/>
                  <a:pt x="246295" y="552217"/>
                  <a:pt x="247963" y="552217"/>
                </a:cubicBezTo>
                <a:cubicBezTo>
                  <a:pt x="268100" y="552217"/>
                  <a:pt x="290350" y="527666"/>
                  <a:pt x="307705" y="486674"/>
                </a:cubicBezTo>
                <a:cubicBezTo>
                  <a:pt x="314046" y="472010"/>
                  <a:pt x="319386" y="455679"/>
                  <a:pt x="323836" y="438238"/>
                </a:cubicBezTo>
                <a:cubicBezTo>
                  <a:pt x="299472" y="441126"/>
                  <a:pt x="273996" y="442570"/>
                  <a:pt x="247963" y="442570"/>
                </a:cubicBezTo>
                <a:cubicBezTo>
                  <a:pt x="246295" y="442570"/>
                  <a:pt x="244626" y="442570"/>
                  <a:pt x="242957" y="442570"/>
                </a:cubicBezTo>
                <a:lnTo>
                  <a:pt x="242957" y="394024"/>
                </a:lnTo>
                <a:cubicBezTo>
                  <a:pt x="244626" y="394024"/>
                  <a:pt x="246295" y="394135"/>
                  <a:pt x="247963" y="394135"/>
                </a:cubicBezTo>
                <a:cubicBezTo>
                  <a:pt x="277778" y="394135"/>
                  <a:pt x="306703" y="392024"/>
                  <a:pt x="333848" y="388136"/>
                </a:cubicBezTo>
                <a:cubicBezTo>
                  <a:pt x="337742" y="361029"/>
                  <a:pt x="339856" y="332146"/>
                  <a:pt x="339856" y="302373"/>
                </a:cubicBezTo>
                <a:cubicBezTo>
                  <a:pt x="339856" y="272712"/>
                  <a:pt x="337742" y="243828"/>
                  <a:pt x="333848" y="216722"/>
                </a:cubicBezTo>
                <a:cubicBezTo>
                  <a:pt x="306703" y="212723"/>
                  <a:pt x="277778" y="210723"/>
                  <a:pt x="247963" y="210723"/>
                </a:cubicBezTo>
                <a:cubicBezTo>
                  <a:pt x="246295" y="210723"/>
                  <a:pt x="244626" y="210723"/>
                  <a:pt x="242957" y="210723"/>
                </a:cubicBezTo>
                <a:lnTo>
                  <a:pt x="242957" y="162287"/>
                </a:lnTo>
                <a:cubicBezTo>
                  <a:pt x="244626" y="162287"/>
                  <a:pt x="246295" y="162176"/>
                  <a:pt x="247963" y="162176"/>
                </a:cubicBezTo>
                <a:cubicBezTo>
                  <a:pt x="273996" y="162176"/>
                  <a:pt x="299472" y="163731"/>
                  <a:pt x="323836" y="166509"/>
                </a:cubicBezTo>
                <a:cubicBezTo>
                  <a:pt x="319386" y="149067"/>
                  <a:pt x="314046" y="132848"/>
                  <a:pt x="307705" y="118073"/>
                </a:cubicBezTo>
                <a:cubicBezTo>
                  <a:pt x="290350" y="77080"/>
                  <a:pt x="268100" y="52640"/>
                  <a:pt x="247963" y="52640"/>
                </a:cubicBezTo>
                <a:cubicBezTo>
                  <a:pt x="246295" y="52640"/>
                  <a:pt x="244626" y="52862"/>
                  <a:pt x="242957" y="53196"/>
                </a:cubicBezTo>
                <a:lnTo>
                  <a:pt x="242957" y="4204"/>
                </a:lnTo>
                <a:cubicBezTo>
                  <a:pt x="244626" y="4204"/>
                  <a:pt x="246295" y="4093"/>
                  <a:pt x="247963" y="4093"/>
                </a:cubicBezTo>
                <a:close/>
                <a:moveTo>
                  <a:pt x="101779" y="0"/>
                </a:moveTo>
                <a:lnTo>
                  <a:pt x="121134" y="0"/>
                </a:lnTo>
                <a:cubicBezTo>
                  <a:pt x="154171" y="0"/>
                  <a:pt x="180978" y="26773"/>
                  <a:pt x="180978" y="59656"/>
                </a:cubicBezTo>
                <a:lnTo>
                  <a:pt x="180978" y="78430"/>
                </a:lnTo>
                <a:cubicBezTo>
                  <a:pt x="183203" y="81541"/>
                  <a:pt x="184315" y="85318"/>
                  <a:pt x="184315" y="89095"/>
                </a:cubicBezTo>
                <a:lnTo>
                  <a:pt x="184315" y="102426"/>
                </a:lnTo>
                <a:cubicBezTo>
                  <a:pt x="184315" y="107869"/>
                  <a:pt x="181868" y="113090"/>
                  <a:pt x="177752" y="116534"/>
                </a:cubicBezTo>
                <a:cubicBezTo>
                  <a:pt x="176751" y="119867"/>
                  <a:pt x="175416" y="123311"/>
                  <a:pt x="173859" y="126643"/>
                </a:cubicBezTo>
                <a:cubicBezTo>
                  <a:pt x="170856" y="134753"/>
                  <a:pt x="166406" y="143085"/>
                  <a:pt x="161067" y="150861"/>
                </a:cubicBezTo>
                <a:cubicBezTo>
                  <a:pt x="158842" y="154083"/>
                  <a:pt x="155839" y="157860"/>
                  <a:pt x="152502" y="161748"/>
                </a:cubicBezTo>
                <a:cubicBezTo>
                  <a:pt x="155505" y="163192"/>
                  <a:pt x="158175" y="165192"/>
                  <a:pt x="160400" y="167747"/>
                </a:cubicBezTo>
                <a:lnTo>
                  <a:pt x="204115" y="176412"/>
                </a:lnTo>
                <a:cubicBezTo>
                  <a:pt x="215461" y="178745"/>
                  <a:pt x="223692" y="188743"/>
                  <a:pt x="223692" y="200407"/>
                </a:cubicBezTo>
                <a:lnTo>
                  <a:pt x="223692" y="358044"/>
                </a:lnTo>
                <a:cubicBezTo>
                  <a:pt x="223692" y="361710"/>
                  <a:pt x="222913" y="365154"/>
                  <a:pt x="221467" y="368265"/>
                </a:cubicBezTo>
                <a:lnTo>
                  <a:pt x="221467" y="385484"/>
                </a:lnTo>
                <a:cubicBezTo>
                  <a:pt x="221467" y="397259"/>
                  <a:pt x="211901" y="406813"/>
                  <a:pt x="200110" y="406813"/>
                </a:cubicBezTo>
                <a:cubicBezTo>
                  <a:pt x="195772" y="406813"/>
                  <a:pt x="191879" y="405591"/>
                  <a:pt x="188431" y="403369"/>
                </a:cubicBezTo>
                <a:lnTo>
                  <a:pt x="188431" y="566561"/>
                </a:lnTo>
                <a:cubicBezTo>
                  <a:pt x="188431" y="587668"/>
                  <a:pt x="171301" y="604887"/>
                  <a:pt x="150166" y="604887"/>
                </a:cubicBezTo>
                <a:cubicBezTo>
                  <a:pt x="129032" y="604887"/>
                  <a:pt x="111902" y="587668"/>
                  <a:pt x="111902" y="566561"/>
                </a:cubicBezTo>
                <a:cubicBezTo>
                  <a:pt x="111902" y="587668"/>
                  <a:pt x="94772" y="604887"/>
                  <a:pt x="73526" y="604887"/>
                </a:cubicBezTo>
                <a:cubicBezTo>
                  <a:pt x="52391" y="604887"/>
                  <a:pt x="35261" y="587668"/>
                  <a:pt x="35261" y="566561"/>
                </a:cubicBezTo>
                <a:lnTo>
                  <a:pt x="35261" y="403369"/>
                </a:lnTo>
                <a:cubicBezTo>
                  <a:pt x="31924" y="405591"/>
                  <a:pt x="27920" y="406813"/>
                  <a:pt x="23582" y="406813"/>
                </a:cubicBezTo>
                <a:cubicBezTo>
                  <a:pt x="11791" y="406813"/>
                  <a:pt x="2225" y="397259"/>
                  <a:pt x="2225" y="385484"/>
                </a:cubicBezTo>
                <a:lnTo>
                  <a:pt x="2225" y="368265"/>
                </a:lnTo>
                <a:cubicBezTo>
                  <a:pt x="779" y="365154"/>
                  <a:pt x="0" y="361710"/>
                  <a:pt x="0" y="358044"/>
                </a:cubicBezTo>
                <a:lnTo>
                  <a:pt x="0" y="200296"/>
                </a:lnTo>
                <a:cubicBezTo>
                  <a:pt x="0" y="188743"/>
                  <a:pt x="8231" y="178745"/>
                  <a:pt x="19577" y="176412"/>
                </a:cubicBezTo>
                <a:lnTo>
                  <a:pt x="62625" y="167747"/>
                </a:lnTo>
                <a:cubicBezTo>
                  <a:pt x="64850" y="165192"/>
                  <a:pt x="67519" y="163192"/>
                  <a:pt x="70522" y="161748"/>
                </a:cubicBezTo>
                <a:cubicBezTo>
                  <a:pt x="67074" y="157971"/>
                  <a:pt x="64182" y="154083"/>
                  <a:pt x="61957" y="150861"/>
                </a:cubicBezTo>
                <a:cubicBezTo>
                  <a:pt x="56618" y="143085"/>
                  <a:pt x="52169" y="134753"/>
                  <a:pt x="49054" y="126643"/>
                </a:cubicBezTo>
                <a:cubicBezTo>
                  <a:pt x="47497" y="123311"/>
                  <a:pt x="46273" y="119867"/>
                  <a:pt x="45161" y="116534"/>
                </a:cubicBezTo>
                <a:cubicBezTo>
                  <a:pt x="41045" y="113090"/>
                  <a:pt x="38598" y="107869"/>
                  <a:pt x="38598" y="102426"/>
                </a:cubicBezTo>
                <a:lnTo>
                  <a:pt x="38598" y="89095"/>
                </a:lnTo>
                <a:cubicBezTo>
                  <a:pt x="38598" y="85318"/>
                  <a:pt x="39822" y="81541"/>
                  <a:pt x="42047" y="78430"/>
                </a:cubicBezTo>
                <a:lnTo>
                  <a:pt x="42047" y="59656"/>
                </a:lnTo>
                <a:cubicBezTo>
                  <a:pt x="42047" y="26773"/>
                  <a:pt x="68854" y="0"/>
                  <a:pt x="101779" y="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18" name="直接连接符 17">
            <a:extLst>
              <a:ext uri="{FF2B5EF4-FFF2-40B4-BE49-F238E27FC236}">
                <a16:creationId xmlns:a16="http://schemas.microsoft.com/office/drawing/2014/main" id="{75148CCF-4C7D-438E-9B28-E584D8A402FE}"/>
              </a:ext>
            </a:extLst>
          </p:cNvPr>
          <p:cNvCxnSpPr>
            <a:cxnSpLocks/>
          </p:cNvCxnSpPr>
          <p:nvPr/>
        </p:nvCxnSpPr>
        <p:spPr>
          <a:xfrm>
            <a:off x="8047038" y="3810612"/>
            <a:ext cx="34734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文本框 28">
            <a:extLst>
              <a:ext uri="{FF2B5EF4-FFF2-40B4-BE49-F238E27FC236}">
                <a16:creationId xmlns:a16="http://schemas.microsoft.com/office/drawing/2014/main" id="{B3659473-2D64-41EE-919B-6B4D5B7426F3}"/>
              </a:ext>
            </a:extLst>
          </p:cNvPr>
          <p:cNvSpPr txBox="1"/>
          <p:nvPr/>
        </p:nvSpPr>
        <p:spPr>
          <a:xfrm>
            <a:off x="963044" y="2165255"/>
            <a:ext cx="2621280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建议</a:t>
            </a:r>
            <a:endParaRPr lang="en-US" altLang="zh-CN" sz="1600" b="1" dirty="0"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9FE30CC-EAFE-45E4-87D3-4D46999E9AF5}"/>
              </a:ext>
            </a:extLst>
          </p:cNvPr>
          <p:cNvSpPr/>
          <p:nvPr/>
        </p:nvSpPr>
        <p:spPr bwMode="auto">
          <a:xfrm>
            <a:off x="968297" y="2597777"/>
            <a:ext cx="2613219" cy="793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F434EF19-A701-4CD5-BEAA-6E56EEE939B1}"/>
              </a:ext>
            </a:extLst>
          </p:cNvPr>
          <p:cNvSpPr txBox="1"/>
          <p:nvPr/>
        </p:nvSpPr>
        <p:spPr>
          <a:xfrm>
            <a:off x="963044" y="4412898"/>
            <a:ext cx="2621280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建议</a:t>
            </a:r>
            <a:endParaRPr lang="en-US" altLang="zh-CN" sz="1600" b="1" dirty="0"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E8F48B72-40DE-4CAD-93FB-90A8B8F5EC8E}"/>
              </a:ext>
            </a:extLst>
          </p:cNvPr>
          <p:cNvSpPr/>
          <p:nvPr/>
        </p:nvSpPr>
        <p:spPr bwMode="auto">
          <a:xfrm>
            <a:off x="968297" y="4845420"/>
            <a:ext cx="2613219" cy="793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D353C37F-1BB3-4859-84CA-3C18A1E35F2F}"/>
              </a:ext>
            </a:extLst>
          </p:cNvPr>
          <p:cNvSpPr txBox="1"/>
          <p:nvPr/>
        </p:nvSpPr>
        <p:spPr>
          <a:xfrm>
            <a:off x="8563994" y="2165255"/>
            <a:ext cx="2621280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建议</a:t>
            </a:r>
            <a:endParaRPr lang="en-US" altLang="zh-CN" sz="1600" b="1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878F2FDE-5B00-44C5-A6F2-7EC82C751987}"/>
              </a:ext>
            </a:extLst>
          </p:cNvPr>
          <p:cNvSpPr/>
          <p:nvPr/>
        </p:nvSpPr>
        <p:spPr bwMode="auto">
          <a:xfrm>
            <a:off x="8569247" y="2597777"/>
            <a:ext cx="2613219" cy="793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08798F12-C223-4B3E-8781-BA04E712478C}"/>
              </a:ext>
            </a:extLst>
          </p:cNvPr>
          <p:cNvSpPr txBox="1"/>
          <p:nvPr/>
        </p:nvSpPr>
        <p:spPr>
          <a:xfrm>
            <a:off x="8563994" y="4412898"/>
            <a:ext cx="2621280" cy="432521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dirty="0">
                <a:cs typeface="+mn-ea"/>
                <a:sym typeface="+mn-lt"/>
              </a:rPr>
              <a:t>…</a:t>
            </a:r>
            <a:r>
              <a:rPr lang="zh-CN" altLang="en-US" sz="1600" b="1" dirty="0">
                <a:cs typeface="+mn-ea"/>
                <a:sym typeface="+mn-lt"/>
              </a:rPr>
              <a:t>建议</a:t>
            </a:r>
            <a:endParaRPr lang="en-US" altLang="zh-CN" sz="1600" b="1" dirty="0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07DC874F-BD58-4307-8718-F60EA83DD194}"/>
              </a:ext>
            </a:extLst>
          </p:cNvPr>
          <p:cNvSpPr/>
          <p:nvPr/>
        </p:nvSpPr>
        <p:spPr bwMode="auto">
          <a:xfrm>
            <a:off x="8569247" y="4845420"/>
            <a:ext cx="2613219" cy="793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… …</a:t>
            </a:r>
            <a:endParaRPr lang="en-US" altLang="zh-CN" sz="11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329205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zh-CN" sz="9600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dirty="0">
              <a:solidFill>
                <a:schemeClr val="accent3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3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>
                <a:solidFill>
                  <a:schemeClr val="accent3"/>
                </a:solidFill>
                <a:cs typeface="+mn-ea"/>
                <a:sym typeface="+mn-lt"/>
              </a:rPr>
              <a:t>Speaker name and title</a:t>
            </a:r>
            <a:endParaRPr lang="en-US" altLang="zh-CN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问题提出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751825" y="2684430"/>
            <a:ext cx="1752808" cy="15240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问题提出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63ED8F1-D440-4E50-94AD-F11AB4854D5A}"/>
              </a:ext>
            </a:extLst>
          </p:cNvPr>
          <p:cNvSpPr/>
          <p:nvPr/>
        </p:nvSpPr>
        <p:spPr bwMode="auto">
          <a:xfrm>
            <a:off x="4162155" y="3172631"/>
            <a:ext cx="3882538" cy="1349791"/>
          </a:xfrm>
          <a:prstGeom prst="rect">
            <a:avLst/>
          </a:prstGeom>
          <a:solidFill>
            <a:schemeClr val="bg1"/>
          </a:solidFill>
          <a:ln w="34925">
            <a:solidFill>
              <a:schemeClr val="accent1"/>
            </a:solidFill>
            <a:miter lim="800000"/>
          </a:ln>
          <a:effectLst/>
        </p:spPr>
        <p:txBody>
          <a:bodyPr wrap="square" lIns="91440" tIns="45720" rIns="91440" bIns="45720" anchor="ctr">
            <a:noAutofit/>
          </a:bodyPr>
          <a:lstStyle>
            <a:lvl1pPr>
              <a:defRPr sz="1300" b="1">
                <a:solidFill>
                  <a:srgbClr val="000000"/>
                </a:solidFill>
              </a:defRPr>
            </a:lvl1pPr>
            <a:lvl2pPr marL="742950" indent="-285750">
              <a:defRPr sz="1300" b="1">
                <a:solidFill>
                  <a:srgbClr val="000000"/>
                </a:solidFill>
              </a:defRPr>
            </a:lvl2pPr>
            <a:lvl3pPr marL="1143000" indent="-228600">
              <a:defRPr sz="1300" b="1">
                <a:solidFill>
                  <a:srgbClr val="000000"/>
                </a:solidFill>
              </a:defRPr>
            </a:lvl3pPr>
            <a:lvl4pPr marL="1600200" indent="-228600">
              <a:defRPr sz="1300" b="1">
                <a:solidFill>
                  <a:srgbClr val="000000"/>
                </a:solidFill>
              </a:defRPr>
            </a:lvl4pPr>
            <a:lvl5pPr marL="2057400" indent="-228600">
              <a:defRPr sz="1300" b="1">
                <a:solidFill>
                  <a:srgbClr val="000000"/>
                </a:solidFill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300" b="1">
                <a:solidFill>
                  <a:srgbClr val="000000"/>
                </a:solidFill>
              </a:defRPr>
            </a:lvl9pPr>
          </a:lstStyle>
          <a:p>
            <a:pPr algn="ctr" defTabSz="914377"/>
            <a:r>
              <a:rPr lang="zh-CN" altLang="en-US" sz="1400" kern="0" dirty="0">
                <a:cs typeface="+mn-ea"/>
                <a:sym typeface="+mn-lt"/>
              </a:rPr>
              <a:t>提出问题</a:t>
            </a: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824B7BFF-70C9-4559-A0E7-B0FA53E50613}"/>
              </a:ext>
            </a:extLst>
          </p:cNvPr>
          <p:cNvSpPr/>
          <p:nvPr/>
        </p:nvSpPr>
        <p:spPr bwMode="auto">
          <a:xfrm>
            <a:off x="669925" y="1441977"/>
            <a:ext cx="5336948" cy="2304907"/>
          </a:xfrm>
          <a:custGeom>
            <a:avLst/>
            <a:gdLst>
              <a:gd name="T0" fmla="*/ 0 w 2444"/>
              <a:gd name="T1" fmla="*/ 2147483647 h 1014"/>
              <a:gd name="T2" fmla="*/ 2147483647 w 2444"/>
              <a:gd name="T3" fmla="*/ 2147483647 h 1014"/>
              <a:gd name="T4" fmla="*/ 2147483647 w 2444"/>
              <a:gd name="T5" fmla="*/ 2147483647 h 1014"/>
              <a:gd name="T6" fmla="*/ 2147483647 w 2444"/>
              <a:gd name="T7" fmla="*/ 2147483647 h 1014"/>
              <a:gd name="T8" fmla="*/ 2147483647 w 2444"/>
              <a:gd name="T9" fmla="*/ 0 h 1014"/>
              <a:gd name="T10" fmla="*/ 0 w 2444"/>
              <a:gd name="T11" fmla="*/ 0 h 1014"/>
              <a:gd name="T12" fmla="*/ 0 w 2444"/>
              <a:gd name="T13" fmla="*/ 2147483647 h 10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44" h="1014">
                <a:moveTo>
                  <a:pt x="0" y="1014"/>
                </a:moveTo>
                <a:lnTo>
                  <a:pt x="1518" y="1014"/>
                </a:lnTo>
                <a:lnTo>
                  <a:pt x="1518" y="696"/>
                </a:lnTo>
                <a:lnTo>
                  <a:pt x="2444" y="696"/>
                </a:lnTo>
                <a:lnTo>
                  <a:pt x="2444" y="0"/>
                </a:lnTo>
                <a:lnTo>
                  <a:pt x="0" y="0"/>
                </a:lnTo>
                <a:lnTo>
                  <a:pt x="0" y="1014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endParaRPr lang="zh-CN" altLang="en-US" sz="11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A68B88C7-B28B-4AA2-82FA-D1E8E5CDCD41}"/>
              </a:ext>
            </a:extLst>
          </p:cNvPr>
          <p:cNvSpPr/>
          <p:nvPr/>
        </p:nvSpPr>
        <p:spPr bwMode="auto">
          <a:xfrm>
            <a:off x="6183540" y="1441977"/>
            <a:ext cx="5336948" cy="2304907"/>
          </a:xfrm>
          <a:custGeom>
            <a:avLst/>
            <a:gdLst>
              <a:gd name="T0" fmla="*/ 2147483647 w 2444"/>
              <a:gd name="T1" fmla="*/ 2147483647 h 1014"/>
              <a:gd name="T2" fmla="*/ 2147483647 w 2444"/>
              <a:gd name="T3" fmla="*/ 2147483647 h 1014"/>
              <a:gd name="T4" fmla="*/ 2147483647 w 2444"/>
              <a:gd name="T5" fmla="*/ 2147483647 h 1014"/>
              <a:gd name="T6" fmla="*/ 0 w 2444"/>
              <a:gd name="T7" fmla="*/ 2147483647 h 1014"/>
              <a:gd name="T8" fmla="*/ 0 w 2444"/>
              <a:gd name="T9" fmla="*/ 0 h 1014"/>
              <a:gd name="T10" fmla="*/ 2147483647 w 2444"/>
              <a:gd name="T11" fmla="*/ 0 h 1014"/>
              <a:gd name="T12" fmla="*/ 2147483647 w 2444"/>
              <a:gd name="T13" fmla="*/ 2147483647 h 101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44" h="1014">
                <a:moveTo>
                  <a:pt x="2444" y="1014"/>
                </a:moveTo>
                <a:lnTo>
                  <a:pt x="926" y="1014"/>
                </a:lnTo>
                <a:lnTo>
                  <a:pt x="926" y="696"/>
                </a:lnTo>
                <a:lnTo>
                  <a:pt x="0" y="696"/>
                </a:lnTo>
                <a:lnTo>
                  <a:pt x="0" y="0"/>
                </a:lnTo>
                <a:lnTo>
                  <a:pt x="2444" y="0"/>
                </a:lnTo>
                <a:lnTo>
                  <a:pt x="2444" y="1014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endParaRPr lang="zh-CN" altLang="en-US" sz="11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771CD8CA-2C40-4070-9144-705D0A1C793E}"/>
              </a:ext>
            </a:extLst>
          </p:cNvPr>
          <p:cNvSpPr/>
          <p:nvPr/>
        </p:nvSpPr>
        <p:spPr bwMode="auto">
          <a:xfrm>
            <a:off x="669925" y="3914622"/>
            <a:ext cx="5336948" cy="2322666"/>
          </a:xfrm>
          <a:custGeom>
            <a:avLst/>
            <a:gdLst>
              <a:gd name="T0" fmla="*/ 0 w 2444"/>
              <a:gd name="T1" fmla="*/ 0 h 1022"/>
              <a:gd name="T2" fmla="*/ 2147483647 w 2444"/>
              <a:gd name="T3" fmla="*/ 0 h 1022"/>
              <a:gd name="T4" fmla="*/ 2147483647 w 2444"/>
              <a:gd name="T5" fmla="*/ 2147483647 h 1022"/>
              <a:gd name="T6" fmla="*/ 2147483647 w 2444"/>
              <a:gd name="T7" fmla="*/ 2147483647 h 1022"/>
              <a:gd name="T8" fmla="*/ 2147483647 w 2444"/>
              <a:gd name="T9" fmla="*/ 2147483647 h 1022"/>
              <a:gd name="T10" fmla="*/ 0 w 2444"/>
              <a:gd name="T11" fmla="*/ 2147483647 h 1022"/>
              <a:gd name="T12" fmla="*/ 0 w 2444"/>
              <a:gd name="T13" fmla="*/ 0 h 10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44" h="1022">
                <a:moveTo>
                  <a:pt x="0" y="0"/>
                </a:moveTo>
                <a:lnTo>
                  <a:pt x="1518" y="0"/>
                </a:lnTo>
                <a:lnTo>
                  <a:pt x="1518" y="326"/>
                </a:lnTo>
                <a:lnTo>
                  <a:pt x="2444" y="326"/>
                </a:lnTo>
                <a:lnTo>
                  <a:pt x="2444" y="1022"/>
                </a:lnTo>
                <a:lnTo>
                  <a:pt x="0" y="1022"/>
                </a:lnTo>
                <a:lnTo>
                  <a:pt x="0" y="0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endParaRPr lang="zh-CN" altLang="en-US" sz="11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32C6F207-1792-446E-9CB1-B637BB976695}"/>
              </a:ext>
            </a:extLst>
          </p:cNvPr>
          <p:cNvSpPr/>
          <p:nvPr/>
        </p:nvSpPr>
        <p:spPr bwMode="auto">
          <a:xfrm>
            <a:off x="6183540" y="3914622"/>
            <a:ext cx="5336948" cy="2322666"/>
          </a:xfrm>
          <a:custGeom>
            <a:avLst/>
            <a:gdLst>
              <a:gd name="T0" fmla="*/ 2147483647 w 2444"/>
              <a:gd name="T1" fmla="*/ 0 h 1022"/>
              <a:gd name="T2" fmla="*/ 2147483647 w 2444"/>
              <a:gd name="T3" fmla="*/ 0 h 1022"/>
              <a:gd name="T4" fmla="*/ 2147483647 w 2444"/>
              <a:gd name="T5" fmla="*/ 2147483647 h 1022"/>
              <a:gd name="T6" fmla="*/ 0 w 2444"/>
              <a:gd name="T7" fmla="*/ 2147483647 h 1022"/>
              <a:gd name="T8" fmla="*/ 0 w 2444"/>
              <a:gd name="T9" fmla="*/ 2147483647 h 1022"/>
              <a:gd name="T10" fmla="*/ 2147483647 w 2444"/>
              <a:gd name="T11" fmla="*/ 2147483647 h 1022"/>
              <a:gd name="T12" fmla="*/ 2147483647 w 2444"/>
              <a:gd name="T13" fmla="*/ 0 h 102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2444" h="1022">
                <a:moveTo>
                  <a:pt x="2444" y="0"/>
                </a:moveTo>
                <a:lnTo>
                  <a:pt x="926" y="0"/>
                </a:lnTo>
                <a:lnTo>
                  <a:pt x="926" y="326"/>
                </a:lnTo>
                <a:lnTo>
                  <a:pt x="0" y="326"/>
                </a:lnTo>
                <a:lnTo>
                  <a:pt x="0" y="1022"/>
                </a:lnTo>
                <a:lnTo>
                  <a:pt x="2444" y="1022"/>
                </a:lnTo>
                <a:lnTo>
                  <a:pt x="2444" y="0"/>
                </a:lnTo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Autofit/>
          </a:bodyPr>
          <a:lstStyle/>
          <a:p>
            <a:pPr marL="285744" indent="-285744">
              <a:buFont typeface="Arial" panose="020B0604020202020204" pitchFamily="34" charset="0"/>
              <a:buChar char="•"/>
            </a:pPr>
            <a:endParaRPr lang="zh-CN" altLang="en-US" sz="1100">
              <a:solidFill>
                <a:srgbClr val="000000"/>
              </a:solidFill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56F236B-3B7B-4ECA-91C9-70C6D3E9FA6C}"/>
              </a:ext>
            </a:extLst>
          </p:cNvPr>
          <p:cNvSpPr/>
          <p:nvPr/>
        </p:nvSpPr>
        <p:spPr bwMode="auto">
          <a:xfrm>
            <a:off x="667871" y="2024124"/>
            <a:ext cx="5336948" cy="585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>
            <a:noAutofit/>
          </a:bodyPr>
          <a:lstStyle>
            <a:lvl1pPr marL="342900" indent="-3429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1pPr>
            <a:lvl2pPr marL="190500" indent="-188913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2pPr>
            <a:lvl3pPr marL="11430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3pPr>
            <a:lvl4pPr marL="16002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4pPr>
            <a:lvl5pPr marL="20574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5pPr>
            <a:lvl6pPr marL="25146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6pPr>
            <a:lvl7pPr marL="29718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7pPr>
            <a:lvl8pPr marL="34290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8pPr>
            <a:lvl9pPr marL="38862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9pPr>
          </a:lstStyle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r>
              <a:rPr kumimoji="1" lang="en-US" altLang="zh-CN" sz="1200" b="0" dirty="0">
                <a:cs typeface="+mn-ea"/>
                <a:sym typeface="+mn-lt"/>
              </a:rPr>
              <a:t>Supporting </a:t>
            </a:r>
            <a:r>
              <a:rPr kumimoji="1" lang="en-US" altLang="zh-CN" sz="1200" b="0">
                <a:cs typeface="+mn-ea"/>
                <a:sym typeface="+mn-lt"/>
              </a:rPr>
              <a:t>text he</a:t>
            </a:r>
            <a:r>
              <a:rPr kumimoji="1" lang="en-US" altLang="zh-CN" sz="100" b="0">
                <a:cs typeface="+mn-ea"/>
                <a:sym typeface="+mn-lt"/>
              </a:rPr>
              <a:t> </a:t>
            </a:r>
            <a:r>
              <a:rPr kumimoji="1" lang="en-US" altLang="zh-CN" sz="1200" b="0">
                <a:cs typeface="+mn-ea"/>
                <a:sym typeface="+mn-lt"/>
              </a:rPr>
              <a:t>re</a:t>
            </a:r>
            <a:endParaRPr kumimoji="1" lang="en-US" altLang="zh-CN" sz="1200" b="0" dirty="0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D5AEC203-464E-4040-99AC-D42D27A9FD78}"/>
              </a:ext>
            </a:extLst>
          </p:cNvPr>
          <p:cNvSpPr/>
          <p:nvPr/>
        </p:nvSpPr>
        <p:spPr bwMode="auto">
          <a:xfrm>
            <a:off x="686360" y="4036971"/>
            <a:ext cx="3108083" cy="597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>
            <a:noAutofit/>
          </a:bodyPr>
          <a:lstStyle>
            <a:lvl1pPr marL="342900" indent="-3429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1pPr>
            <a:lvl2pPr marL="190500" indent="-188913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2pPr>
            <a:lvl3pPr marL="11430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3pPr>
            <a:lvl4pPr marL="16002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4pPr>
            <a:lvl5pPr marL="20574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5pPr>
            <a:lvl6pPr marL="25146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6pPr>
            <a:lvl7pPr marL="29718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7pPr>
            <a:lvl8pPr marL="34290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8pPr>
            <a:lvl9pPr marL="38862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9pPr>
          </a:lstStyle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r>
              <a:rPr kumimoji="1" lang="en-US" altLang="zh-CN" sz="1200" b="0" dirty="0">
                <a:cs typeface="+mn-ea"/>
                <a:sym typeface="+mn-lt"/>
              </a:rPr>
              <a:t>Supporting </a:t>
            </a:r>
            <a:r>
              <a:rPr kumimoji="1" lang="en-US" altLang="zh-CN" sz="1200" b="0">
                <a:cs typeface="+mn-ea"/>
                <a:sym typeface="+mn-lt"/>
              </a:rPr>
              <a:t>text her</a:t>
            </a:r>
            <a:r>
              <a:rPr kumimoji="1" lang="en-US" altLang="zh-CN" sz="100" b="0">
                <a:cs typeface="+mn-ea"/>
                <a:sym typeface="+mn-lt"/>
              </a:rPr>
              <a:t> </a:t>
            </a:r>
            <a:r>
              <a:rPr kumimoji="1" lang="en-US" altLang="zh-CN" sz="1200" b="0">
                <a:cs typeface="+mn-ea"/>
                <a:sym typeface="+mn-lt"/>
              </a:rPr>
              <a:t>e</a:t>
            </a:r>
            <a:endParaRPr kumimoji="1" lang="en-US" altLang="zh-CN" sz="1200" b="0" dirty="0">
              <a:cs typeface="+mn-ea"/>
              <a:sym typeface="+mn-lt"/>
            </a:endParaRPr>
          </a:p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endParaRPr kumimoji="1" lang="zh-CN" altLang="en-US" sz="1200" b="0" dirty="0">
              <a:cs typeface="+mn-ea"/>
              <a:sym typeface="+mn-lt"/>
            </a:endParaRP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BCD060C7-5B13-465B-8CBB-F9881EDAECE7}"/>
              </a:ext>
            </a:extLst>
          </p:cNvPr>
          <p:cNvSpPr/>
          <p:nvPr/>
        </p:nvSpPr>
        <p:spPr bwMode="auto">
          <a:xfrm>
            <a:off x="8443218" y="4036971"/>
            <a:ext cx="3077270" cy="597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>
            <a:noAutofit/>
          </a:bodyPr>
          <a:lstStyle>
            <a:lvl1pPr marL="342900" indent="-3429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1pPr>
            <a:lvl2pPr marL="190500" indent="-188913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2pPr>
            <a:lvl3pPr marL="11430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3pPr>
            <a:lvl4pPr marL="16002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4pPr>
            <a:lvl5pPr marL="20574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5pPr>
            <a:lvl6pPr marL="25146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6pPr>
            <a:lvl7pPr marL="29718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7pPr>
            <a:lvl8pPr marL="34290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8pPr>
            <a:lvl9pPr marL="38862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9pPr>
          </a:lstStyle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r>
              <a:rPr kumimoji="1" lang="en-US" altLang="zh-CN" sz="1200" b="0" dirty="0">
                <a:cs typeface="+mn-ea"/>
                <a:sym typeface="+mn-lt"/>
              </a:rPr>
              <a:t>Supporting </a:t>
            </a:r>
            <a:r>
              <a:rPr kumimoji="1" lang="en-US" altLang="zh-CN" sz="1200" b="0">
                <a:cs typeface="+mn-ea"/>
                <a:sym typeface="+mn-lt"/>
              </a:rPr>
              <a:t>text her</a:t>
            </a:r>
            <a:r>
              <a:rPr kumimoji="1" lang="en-US" altLang="zh-CN" sz="100" b="0">
                <a:cs typeface="+mn-ea"/>
                <a:sym typeface="+mn-lt"/>
              </a:rPr>
              <a:t> </a:t>
            </a:r>
            <a:r>
              <a:rPr kumimoji="1" lang="en-US" altLang="zh-CN" sz="1200" b="0">
                <a:cs typeface="+mn-ea"/>
                <a:sym typeface="+mn-lt"/>
              </a:rPr>
              <a:t>e</a:t>
            </a:r>
            <a:endParaRPr kumimoji="1" lang="en-US" altLang="zh-CN" sz="1200" b="0" dirty="0">
              <a:cs typeface="+mn-ea"/>
              <a:sym typeface="+mn-lt"/>
            </a:endParaRPr>
          </a:p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endParaRPr kumimoji="1" lang="zh-CN" altLang="en-US" sz="1200" b="0" dirty="0"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07E0C0C7-923E-4728-B5AE-AB4154396FB1}"/>
              </a:ext>
            </a:extLst>
          </p:cNvPr>
          <p:cNvSpPr/>
          <p:nvPr/>
        </p:nvSpPr>
        <p:spPr bwMode="auto">
          <a:xfrm>
            <a:off x="669925" y="1441978"/>
            <a:ext cx="5334894" cy="445982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问题一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0B75079D-34C1-4BCB-8CC7-D1F6A150024B}"/>
              </a:ext>
            </a:extLst>
          </p:cNvPr>
          <p:cNvSpPr/>
          <p:nvPr/>
        </p:nvSpPr>
        <p:spPr bwMode="auto">
          <a:xfrm>
            <a:off x="6185592" y="1441977"/>
            <a:ext cx="5334896" cy="445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问题二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1AEBC747-B20F-4893-B50F-36D79F850B90}"/>
              </a:ext>
            </a:extLst>
          </p:cNvPr>
          <p:cNvSpPr/>
          <p:nvPr/>
        </p:nvSpPr>
        <p:spPr bwMode="auto">
          <a:xfrm>
            <a:off x="669925" y="5791304"/>
            <a:ext cx="5336948" cy="445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问题三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72CFAE37-2F20-41F1-B744-9A126E143183}"/>
              </a:ext>
            </a:extLst>
          </p:cNvPr>
          <p:cNvSpPr/>
          <p:nvPr/>
        </p:nvSpPr>
        <p:spPr bwMode="auto">
          <a:xfrm>
            <a:off x="6183540" y="5791304"/>
            <a:ext cx="5336948" cy="445984"/>
          </a:xfrm>
          <a:prstGeom prst="rect">
            <a:avLst/>
          </a:prstGeom>
          <a:solidFill>
            <a:schemeClr val="bg1">
              <a:lumMod val="8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zh-CN" altLang="en-US" sz="1400" b="1" dirty="0">
                <a:solidFill>
                  <a:schemeClr val="tx1"/>
                </a:solidFill>
                <a:cs typeface="+mn-ea"/>
                <a:sym typeface="+mn-lt"/>
              </a:rPr>
              <a:t>问题四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446AC961-A2F2-488C-83C6-EB9456541B6E}"/>
              </a:ext>
            </a:extLst>
          </p:cNvPr>
          <p:cNvSpPr/>
          <p:nvPr/>
        </p:nvSpPr>
        <p:spPr bwMode="auto">
          <a:xfrm>
            <a:off x="6395127" y="2012284"/>
            <a:ext cx="5125361" cy="597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40" tIns="45720" rIns="91440" bIns="45720">
            <a:noAutofit/>
          </a:bodyPr>
          <a:lstStyle>
            <a:lvl1pPr marL="342900" indent="-3429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1pPr>
            <a:lvl2pPr marL="190500" indent="-188913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2pPr>
            <a:lvl3pPr marL="11430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3pPr>
            <a:lvl4pPr marL="16002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4pPr>
            <a:lvl5pPr marL="2057400" indent="-228600" defTabSz="330200"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5pPr>
            <a:lvl6pPr marL="25146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6pPr>
            <a:lvl7pPr marL="29718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7pPr>
            <a:lvl8pPr marL="34290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8pPr>
            <a:lvl9pPr marL="3886200" indent="-228600" defTabSz="330200" eaLnBrk="0" fontAlgn="base" hangingPunct="0">
              <a:spcBef>
                <a:spcPct val="0"/>
              </a:spcBef>
              <a:spcAft>
                <a:spcPct val="0"/>
              </a:spcAft>
              <a:tabLst>
                <a:tab pos="8521700" algn="r"/>
              </a:tabLst>
              <a:defRPr sz="1300" b="1">
                <a:solidFill>
                  <a:srgbClr val="000000"/>
                </a:solidFill>
              </a:defRPr>
            </a:lvl9pPr>
          </a:lstStyle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r>
              <a:rPr kumimoji="1" lang="en-US" altLang="zh-CN" sz="1200" b="0" dirty="0">
                <a:cs typeface="+mn-ea"/>
                <a:sym typeface="+mn-lt"/>
              </a:rPr>
              <a:t>Supporting </a:t>
            </a:r>
            <a:r>
              <a:rPr kumimoji="1" lang="en-US" altLang="zh-CN" sz="1200" b="0">
                <a:cs typeface="+mn-ea"/>
                <a:sym typeface="+mn-lt"/>
              </a:rPr>
              <a:t>text her</a:t>
            </a:r>
            <a:r>
              <a:rPr kumimoji="1" lang="en-US" altLang="zh-CN" sz="100" b="0">
                <a:cs typeface="+mn-ea"/>
                <a:sym typeface="+mn-lt"/>
              </a:rPr>
              <a:t> </a:t>
            </a:r>
            <a:r>
              <a:rPr kumimoji="1" lang="en-US" altLang="zh-CN" sz="1200" b="0">
                <a:cs typeface="+mn-ea"/>
                <a:sym typeface="+mn-lt"/>
              </a:rPr>
              <a:t>e</a:t>
            </a:r>
            <a:endParaRPr kumimoji="1" lang="en-US" altLang="zh-CN" sz="1200" b="0" dirty="0">
              <a:cs typeface="+mn-ea"/>
              <a:sym typeface="+mn-lt"/>
            </a:endParaRPr>
          </a:p>
          <a:p>
            <a:pPr lvl="1">
              <a:lnSpc>
                <a:spcPct val="130000"/>
              </a:lnSpc>
              <a:spcBef>
                <a:spcPct val="30000"/>
              </a:spcBef>
              <a:buFontTx/>
              <a:buChar char="•"/>
            </a:pPr>
            <a:endParaRPr kumimoji="1" lang="zh-CN" altLang="en-US" sz="1200" b="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039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文献综述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751825" y="2684430"/>
            <a:ext cx="1752808" cy="15240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85145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学术拖延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AD807E39-BFD8-4F96-ADE5-4F568C171C1A}"/>
              </a:ext>
            </a:extLst>
          </p:cNvPr>
          <p:cNvSpPr/>
          <p:nvPr/>
        </p:nvSpPr>
        <p:spPr>
          <a:xfrm rot="21412315" flipH="1">
            <a:off x="6949878" y="1399294"/>
            <a:ext cx="1669021" cy="310941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642" y="0"/>
                </a:moveTo>
                <a:lnTo>
                  <a:pt x="0" y="21117"/>
                </a:lnTo>
                <a:lnTo>
                  <a:pt x="1654" y="21600"/>
                </a:lnTo>
                <a:lnTo>
                  <a:pt x="21600" y="156"/>
                </a:lnTo>
                <a:lnTo>
                  <a:pt x="19642" y="0"/>
                </a:ln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CFCFCF"/>
            </a:solidFill>
            <a:prstDash val="solid"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AD042E71-FACA-4147-B9FB-8C3CAFCE8A96}"/>
              </a:ext>
            </a:extLst>
          </p:cNvPr>
          <p:cNvSpPr/>
          <p:nvPr/>
        </p:nvSpPr>
        <p:spPr>
          <a:xfrm rot="21412315" flipH="1">
            <a:off x="5420891" y="1465157"/>
            <a:ext cx="3071741" cy="308698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38" y="0"/>
                </a:moveTo>
                <a:lnTo>
                  <a:pt x="0" y="21600"/>
                </a:lnTo>
                <a:lnTo>
                  <a:pt x="21600" y="18579"/>
                </a:lnTo>
                <a:cubicBezTo>
                  <a:pt x="21600" y="18579"/>
                  <a:pt x="10838" y="0"/>
                  <a:pt x="1083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586088FD-47CD-4521-9BB9-05BD44271C05}"/>
              </a:ext>
            </a:extLst>
          </p:cNvPr>
          <p:cNvSpPr/>
          <p:nvPr/>
        </p:nvSpPr>
        <p:spPr>
          <a:xfrm rot="21412315" flipH="1">
            <a:off x="6343384" y="2377356"/>
            <a:ext cx="1155652" cy="212863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9211" y="0"/>
                </a:moveTo>
                <a:lnTo>
                  <a:pt x="0" y="20894"/>
                </a:lnTo>
                <a:lnTo>
                  <a:pt x="2389" y="21600"/>
                </a:lnTo>
                <a:lnTo>
                  <a:pt x="21600" y="706"/>
                </a:lnTo>
                <a:cubicBezTo>
                  <a:pt x="21600" y="706"/>
                  <a:pt x="19211" y="0"/>
                  <a:pt x="19211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CFCFCF"/>
            </a:solidFill>
            <a:prstDash val="solid"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040438C7-77D6-44FF-BA57-0B2A1E31A3D3}"/>
              </a:ext>
            </a:extLst>
          </p:cNvPr>
          <p:cNvSpPr/>
          <p:nvPr/>
        </p:nvSpPr>
        <p:spPr>
          <a:xfrm rot="21412315" flipH="1">
            <a:off x="5324800" y="2477731"/>
            <a:ext cx="2048794" cy="2059100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36" y="0"/>
                </a:moveTo>
                <a:lnTo>
                  <a:pt x="0" y="21600"/>
                </a:lnTo>
                <a:lnTo>
                  <a:pt x="21600" y="18579"/>
                </a:lnTo>
                <a:cubicBezTo>
                  <a:pt x="21600" y="18579"/>
                  <a:pt x="10836" y="0"/>
                  <a:pt x="1083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5F10F2F4-EB9A-4851-B05C-2A0C555954D2}"/>
              </a:ext>
            </a:extLst>
          </p:cNvPr>
          <p:cNvSpPr/>
          <p:nvPr/>
        </p:nvSpPr>
        <p:spPr>
          <a:xfrm rot="21412315" flipH="1">
            <a:off x="5735270" y="3380285"/>
            <a:ext cx="646997" cy="110965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332" y="0"/>
                </a:moveTo>
                <a:lnTo>
                  <a:pt x="0" y="20246"/>
                </a:lnTo>
                <a:lnTo>
                  <a:pt x="4266" y="21600"/>
                </a:lnTo>
                <a:lnTo>
                  <a:pt x="21600" y="1354"/>
                </a:lnTo>
                <a:cubicBezTo>
                  <a:pt x="21600" y="1354"/>
                  <a:pt x="17332" y="0"/>
                  <a:pt x="17332" y="0"/>
                </a:cubicBezTo>
                <a:close/>
              </a:path>
            </a:pathLst>
          </a:custGeom>
          <a:solidFill>
            <a:schemeClr val="bg1"/>
          </a:solidFill>
          <a:ln w="6350" cap="flat">
            <a:solidFill>
              <a:srgbClr val="CFCFCF"/>
            </a:solidFill>
            <a:prstDash val="solid"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6289EDD3-85F9-414C-92A4-1DFC03732032}"/>
              </a:ext>
            </a:extLst>
          </p:cNvPr>
          <p:cNvSpPr/>
          <p:nvPr/>
        </p:nvSpPr>
        <p:spPr>
          <a:xfrm rot="21412315" flipH="1">
            <a:off x="5226152" y="3463117"/>
            <a:ext cx="1034837" cy="104012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0838" y="0"/>
                </a:moveTo>
                <a:lnTo>
                  <a:pt x="0" y="21600"/>
                </a:lnTo>
                <a:lnTo>
                  <a:pt x="21600" y="18579"/>
                </a:lnTo>
                <a:cubicBezTo>
                  <a:pt x="21600" y="18579"/>
                  <a:pt x="10838" y="0"/>
                  <a:pt x="10838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E22CA93C-43B0-4482-BF11-91D542CEB85F}"/>
              </a:ext>
            </a:extLst>
          </p:cNvPr>
          <p:cNvSpPr/>
          <p:nvPr/>
        </p:nvSpPr>
        <p:spPr>
          <a:xfrm>
            <a:off x="7505818" y="2380597"/>
            <a:ext cx="922958" cy="922956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r>
              <a:rPr lang="en-US" altLang="zh-CN">
                <a:solidFill>
                  <a:schemeClr val="tx1"/>
                </a:solidFill>
                <a:cs typeface="+mn-ea"/>
                <a:sym typeface="+mn-lt"/>
              </a:rPr>
              <a:t>1</a:t>
            </a:r>
            <a:endParaRPr lang="en-US" altLang="zh-CN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E32E13E-D710-4642-B955-57480CABB9BC}"/>
              </a:ext>
            </a:extLst>
          </p:cNvPr>
          <p:cNvSpPr/>
          <p:nvPr/>
        </p:nvSpPr>
        <p:spPr>
          <a:xfrm>
            <a:off x="5087888" y="4150088"/>
            <a:ext cx="593984" cy="59398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800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lang="en-US" altLang="zh-CN" sz="18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06A272F3-C880-4595-B9BA-0383397CB615}"/>
              </a:ext>
            </a:extLst>
          </p:cNvPr>
          <p:cNvSpPr/>
          <p:nvPr/>
        </p:nvSpPr>
        <p:spPr>
          <a:xfrm>
            <a:off x="7282282" y="4152505"/>
            <a:ext cx="593984" cy="593982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 defTabSz="914377"/>
            <a:r>
              <a:rPr lang="en-US" altLang="zh-CN" sz="1800">
                <a:solidFill>
                  <a:schemeClr val="tx1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10" name="矩形: 剪去左右顶角 9">
            <a:extLst>
              <a:ext uri="{FF2B5EF4-FFF2-40B4-BE49-F238E27FC236}">
                <a16:creationId xmlns:a16="http://schemas.microsoft.com/office/drawing/2014/main" id="{998FB89B-94D0-41E1-B5C1-AA418FDB780A}"/>
              </a:ext>
            </a:extLst>
          </p:cNvPr>
          <p:cNvSpPr/>
          <p:nvPr/>
        </p:nvSpPr>
        <p:spPr>
          <a:xfrm>
            <a:off x="4367810" y="5423565"/>
            <a:ext cx="2448270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8178FB4B-C75D-4D59-A03E-1BE99E998060}"/>
              </a:ext>
            </a:extLst>
          </p:cNvPr>
          <p:cNvSpPr txBox="1"/>
          <p:nvPr/>
        </p:nvSpPr>
        <p:spPr bwMode="auto">
          <a:xfrm>
            <a:off x="4367809" y="4891337"/>
            <a:ext cx="244827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内容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2" name="矩形: 剪去左右顶角 11">
            <a:extLst>
              <a:ext uri="{FF2B5EF4-FFF2-40B4-BE49-F238E27FC236}">
                <a16:creationId xmlns:a16="http://schemas.microsoft.com/office/drawing/2014/main" id="{A8542C11-9F1A-492A-8631-AFFA3189D55C}"/>
              </a:ext>
            </a:extLst>
          </p:cNvPr>
          <p:cNvSpPr/>
          <p:nvPr/>
        </p:nvSpPr>
        <p:spPr>
          <a:xfrm>
            <a:off x="7282283" y="5423565"/>
            <a:ext cx="2448270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754D7AC4-6A85-4631-9A30-F1115126AFC1}"/>
              </a:ext>
            </a:extLst>
          </p:cNvPr>
          <p:cNvSpPr txBox="1"/>
          <p:nvPr/>
        </p:nvSpPr>
        <p:spPr bwMode="auto">
          <a:xfrm>
            <a:off x="7282282" y="4891337"/>
            <a:ext cx="2448270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内容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4" name="矩形: 剪去左右顶角 13">
            <a:extLst>
              <a:ext uri="{FF2B5EF4-FFF2-40B4-BE49-F238E27FC236}">
                <a16:creationId xmlns:a16="http://schemas.microsoft.com/office/drawing/2014/main" id="{740CBEBA-0B64-4A71-A759-860D88262133}"/>
              </a:ext>
            </a:extLst>
          </p:cNvPr>
          <p:cNvSpPr/>
          <p:nvPr/>
        </p:nvSpPr>
        <p:spPr>
          <a:xfrm>
            <a:off x="8780063" y="2786672"/>
            <a:ext cx="2739853" cy="678785"/>
          </a:xfrm>
          <a:prstGeom prst="snip2SameRect">
            <a:avLst>
              <a:gd name="adj1" fmla="val 0"/>
              <a:gd name="adj2" fmla="val 0"/>
            </a:avLst>
          </a:prstGeom>
          <a:ln>
            <a:noFill/>
          </a:ln>
        </p:spPr>
        <p:txBody>
          <a:bodyPr wrap="square" lIns="91440" tIns="45720" rIns="91440" bIns="45720" anchor="t">
            <a:noAutofit/>
          </a:bodyPr>
          <a:lstStyle/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2800" indent="-1728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A4C4378-4A70-460F-AE06-ED27695C5AE7}"/>
              </a:ext>
            </a:extLst>
          </p:cNvPr>
          <p:cNvSpPr txBox="1"/>
          <p:nvPr/>
        </p:nvSpPr>
        <p:spPr bwMode="auto">
          <a:xfrm>
            <a:off x="8780062" y="2254444"/>
            <a:ext cx="2739853" cy="5162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内容</a:t>
            </a:r>
            <a:endParaRPr lang="en-US" altLang="zh-CN" b="1" dirty="0">
              <a:cs typeface="+mn-ea"/>
              <a:sym typeface="+mn-lt"/>
            </a:endParaRP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E29AEA8C-67DE-43BC-9FDF-CD91CC281074}"/>
              </a:ext>
            </a:extLst>
          </p:cNvPr>
          <p:cNvCxnSpPr>
            <a:cxnSpLocks/>
          </p:cNvCxnSpPr>
          <p:nvPr/>
        </p:nvCxnSpPr>
        <p:spPr>
          <a:xfrm>
            <a:off x="6582147" y="5013176"/>
            <a:ext cx="0" cy="1089174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文本框 16">
            <a:extLst>
              <a:ext uri="{FF2B5EF4-FFF2-40B4-BE49-F238E27FC236}">
                <a16:creationId xmlns:a16="http://schemas.microsoft.com/office/drawing/2014/main" id="{4FF319A3-38DA-4528-A470-E914D98045E0}"/>
              </a:ext>
            </a:extLst>
          </p:cNvPr>
          <p:cNvSpPr txBox="1"/>
          <p:nvPr/>
        </p:nvSpPr>
        <p:spPr>
          <a:xfrm>
            <a:off x="776857" y="2493631"/>
            <a:ext cx="397094" cy="374930"/>
          </a:xfrm>
          <a:prstGeom prst="rect">
            <a:avLst/>
          </a:prstGeom>
          <a:noFill/>
        </p:spPr>
        <p:txBody>
          <a:bodyPr wrap="square" lIns="91440" tIns="45720" rIns="91440" bIns="45720" anchor="ctr">
            <a:prstTxWarp prst="textPlain">
              <a:avLst/>
            </a:prstTxWarp>
            <a:noAutofit/>
          </a:bodyPr>
          <a:lstStyle/>
          <a:p>
            <a:r>
              <a:rPr lang="en-US" sz="4800" dirty="0">
                <a:cs typeface="+mn-ea"/>
                <a:sym typeface="+mn-lt"/>
              </a:rPr>
              <a:t>“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90562A9E-115B-4C67-8B3D-CDD7543EBEE9}"/>
              </a:ext>
            </a:extLst>
          </p:cNvPr>
          <p:cNvSpPr/>
          <p:nvPr/>
        </p:nvSpPr>
        <p:spPr>
          <a:xfrm>
            <a:off x="672084" y="2935236"/>
            <a:ext cx="3227854" cy="407934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pPr>
              <a:lnSpc>
                <a:spcPct val="120000"/>
              </a:lnSpc>
            </a:pPr>
            <a:r>
              <a:rPr lang="zh-CN" altLang="en-US" sz="1800" b="1" dirty="0">
                <a:cs typeface="+mn-ea"/>
                <a:sym typeface="+mn-lt"/>
              </a:rPr>
              <a:t>相关研究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4168F20-2B2B-4B0A-98FA-24BB474C67E2}"/>
              </a:ext>
            </a:extLst>
          </p:cNvPr>
          <p:cNvSpPr/>
          <p:nvPr/>
        </p:nvSpPr>
        <p:spPr>
          <a:xfrm>
            <a:off x="672083" y="3343170"/>
            <a:ext cx="3227855" cy="1114060"/>
          </a:xfrm>
          <a:prstGeom prst="rect">
            <a:avLst/>
          </a:prstGeom>
        </p:spPr>
        <p:txBody>
          <a:bodyPr wrap="square" lIns="91440" tIns="45720" rIns="91440" bIns="45720" anchor="t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ere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…</a:t>
            </a: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6FE0273A-4806-404E-878E-E79C906C5FDB}"/>
              </a:ext>
            </a:extLst>
          </p:cNvPr>
          <p:cNvCxnSpPr>
            <a:cxnSpLocks/>
          </p:cNvCxnSpPr>
          <p:nvPr/>
        </p:nvCxnSpPr>
        <p:spPr>
          <a:xfrm>
            <a:off x="3647728" y="1451468"/>
            <a:ext cx="0" cy="478582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70165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无聊情绪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>
            <a:extLst>
              <a:ext uri="{FF2B5EF4-FFF2-40B4-BE49-F238E27FC236}">
                <a16:creationId xmlns:a16="http://schemas.microsoft.com/office/drawing/2014/main" id="{8DA5832D-7F97-409E-8F2F-B87820F57D32}"/>
              </a:ext>
            </a:extLst>
          </p:cNvPr>
          <p:cNvCxnSpPr/>
          <p:nvPr/>
        </p:nvCxnSpPr>
        <p:spPr>
          <a:xfrm>
            <a:off x="7706646" y="3703625"/>
            <a:ext cx="379619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2B059A2F-80BF-4240-B4C0-A6FF53F3C570}"/>
              </a:ext>
            </a:extLst>
          </p:cNvPr>
          <p:cNvCxnSpPr>
            <a:cxnSpLocks/>
          </p:cNvCxnSpPr>
          <p:nvPr/>
        </p:nvCxnSpPr>
        <p:spPr>
          <a:xfrm>
            <a:off x="697014" y="3523320"/>
            <a:ext cx="3425337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9D70BA59-D25C-4213-B318-46E8AFB8EDEC}"/>
              </a:ext>
            </a:extLst>
          </p:cNvPr>
          <p:cNvSpPr/>
          <p:nvPr/>
        </p:nvSpPr>
        <p:spPr bwMode="auto">
          <a:xfrm rot="19847212">
            <a:off x="4619547" y="3347127"/>
            <a:ext cx="1845035" cy="2011445"/>
          </a:xfrm>
          <a:custGeom>
            <a:avLst/>
            <a:gdLst>
              <a:gd name="T0" fmla="*/ 240 w 260"/>
              <a:gd name="T1" fmla="*/ 258 h 258"/>
              <a:gd name="T2" fmla="*/ 153 w 260"/>
              <a:gd name="T3" fmla="*/ 215 h 258"/>
              <a:gd name="T4" fmla="*/ 3 w 260"/>
              <a:gd name="T5" fmla="*/ 33 h 258"/>
              <a:gd name="T6" fmla="*/ 5 w 260"/>
              <a:gd name="T7" fmla="*/ 6 h 258"/>
              <a:gd name="T8" fmla="*/ 20 w 260"/>
              <a:gd name="T9" fmla="*/ 0 h 258"/>
              <a:gd name="T10" fmla="*/ 107 w 260"/>
              <a:gd name="T11" fmla="*/ 43 h 258"/>
              <a:gd name="T12" fmla="*/ 256 w 260"/>
              <a:gd name="T13" fmla="*/ 225 h 258"/>
              <a:gd name="T14" fmla="*/ 255 w 260"/>
              <a:gd name="T15" fmla="*/ 252 h 258"/>
              <a:gd name="T16" fmla="*/ 240 w 260"/>
              <a:gd name="T17" fmla="*/ 258 h 2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60" h="258">
                <a:moveTo>
                  <a:pt x="240" y="258"/>
                </a:moveTo>
                <a:cubicBezTo>
                  <a:pt x="221" y="258"/>
                  <a:pt x="189" y="242"/>
                  <a:pt x="153" y="215"/>
                </a:cubicBezTo>
                <a:cubicBezTo>
                  <a:pt x="84" y="161"/>
                  <a:pt x="16" y="80"/>
                  <a:pt x="3" y="33"/>
                </a:cubicBezTo>
                <a:cubicBezTo>
                  <a:pt x="0" y="20"/>
                  <a:pt x="0" y="11"/>
                  <a:pt x="5" y="6"/>
                </a:cubicBezTo>
                <a:cubicBezTo>
                  <a:pt x="8" y="2"/>
                  <a:pt x="13" y="0"/>
                  <a:pt x="20" y="0"/>
                </a:cubicBezTo>
                <a:cubicBezTo>
                  <a:pt x="39" y="0"/>
                  <a:pt x="70" y="15"/>
                  <a:pt x="107" y="43"/>
                </a:cubicBezTo>
                <a:cubicBezTo>
                  <a:pt x="176" y="96"/>
                  <a:pt x="243" y="178"/>
                  <a:pt x="256" y="225"/>
                </a:cubicBezTo>
                <a:cubicBezTo>
                  <a:pt x="260" y="237"/>
                  <a:pt x="259" y="246"/>
                  <a:pt x="255" y="252"/>
                </a:cubicBezTo>
                <a:cubicBezTo>
                  <a:pt x="252" y="256"/>
                  <a:pt x="247" y="258"/>
                  <a:pt x="240" y="258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F68E81E4-51F5-4B6B-80A1-4004EFE2BDDD}"/>
              </a:ext>
            </a:extLst>
          </p:cNvPr>
          <p:cNvSpPr/>
          <p:nvPr/>
        </p:nvSpPr>
        <p:spPr bwMode="auto">
          <a:xfrm rot="19847212">
            <a:off x="4644295" y="2494357"/>
            <a:ext cx="2440111" cy="2718080"/>
          </a:xfrm>
          <a:custGeom>
            <a:avLst/>
            <a:gdLst>
              <a:gd name="T0" fmla="*/ 223 w 344"/>
              <a:gd name="T1" fmla="*/ 254 h 348"/>
              <a:gd name="T2" fmla="*/ 40 w 344"/>
              <a:gd name="T3" fmla="*/ 33 h 348"/>
              <a:gd name="T4" fmla="*/ 39 w 344"/>
              <a:gd name="T5" fmla="*/ 6 h 348"/>
              <a:gd name="T6" fmla="*/ 43 w 344"/>
              <a:gd name="T7" fmla="*/ 0 h 348"/>
              <a:gd name="T8" fmla="*/ 39 w 344"/>
              <a:gd name="T9" fmla="*/ 5 h 348"/>
              <a:gd name="T10" fmla="*/ 37 w 344"/>
              <a:gd name="T11" fmla="*/ 6 h 348"/>
              <a:gd name="T12" fmla="*/ 34 w 344"/>
              <a:gd name="T13" fmla="*/ 11 h 348"/>
              <a:gd name="T14" fmla="*/ 33 w 344"/>
              <a:gd name="T15" fmla="*/ 12 h 348"/>
              <a:gd name="T16" fmla="*/ 30 w 344"/>
              <a:gd name="T17" fmla="*/ 17 h 348"/>
              <a:gd name="T18" fmla="*/ 29 w 344"/>
              <a:gd name="T19" fmla="*/ 18 h 348"/>
              <a:gd name="T20" fmla="*/ 26 w 344"/>
              <a:gd name="T21" fmla="*/ 22 h 348"/>
              <a:gd name="T22" fmla="*/ 25 w 344"/>
              <a:gd name="T23" fmla="*/ 23 h 348"/>
              <a:gd name="T24" fmla="*/ 23 w 344"/>
              <a:gd name="T25" fmla="*/ 26 h 348"/>
              <a:gd name="T26" fmla="*/ 22 w 344"/>
              <a:gd name="T27" fmla="*/ 28 h 348"/>
              <a:gd name="T28" fmla="*/ 20 w 344"/>
              <a:gd name="T29" fmla="*/ 31 h 348"/>
              <a:gd name="T30" fmla="*/ 19 w 344"/>
              <a:gd name="T31" fmla="*/ 33 h 348"/>
              <a:gd name="T32" fmla="*/ 18 w 344"/>
              <a:gd name="T33" fmla="*/ 35 h 348"/>
              <a:gd name="T34" fmla="*/ 16 w 344"/>
              <a:gd name="T35" fmla="*/ 39 h 348"/>
              <a:gd name="T36" fmla="*/ 16 w 344"/>
              <a:gd name="T37" fmla="*/ 40 h 348"/>
              <a:gd name="T38" fmla="*/ 13 w 344"/>
              <a:gd name="T39" fmla="*/ 44 h 348"/>
              <a:gd name="T40" fmla="*/ 13 w 344"/>
              <a:gd name="T41" fmla="*/ 45 h 348"/>
              <a:gd name="T42" fmla="*/ 10 w 344"/>
              <a:gd name="T43" fmla="*/ 51 h 348"/>
              <a:gd name="T44" fmla="*/ 10 w 344"/>
              <a:gd name="T45" fmla="*/ 51 h 348"/>
              <a:gd name="T46" fmla="*/ 8 w 344"/>
              <a:gd name="T47" fmla="*/ 57 h 348"/>
              <a:gd name="T48" fmla="*/ 7 w 344"/>
              <a:gd name="T49" fmla="*/ 58 h 348"/>
              <a:gd name="T50" fmla="*/ 5 w 344"/>
              <a:gd name="T51" fmla="*/ 63 h 348"/>
              <a:gd name="T52" fmla="*/ 4 w 344"/>
              <a:gd name="T53" fmla="*/ 65 h 348"/>
              <a:gd name="T54" fmla="*/ 2 w 344"/>
              <a:gd name="T55" fmla="*/ 71 h 348"/>
              <a:gd name="T56" fmla="*/ 3 w 344"/>
              <a:gd name="T57" fmla="*/ 95 h 348"/>
              <a:gd name="T58" fmla="*/ 169 w 344"/>
              <a:gd name="T59" fmla="*/ 296 h 348"/>
              <a:gd name="T60" fmla="*/ 273 w 344"/>
              <a:gd name="T61" fmla="*/ 342 h 348"/>
              <a:gd name="T62" fmla="*/ 279 w 344"/>
              <a:gd name="T63" fmla="*/ 340 h 348"/>
              <a:gd name="T64" fmla="*/ 281 w 344"/>
              <a:gd name="T65" fmla="*/ 339 h 348"/>
              <a:gd name="T66" fmla="*/ 286 w 344"/>
              <a:gd name="T67" fmla="*/ 337 h 348"/>
              <a:gd name="T68" fmla="*/ 287 w 344"/>
              <a:gd name="T69" fmla="*/ 337 h 348"/>
              <a:gd name="T70" fmla="*/ 293 w 344"/>
              <a:gd name="T71" fmla="*/ 334 h 348"/>
              <a:gd name="T72" fmla="*/ 293 w 344"/>
              <a:gd name="T73" fmla="*/ 334 h 348"/>
              <a:gd name="T74" fmla="*/ 299 w 344"/>
              <a:gd name="T75" fmla="*/ 332 h 348"/>
              <a:gd name="T76" fmla="*/ 299 w 344"/>
              <a:gd name="T77" fmla="*/ 331 h 348"/>
              <a:gd name="T78" fmla="*/ 304 w 344"/>
              <a:gd name="T79" fmla="*/ 329 h 348"/>
              <a:gd name="T80" fmla="*/ 305 w 344"/>
              <a:gd name="T81" fmla="*/ 329 h 348"/>
              <a:gd name="T82" fmla="*/ 309 w 344"/>
              <a:gd name="T83" fmla="*/ 327 h 348"/>
              <a:gd name="T84" fmla="*/ 310 w 344"/>
              <a:gd name="T85" fmla="*/ 326 h 348"/>
              <a:gd name="T86" fmla="*/ 313 w 344"/>
              <a:gd name="T87" fmla="*/ 324 h 348"/>
              <a:gd name="T88" fmla="*/ 315 w 344"/>
              <a:gd name="T89" fmla="*/ 323 h 348"/>
              <a:gd name="T90" fmla="*/ 317 w 344"/>
              <a:gd name="T91" fmla="*/ 322 h 348"/>
              <a:gd name="T92" fmla="*/ 321 w 344"/>
              <a:gd name="T93" fmla="*/ 319 h 348"/>
              <a:gd name="T94" fmla="*/ 322 w 344"/>
              <a:gd name="T95" fmla="*/ 318 h 348"/>
              <a:gd name="T96" fmla="*/ 326 w 344"/>
              <a:gd name="T97" fmla="*/ 316 h 348"/>
              <a:gd name="T98" fmla="*/ 327 w 344"/>
              <a:gd name="T99" fmla="*/ 315 h 348"/>
              <a:gd name="T100" fmla="*/ 332 w 344"/>
              <a:gd name="T101" fmla="*/ 312 h 348"/>
              <a:gd name="T102" fmla="*/ 333 w 344"/>
              <a:gd name="T103" fmla="*/ 311 h 348"/>
              <a:gd name="T104" fmla="*/ 337 w 344"/>
              <a:gd name="T105" fmla="*/ 308 h 348"/>
              <a:gd name="T106" fmla="*/ 339 w 344"/>
              <a:gd name="T107" fmla="*/ 306 h 348"/>
              <a:gd name="T108" fmla="*/ 344 w 344"/>
              <a:gd name="T109" fmla="*/ 302 h 348"/>
              <a:gd name="T110" fmla="*/ 338 w 344"/>
              <a:gd name="T111" fmla="*/ 306 h 348"/>
              <a:gd name="T112" fmla="*/ 223 w 344"/>
              <a:gd name="T113" fmla="*/ 254 h 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344" h="348">
                <a:moveTo>
                  <a:pt x="223" y="254"/>
                </a:moveTo>
                <a:cubicBezTo>
                  <a:pt x="138" y="190"/>
                  <a:pt x="56" y="90"/>
                  <a:pt x="40" y="33"/>
                </a:cubicBezTo>
                <a:cubicBezTo>
                  <a:pt x="37" y="22"/>
                  <a:pt x="37" y="13"/>
                  <a:pt x="39" y="6"/>
                </a:cubicBezTo>
                <a:cubicBezTo>
                  <a:pt x="40" y="4"/>
                  <a:pt x="41" y="2"/>
                  <a:pt x="43" y="0"/>
                </a:cubicBezTo>
                <a:cubicBezTo>
                  <a:pt x="41" y="1"/>
                  <a:pt x="40" y="3"/>
                  <a:pt x="39" y="5"/>
                </a:cubicBezTo>
                <a:cubicBezTo>
                  <a:pt x="38" y="5"/>
                  <a:pt x="38" y="6"/>
                  <a:pt x="37" y="6"/>
                </a:cubicBezTo>
                <a:cubicBezTo>
                  <a:pt x="36" y="8"/>
                  <a:pt x="35" y="9"/>
                  <a:pt x="34" y="11"/>
                </a:cubicBezTo>
                <a:cubicBezTo>
                  <a:pt x="34" y="11"/>
                  <a:pt x="33" y="11"/>
                  <a:pt x="33" y="12"/>
                </a:cubicBezTo>
                <a:cubicBezTo>
                  <a:pt x="32" y="13"/>
                  <a:pt x="31" y="15"/>
                  <a:pt x="30" y="17"/>
                </a:cubicBezTo>
                <a:cubicBezTo>
                  <a:pt x="29" y="17"/>
                  <a:pt x="29" y="17"/>
                  <a:pt x="29" y="18"/>
                </a:cubicBezTo>
                <a:cubicBezTo>
                  <a:pt x="28" y="19"/>
                  <a:pt x="27" y="20"/>
                  <a:pt x="26" y="22"/>
                </a:cubicBezTo>
                <a:cubicBezTo>
                  <a:pt x="26" y="22"/>
                  <a:pt x="26" y="23"/>
                  <a:pt x="25" y="23"/>
                </a:cubicBezTo>
                <a:cubicBezTo>
                  <a:pt x="25" y="24"/>
                  <a:pt x="24" y="25"/>
                  <a:pt x="23" y="26"/>
                </a:cubicBezTo>
                <a:cubicBezTo>
                  <a:pt x="23" y="27"/>
                  <a:pt x="22" y="28"/>
                  <a:pt x="22" y="28"/>
                </a:cubicBezTo>
                <a:cubicBezTo>
                  <a:pt x="21" y="29"/>
                  <a:pt x="21" y="30"/>
                  <a:pt x="20" y="31"/>
                </a:cubicBezTo>
                <a:cubicBezTo>
                  <a:pt x="20" y="32"/>
                  <a:pt x="19" y="33"/>
                  <a:pt x="19" y="33"/>
                </a:cubicBezTo>
                <a:cubicBezTo>
                  <a:pt x="19" y="34"/>
                  <a:pt x="18" y="34"/>
                  <a:pt x="18" y="35"/>
                </a:cubicBezTo>
                <a:cubicBezTo>
                  <a:pt x="17" y="36"/>
                  <a:pt x="17" y="38"/>
                  <a:pt x="16" y="39"/>
                </a:cubicBezTo>
                <a:cubicBezTo>
                  <a:pt x="16" y="39"/>
                  <a:pt x="16" y="39"/>
                  <a:pt x="16" y="40"/>
                </a:cubicBezTo>
                <a:cubicBezTo>
                  <a:pt x="15" y="41"/>
                  <a:pt x="14" y="43"/>
                  <a:pt x="13" y="44"/>
                </a:cubicBezTo>
                <a:cubicBezTo>
                  <a:pt x="13" y="45"/>
                  <a:pt x="13" y="45"/>
                  <a:pt x="13" y="45"/>
                </a:cubicBezTo>
                <a:cubicBezTo>
                  <a:pt x="12" y="47"/>
                  <a:pt x="11" y="49"/>
                  <a:pt x="10" y="51"/>
                </a:cubicBezTo>
                <a:cubicBezTo>
                  <a:pt x="10" y="51"/>
                  <a:pt x="10" y="51"/>
                  <a:pt x="10" y="51"/>
                </a:cubicBezTo>
                <a:cubicBezTo>
                  <a:pt x="9" y="53"/>
                  <a:pt x="8" y="55"/>
                  <a:pt x="8" y="57"/>
                </a:cubicBezTo>
                <a:cubicBezTo>
                  <a:pt x="7" y="57"/>
                  <a:pt x="7" y="57"/>
                  <a:pt x="7" y="58"/>
                </a:cubicBezTo>
                <a:cubicBezTo>
                  <a:pt x="6" y="59"/>
                  <a:pt x="6" y="61"/>
                  <a:pt x="5" y="63"/>
                </a:cubicBezTo>
                <a:cubicBezTo>
                  <a:pt x="5" y="63"/>
                  <a:pt x="5" y="64"/>
                  <a:pt x="4" y="65"/>
                </a:cubicBezTo>
                <a:cubicBezTo>
                  <a:pt x="3" y="67"/>
                  <a:pt x="3" y="69"/>
                  <a:pt x="2" y="71"/>
                </a:cubicBezTo>
                <a:cubicBezTo>
                  <a:pt x="0" y="76"/>
                  <a:pt x="1" y="85"/>
                  <a:pt x="3" y="95"/>
                </a:cubicBezTo>
                <a:cubicBezTo>
                  <a:pt x="18" y="147"/>
                  <a:pt x="92" y="237"/>
                  <a:pt x="169" y="296"/>
                </a:cubicBezTo>
                <a:cubicBezTo>
                  <a:pt x="217" y="332"/>
                  <a:pt x="255" y="348"/>
                  <a:pt x="273" y="342"/>
                </a:cubicBezTo>
                <a:cubicBezTo>
                  <a:pt x="275" y="342"/>
                  <a:pt x="276" y="341"/>
                  <a:pt x="279" y="340"/>
                </a:cubicBezTo>
                <a:cubicBezTo>
                  <a:pt x="279" y="340"/>
                  <a:pt x="280" y="340"/>
                  <a:pt x="281" y="339"/>
                </a:cubicBezTo>
                <a:cubicBezTo>
                  <a:pt x="282" y="339"/>
                  <a:pt x="284" y="338"/>
                  <a:pt x="286" y="337"/>
                </a:cubicBezTo>
                <a:cubicBezTo>
                  <a:pt x="286" y="337"/>
                  <a:pt x="287" y="337"/>
                  <a:pt x="287" y="337"/>
                </a:cubicBezTo>
                <a:cubicBezTo>
                  <a:pt x="289" y="336"/>
                  <a:pt x="291" y="335"/>
                  <a:pt x="293" y="334"/>
                </a:cubicBezTo>
                <a:cubicBezTo>
                  <a:pt x="293" y="334"/>
                  <a:pt x="293" y="334"/>
                  <a:pt x="293" y="334"/>
                </a:cubicBezTo>
                <a:cubicBezTo>
                  <a:pt x="295" y="334"/>
                  <a:pt x="297" y="333"/>
                  <a:pt x="299" y="332"/>
                </a:cubicBezTo>
                <a:cubicBezTo>
                  <a:pt x="299" y="332"/>
                  <a:pt x="299" y="332"/>
                  <a:pt x="299" y="331"/>
                </a:cubicBezTo>
                <a:cubicBezTo>
                  <a:pt x="301" y="331"/>
                  <a:pt x="302" y="330"/>
                  <a:pt x="304" y="329"/>
                </a:cubicBezTo>
                <a:cubicBezTo>
                  <a:pt x="304" y="329"/>
                  <a:pt x="305" y="329"/>
                  <a:pt x="305" y="329"/>
                </a:cubicBezTo>
                <a:cubicBezTo>
                  <a:pt x="306" y="328"/>
                  <a:pt x="307" y="327"/>
                  <a:pt x="309" y="327"/>
                </a:cubicBezTo>
                <a:cubicBezTo>
                  <a:pt x="309" y="326"/>
                  <a:pt x="310" y="326"/>
                  <a:pt x="310" y="326"/>
                </a:cubicBezTo>
                <a:cubicBezTo>
                  <a:pt x="311" y="325"/>
                  <a:pt x="312" y="325"/>
                  <a:pt x="313" y="324"/>
                </a:cubicBezTo>
                <a:cubicBezTo>
                  <a:pt x="314" y="324"/>
                  <a:pt x="315" y="323"/>
                  <a:pt x="315" y="323"/>
                </a:cubicBezTo>
                <a:cubicBezTo>
                  <a:pt x="316" y="322"/>
                  <a:pt x="317" y="322"/>
                  <a:pt x="317" y="322"/>
                </a:cubicBezTo>
                <a:cubicBezTo>
                  <a:pt x="318" y="321"/>
                  <a:pt x="319" y="320"/>
                  <a:pt x="321" y="319"/>
                </a:cubicBezTo>
                <a:cubicBezTo>
                  <a:pt x="321" y="319"/>
                  <a:pt x="322" y="319"/>
                  <a:pt x="322" y="318"/>
                </a:cubicBezTo>
                <a:cubicBezTo>
                  <a:pt x="323" y="318"/>
                  <a:pt x="325" y="317"/>
                  <a:pt x="326" y="316"/>
                </a:cubicBezTo>
                <a:cubicBezTo>
                  <a:pt x="326" y="316"/>
                  <a:pt x="327" y="315"/>
                  <a:pt x="327" y="315"/>
                </a:cubicBezTo>
                <a:cubicBezTo>
                  <a:pt x="329" y="314"/>
                  <a:pt x="330" y="313"/>
                  <a:pt x="332" y="312"/>
                </a:cubicBezTo>
                <a:cubicBezTo>
                  <a:pt x="332" y="311"/>
                  <a:pt x="333" y="311"/>
                  <a:pt x="333" y="311"/>
                </a:cubicBezTo>
                <a:cubicBezTo>
                  <a:pt x="335" y="310"/>
                  <a:pt x="336" y="308"/>
                  <a:pt x="337" y="308"/>
                </a:cubicBezTo>
                <a:cubicBezTo>
                  <a:pt x="338" y="307"/>
                  <a:pt x="339" y="307"/>
                  <a:pt x="339" y="306"/>
                </a:cubicBezTo>
                <a:cubicBezTo>
                  <a:pt x="341" y="305"/>
                  <a:pt x="343" y="303"/>
                  <a:pt x="344" y="302"/>
                </a:cubicBezTo>
                <a:cubicBezTo>
                  <a:pt x="342" y="304"/>
                  <a:pt x="340" y="305"/>
                  <a:pt x="338" y="306"/>
                </a:cubicBezTo>
                <a:cubicBezTo>
                  <a:pt x="318" y="312"/>
                  <a:pt x="276" y="295"/>
                  <a:pt x="223" y="254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4434207D-93F3-41F1-9EC2-956732160AD4}"/>
              </a:ext>
            </a:extLst>
          </p:cNvPr>
          <p:cNvSpPr/>
          <p:nvPr/>
        </p:nvSpPr>
        <p:spPr bwMode="auto">
          <a:xfrm rot="19847212">
            <a:off x="7120791" y="4238242"/>
            <a:ext cx="0" cy="0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9B9844CC-FD9F-4C6E-B3F6-9BF896F74472}"/>
              </a:ext>
            </a:extLst>
          </p:cNvPr>
          <p:cNvSpPr/>
          <p:nvPr/>
        </p:nvSpPr>
        <p:spPr bwMode="auto">
          <a:xfrm rot="19847212">
            <a:off x="7120791" y="4238242"/>
            <a:ext cx="0" cy="0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9425100B-7D48-4D42-908B-011B6366A1F2}"/>
              </a:ext>
            </a:extLst>
          </p:cNvPr>
          <p:cNvSpPr/>
          <p:nvPr/>
        </p:nvSpPr>
        <p:spPr bwMode="auto">
          <a:xfrm rot="19847212">
            <a:off x="4790063" y="2388975"/>
            <a:ext cx="2239759" cy="2448574"/>
          </a:xfrm>
          <a:custGeom>
            <a:avLst/>
            <a:gdLst>
              <a:gd name="T0" fmla="*/ 292 w 316"/>
              <a:gd name="T1" fmla="*/ 314 h 314"/>
              <a:gd name="T2" fmla="*/ 186 w 316"/>
              <a:gd name="T3" fmla="*/ 262 h 314"/>
              <a:gd name="T4" fmla="*/ 4 w 316"/>
              <a:gd name="T5" fmla="*/ 40 h 314"/>
              <a:gd name="T6" fmla="*/ 6 w 316"/>
              <a:gd name="T7" fmla="*/ 7 h 314"/>
              <a:gd name="T8" fmla="*/ 24 w 316"/>
              <a:gd name="T9" fmla="*/ 0 h 314"/>
              <a:gd name="T10" fmla="*/ 130 w 316"/>
              <a:gd name="T11" fmla="*/ 53 h 314"/>
              <a:gd name="T12" fmla="*/ 312 w 316"/>
              <a:gd name="T13" fmla="*/ 274 h 314"/>
              <a:gd name="T14" fmla="*/ 311 w 316"/>
              <a:gd name="T15" fmla="*/ 307 h 314"/>
              <a:gd name="T16" fmla="*/ 292 w 316"/>
              <a:gd name="T17" fmla="*/ 31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16" h="314">
                <a:moveTo>
                  <a:pt x="292" y="314"/>
                </a:moveTo>
                <a:cubicBezTo>
                  <a:pt x="269" y="314"/>
                  <a:pt x="230" y="295"/>
                  <a:pt x="186" y="262"/>
                </a:cubicBezTo>
                <a:cubicBezTo>
                  <a:pt x="102" y="197"/>
                  <a:pt x="20" y="98"/>
                  <a:pt x="4" y="40"/>
                </a:cubicBezTo>
                <a:cubicBezTo>
                  <a:pt x="0" y="25"/>
                  <a:pt x="0" y="14"/>
                  <a:pt x="6" y="7"/>
                </a:cubicBezTo>
                <a:cubicBezTo>
                  <a:pt x="9" y="2"/>
                  <a:pt x="16" y="0"/>
                  <a:pt x="24" y="0"/>
                </a:cubicBezTo>
                <a:cubicBezTo>
                  <a:pt x="47" y="0"/>
                  <a:pt x="86" y="19"/>
                  <a:pt x="130" y="53"/>
                </a:cubicBezTo>
                <a:cubicBezTo>
                  <a:pt x="214" y="117"/>
                  <a:pt x="296" y="217"/>
                  <a:pt x="312" y="274"/>
                </a:cubicBezTo>
                <a:cubicBezTo>
                  <a:pt x="316" y="289"/>
                  <a:pt x="316" y="300"/>
                  <a:pt x="311" y="307"/>
                </a:cubicBezTo>
                <a:cubicBezTo>
                  <a:pt x="307" y="312"/>
                  <a:pt x="300" y="314"/>
                  <a:pt x="292" y="314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26621E19-A5DA-46D6-A682-E4816665C753}"/>
              </a:ext>
            </a:extLst>
          </p:cNvPr>
          <p:cNvSpPr/>
          <p:nvPr/>
        </p:nvSpPr>
        <p:spPr bwMode="auto">
          <a:xfrm rot="19847212">
            <a:off x="4651651" y="3476833"/>
            <a:ext cx="1737383" cy="1919418"/>
          </a:xfrm>
          <a:custGeom>
            <a:avLst/>
            <a:gdLst>
              <a:gd name="T0" fmla="*/ 245 w 245"/>
              <a:gd name="T1" fmla="*/ 243 h 246"/>
              <a:gd name="T2" fmla="*/ 154 w 245"/>
              <a:gd name="T3" fmla="*/ 200 h 246"/>
              <a:gd name="T4" fmla="*/ 3 w 245"/>
              <a:gd name="T5" fmla="*/ 0 h 246"/>
              <a:gd name="T6" fmla="*/ 3 w 245"/>
              <a:gd name="T7" fmla="*/ 0 h 246"/>
              <a:gd name="T8" fmla="*/ 1 w 245"/>
              <a:gd name="T9" fmla="*/ 21 h 246"/>
              <a:gd name="T10" fmla="*/ 1 w 245"/>
              <a:gd name="T11" fmla="*/ 23 h 246"/>
              <a:gd name="T12" fmla="*/ 1 w 245"/>
              <a:gd name="T13" fmla="*/ 31 h 246"/>
              <a:gd name="T14" fmla="*/ 1 w 245"/>
              <a:gd name="T15" fmla="*/ 43 h 246"/>
              <a:gd name="T16" fmla="*/ 2 w 245"/>
              <a:gd name="T17" fmla="*/ 53 h 246"/>
              <a:gd name="T18" fmla="*/ 6 w 245"/>
              <a:gd name="T19" fmla="*/ 79 h 246"/>
              <a:gd name="T20" fmla="*/ 7 w 245"/>
              <a:gd name="T21" fmla="*/ 84 h 246"/>
              <a:gd name="T22" fmla="*/ 8 w 245"/>
              <a:gd name="T23" fmla="*/ 86 h 246"/>
              <a:gd name="T24" fmla="*/ 10 w 245"/>
              <a:gd name="T25" fmla="*/ 93 h 246"/>
              <a:gd name="T26" fmla="*/ 11 w 245"/>
              <a:gd name="T27" fmla="*/ 97 h 246"/>
              <a:gd name="T28" fmla="*/ 12 w 245"/>
              <a:gd name="T29" fmla="*/ 101 h 246"/>
              <a:gd name="T30" fmla="*/ 12 w 245"/>
              <a:gd name="T31" fmla="*/ 102 h 246"/>
              <a:gd name="T32" fmla="*/ 15 w 245"/>
              <a:gd name="T33" fmla="*/ 110 h 246"/>
              <a:gd name="T34" fmla="*/ 24 w 245"/>
              <a:gd name="T35" fmla="*/ 129 h 246"/>
              <a:gd name="T36" fmla="*/ 26 w 245"/>
              <a:gd name="T37" fmla="*/ 132 h 246"/>
              <a:gd name="T38" fmla="*/ 30 w 245"/>
              <a:gd name="T39" fmla="*/ 139 h 246"/>
              <a:gd name="T40" fmla="*/ 32 w 245"/>
              <a:gd name="T41" fmla="*/ 143 h 246"/>
              <a:gd name="T42" fmla="*/ 34 w 245"/>
              <a:gd name="T43" fmla="*/ 147 h 246"/>
              <a:gd name="T44" fmla="*/ 36 w 245"/>
              <a:gd name="T45" fmla="*/ 150 h 246"/>
              <a:gd name="T46" fmla="*/ 42 w 245"/>
              <a:gd name="T47" fmla="*/ 158 h 246"/>
              <a:gd name="T48" fmla="*/ 54 w 245"/>
              <a:gd name="T49" fmla="*/ 173 h 246"/>
              <a:gd name="T50" fmla="*/ 56 w 245"/>
              <a:gd name="T51" fmla="*/ 176 h 246"/>
              <a:gd name="T52" fmla="*/ 63 w 245"/>
              <a:gd name="T53" fmla="*/ 183 h 246"/>
              <a:gd name="T54" fmla="*/ 67 w 245"/>
              <a:gd name="T55" fmla="*/ 186 h 246"/>
              <a:gd name="T56" fmla="*/ 80 w 245"/>
              <a:gd name="T57" fmla="*/ 198 h 246"/>
              <a:gd name="T58" fmla="*/ 85 w 245"/>
              <a:gd name="T59" fmla="*/ 202 h 246"/>
              <a:gd name="T60" fmla="*/ 90 w 245"/>
              <a:gd name="T61" fmla="*/ 206 h 246"/>
              <a:gd name="T62" fmla="*/ 98 w 245"/>
              <a:gd name="T63" fmla="*/ 211 h 246"/>
              <a:gd name="T64" fmla="*/ 109 w 245"/>
              <a:gd name="T65" fmla="*/ 218 h 246"/>
              <a:gd name="T66" fmla="*/ 112 w 245"/>
              <a:gd name="T67" fmla="*/ 219 h 246"/>
              <a:gd name="T68" fmla="*/ 116 w 245"/>
              <a:gd name="T69" fmla="*/ 221 h 246"/>
              <a:gd name="T70" fmla="*/ 120 w 245"/>
              <a:gd name="T71" fmla="*/ 223 h 246"/>
              <a:gd name="T72" fmla="*/ 123 w 245"/>
              <a:gd name="T73" fmla="*/ 225 h 246"/>
              <a:gd name="T74" fmla="*/ 137 w 245"/>
              <a:gd name="T75" fmla="*/ 231 h 246"/>
              <a:gd name="T76" fmla="*/ 149 w 245"/>
              <a:gd name="T77" fmla="*/ 235 h 246"/>
              <a:gd name="T78" fmla="*/ 163 w 245"/>
              <a:gd name="T79" fmla="*/ 239 h 246"/>
              <a:gd name="T80" fmla="*/ 166 w 245"/>
              <a:gd name="T81" fmla="*/ 240 h 246"/>
              <a:gd name="T82" fmla="*/ 172 w 245"/>
              <a:gd name="T83" fmla="*/ 241 h 246"/>
              <a:gd name="T84" fmla="*/ 182 w 245"/>
              <a:gd name="T85" fmla="*/ 243 h 246"/>
              <a:gd name="T86" fmla="*/ 190 w 245"/>
              <a:gd name="T87" fmla="*/ 244 h 246"/>
              <a:gd name="T88" fmla="*/ 197 w 245"/>
              <a:gd name="T89" fmla="*/ 245 h 246"/>
              <a:gd name="T90" fmla="*/ 203 w 245"/>
              <a:gd name="T91" fmla="*/ 245 h 246"/>
              <a:gd name="T92" fmla="*/ 222 w 245"/>
              <a:gd name="T93" fmla="*/ 245 h 246"/>
              <a:gd name="T94" fmla="*/ 239 w 245"/>
              <a:gd name="T95" fmla="*/ 244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45" h="246">
                <a:moveTo>
                  <a:pt x="245" y="243"/>
                </a:moveTo>
                <a:cubicBezTo>
                  <a:pt x="245" y="243"/>
                  <a:pt x="245" y="243"/>
                  <a:pt x="245" y="243"/>
                </a:cubicBezTo>
                <a:cubicBezTo>
                  <a:pt x="245" y="243"/>
                  <a:pt x="245" y="243"/>
                  <a:pt x="245" y="243"/>
                </a:cubicBezTo>
                <a:cubicBezTo>
                  <a:pt x="227" y="246"/>
                  <a:pt x="195" y="231"/>
                  <a:pt x="154" y="200"/>
                </a:cubicBezTo>
                <a:cubicBezTo>
                  <a:pt x="85" y="147"/>
                  <a:pt x="18" y="66"/>
                  <a:pt x="5" y="18"/>
                </a:cubicBezTo>
                <a:cubicBezTo>
                  <a:pt x="3" y="11"/>
                  <a:pt x="2" y="5"/>
                  <a:pt x="3" y="0"/>
                </a:cubicBezTo>
                <a:cubicBezTo>
                  <a:pt x="2" y="5"/>
                  <a:pt x="2" y="11"/>
                  <a:pt x="1" y="16"/>
                </a:cubicBezTo>
                <a:cubicBezTo>
                  <a:pt x="2" y="11"/>
                  <a:pt x="2" y="5"/>
                  <a:pt x="3" y="0"/>
                </a:cubicBezTo>
                <a:cubicBezTo>
                  <a:pt x="2" y="7"/>
                  <a:pt x="1" y="14"/>
                  <a:pt x="1" y="21"/>
                </a:cubicBezTo>
                <a:cubicBezTo>
                  <a:pt x="1" y="21"/>
                  <a:pt x="1" y="21"/>
                  <a:pt x="1" y="21"/>
                </a:cubicBezTo>
                <a:cubicBezTo>
                  <a:pt x="1" y="21"/>
                  <a:pt x="1" y="21"/>
                  <a:pt x="1" y="22"/>
                </a:cubicBezTo>
                <a:cubicBezTo>
                  <a:pt x="1" y="22"/>
                  <a:pt x="1" y="22"/>
                  <a:pt x="1" y="23"/>
                </a:cubicBezTo>
                <a:cubicBezTo>
                  <a:pt x="1" y="24"/>
                  <a:pt x="1" y="25"/>
                  <a:pt x="1" y="26"/>
                </a:cubicBezTo>
                <a:cubicBezTo>
                  <a:pt x="1" y="28"/>
                  <a:pt x="1" y="29"/>
                  <a:pt x="1" y="31"/>
                </a:cubicBezTo>
                <a:cubicBezTo>
                  <a:pt x="1" y="31"/>
                  <a:pt x="1" y="32"/>
                  <a:pt x="1" y="32"/>
                </a:cubicBezTo>
                <a:cubicBezTo>
                  <a:pt x="0" y="36"/>
                  <a:pt x="1" y="39"/>
                  <a:pt x="1" y="43"/>
                </a:cubicBezTo>
                <a:cubicBezTo>
                  <a:pt x="1" y="44"/>
                  <a:pt x="1" y="44"/>
                  <a:pt x="1" y="45"/>
                </a:cubicBezTo>
                <a:cubicBezTo>
                  <a:pt x="1" y="47"/>
                  <a:pt x="1" y="50"/>
                  <a:pt x="2" y="53"/>
                </a:cubicBezTo>
                <a:cubicBezTo>
                  <a:pt x="2" y="53"/>
                  <a:pt x="2" y="53"/>
                  <a:pt x="2" y="54"/>
                </a:cubicBezTo>
                <a:cubicBezTo>
                  <a:pt x="2" y="55"/>
                  <a:pt x="3" y="65"/>
                  <a:pt x="6" y="79"/>
                </a:cubicBezTo>
                <a:cubicBezTo>
                  <a:pt x="6" y="79"/>
                  <a:pt x="6" y="80"/>
                  <a:pt x="6" y="80"/>
                </a:cubicBezTo>
                <a:cubicBezTo>
                  <a:pt x="6" y="81"/>
                  <a:pt x="7" y="82"/>
                  <a:pt x="7" y="84"/>
                </a:cubicBezTo>
                <a:cubicBezTo>
                  <a:pt x="7" y="84"/>
                  <a:pt x="7" y="84"/>
                  <a:pt x="7" y="84"/>
                </a:cubicBezTo>
                <a:cubicBezTo>
                  <a:pt x="7" y="85"/>
                  <a:pt x="8" y="86"/>
                  <a:pt x="8" y="86"/>
                </a:cubicBezTo>
                <a:cubicBezTo>
                  <a:pt x="8" y="87"/>
                  <a:pt x="8" y="88"/>
                  <a:pt x="8" y="88"/>
                </a:cubicBezTo>
                <a:cubicBezTo>
                  <a:pt x="8" y="89"/>
                  <a:pt x="9" y="90"/>
                  <a:pt x="10" y="93"/>
                </a:cubicBezTo>
                <a:cubicBezTo>
                  <a:pt x="10" y="94"/>
                  <a:pt x="10" y="94"/>
                  <a:pt x="10" y="95"/>
                </a:cubicBezTo>
                <a:cubicBezTo>
                  <a:pt x="10" y="95"/>
                  <a:pt x="10" y="96"/>
                  <a:pt x="11" y="97"/>
                </a:cubicBezTo>
                <a:cubicBezTo>
                  <a:pt x="11" y="97"/>
                  <a:pt x="11" y="97"/>
                  <a:pt x="11" y="98"/>
                </a:cubicBezTo>
                <a:cubicBezTo>
                  <a:pt x="11" y="99"/>
                  <a:pt x="12" y="100"/>
                  <a:pt x="12" y="101"/>
                </a:cubicBezTo>
                <a:cubicBezTo>
                  <a:pt x="12" y="101"/>
                  <a:pt x="12" y="101"/>
                  <a:pt x="12" y="101"/>
                </a:cubicBezTo>
                <a:cubicBezTo>
                  <a:pt x="12" y="102"/>
                  <a:pt x="12" y="102"/>
                  <a:pt x="12" y="102"/>
                </a:cubicBezTo>
                <a:cubicBezTo>
                  <a:pt x="13" y="104"/>
                  <a:pt x="14" y="106"/>
                  <a:pt x="15" y="109"/>
                </a:cubicBezTo>
                <a:cubicBezTo>
                  <a:pt x="15" y="109"/>
                  <a:pt x="15" y="110"/>
                  <a:pt x="15" y="110"/>
                </a:cubicBezTo>
                <a:cubicBezTo>
                  <a:pt x="15" y="110"/>
                  <a:pt x="16" y="110"/>
                  <a:pt x="16" y="110"/>
                </a:cubicBezTo>
                <a:cubicBezTo>
                  <a:pt x="18" y="117"/>
                  <a:pt x="20" y="120"/>
                  <a:pt x="24" y="129"/>
                </a:cubicBezTo>
                <a:cubicBezTo>
                  <a:pt x="24" y="129"/>
                  <a:pt x="24" y="130"/>
                  <a:pt x="26" y="132"/>
                </a:cubicBezTo>
                <a:cubicBezTo>
                  <a:pt x="26" y="132"/>
                  <a:pt x="26" y="132"/>
                  <a:pt x="26" y="132"/>
                </a:cubicBezTo>
                <a:cubicBezTo>
                  <a:pt x="27" y="134"/>
                  <a:pt x="28" y="137"/>
                  <a:pt x="30" y="139"/>
                </a:cubicBezTo>
                <a:cubicBezTo>
                  <a:pt x="30" y="139"/>
                  <a:pt x="30" y="139"/>
                  <a:pt x="30" y="139"/>
                </a:cubicBezTo>
                <a:cubicBezTo>
                  <a:pt x="30" y="139"/>
                  <a:pt x="30" y="140"/>
                  <a:pt x="30" y="140"/>
                </a:cubicBezTo>
                <a:cubicBezTo>
                  <a:pt x="31" y="141"/>
                  <a:pt x="31" y="142"/>
                  <a:pt x="32" y="143"/>
                </a:cubicBezTo>
                <a:cubicBezTo>
                  <a:pt x="33" y="144"/>
                  <a:pt x="33" y="145"/>
                  <a:pt x="34" y="147"/>
                </a:cubicBezTo>
                <a:cubicBezTo>
                  <a:pt x="34" y="147"/>
                  <a:pt x="34" y="147"/>
                  <a:pt x="34" y="147"/>
                </a:cubicBezTo>
                <a:cubicBezTo>
                  <a:pt x="35" y="148"/>
                  <a:pt x="35" y="148"/>
                  <a:pt x="36" y="149"/>
                </a:cubicBezTo>
                <a:cubicBezTo>
                  <a:pt x="36" y="149"/>
                  <a:pt x="36" y="149"/>
                  <a:pt x="36" y="150"/>
                </a:cubicBezTo>
                <a:cubicBezTo>
                  <a:pt x="36" y="150"/>
                  <a:pt x="36" y="150"/>
                  <a:pt x="37" y="150"/>
                </a:cubicBezTo>
                <a:cubicBezTo>
                  <a:pt x="38" y="153"/>
                  <a:pt x="40" y="155"/>
                  <a:pt x="42" y="158"/>
                </a:cubicBezTo>
                <a:cubicBezTo>
                  <a:pt x="42" y="158"/>
                  <a:pt x="42" y="159"/>
                  <a:pt x="43" y="159"/>
                </a:cubicBezTo>
                <a:cubicBezTo>
                  <a:pt x="45" y="163"/>
                  <a:pt x="49" y="168"/>
                  <a:pt x="54" y="173"/>
                </a:cubicBezTo>
                <a:cubicBezTo>
                  <a:pt x="55" y="174"/>
                  <a:pt x="55" y="175"/>
                  <a:pt x="56" y="176"/>
                </a:cubicBezTo>
                <a:cubicBezTo>
                  <a:pt x="56" y="176"/>
                  <a:pt x="56" y="176"/>
                  <a:pt x="56" y="176"/>
                </a:cubicBezTo>
                <a:cubicBezTo>
                  <a:pt x="58" y="178"/>
                  <a:pt x="60" y="180"/>
                  <a:pt x="62" y="182"/>
                </a:cubicBezTo>
                <a:cubicBezTo>
                  <a:pt x="62" y="182"/>
                  <a:pt x="63" y="182"/>
                  <a:pt x="63" y="183"/>
                </a:cubicBezTo>
                <a:cubicBezTo>
                  <a:pt x="64" y="184"/>
                  <a:pt x="65" y="185"/>
                  <a:pt x="66" y="185"/>
                </a:cubicBezTo>
                <a:cubicBezTo>
                  <a:pt x="66" y="186"/>
                  <a:pt x="67" y="186"/>
                  <a:pt x="67" y="186"/>
                </a:cubicBezTo>
                <a:cubicBezTo>
                  <a:pt x="67" y="187"/>
                  <a:pt x="68" y="188"/>
                  <a:pt x="69" y="188"/>
                </a:cubicBezTo>
                <a:cubicBezTo>
                  <a:pt x="73" y="192"/>
                  <a:pt x="76" y="195"/>
                  <a:pt x="80" y="198"/>
                </a:cubicBezTo>
                <a:cubicBezTo>
                  <a:pt x="80" y="198"/>
                  <a:pt x="80" y="198"/>
                  <a:pt x="81" y="199"/>
                </a:cubicBezTo>
                <a:cubicBezTo>
                  <a:pt x="82" y="200"/>
                  <a:pt x="83" y="201"/>
                  <a:pt x="85" y="202"/>
                </a:cubicBezTo>
                <a:cubicBezTo>
                  <a:pt x="85" y="202"/>
                  <a:pt x="85" y="202"/>
                  <a:pt x="86" y="202"/>
                </a:cubicBezTo>
                <a:cubicBezTo>
                  <a:pt x="87" y="204"/>
                  <a:pt x="89" y="205"/>
                  <a:pt x="90" y="206"/>
                </a:cubicBezTo>
                <a:cubicBezTo>
                  <a:pt x="90" y="206"/>
                  <a:pt x="90" y="206"/>
                  <a:pt x="90" y="206"/>
                </a:cubicBezTo>
                <a:cubicBezTo>
                  <a:pt x="94" y="208"/>
                  <a:pt x="97" y="210"/>
                  <a:pt x="98" y="211"/>
                </a:cubicBezTo>
                <a:cubicBezTo>
                  <a:pt x="102" y="213"/>
                  <a:pt x="105" y="215"/>
                  <a:pt x="108" y="217"/>
                </a:cubicBezTo>
                <a:cubicBezTo>
                  <a:pt x="108" y="217"/>
                  <a:pt x="108" y="217"/>
                  <a:pt x="109" y="218"/>
                </a:cubicBezTo>
                <a:cubicBezTo>
                  <a:pt x="110" y="218"/>
                  <a:pt x="110" y="218"/>
                  <a:pt x="111" y="219"/>
                </a:cubicBezTo>
                <a:cubicBezTo>
                  <a:pt x="112" y="219"/>
                  <a:pt x="112" y="219"/>
                  <a:pt x="112" y="219"/>
                </a:cubicBezTo>
                <a:cubicBezTo>
                  <a:pt x="113" y="220"/>
                  <a:pt x="114" y="221"/>
                  <a:pt x="115" y="221"/>
                </a:cubicBezTo>
                <a:cubicBezTo>
                  <a:pt x="116" y="221"/>
                  <a:pt x="116" y="221"/>
                  <a:pt x="116" y="221"/>
                </a:cubicBezTo>
                <a:cubicBezTo>
                  <a:pt x="117" y="222"/>
                  <a:pt x="118" y="222"/>
                  <a:pt x="119" y="223"/>
                </a:cubicBezTo>
                <a:cubicBezTo>
                  <a:pt x="119" y="223"/>
                  <a:pt x="119" y="223"/>
                  <a:pt x="120" y="223"/>
                </a:cubicBezTo>
                <a:cubicBezTo>
                  <a:pt x="120" y="224"/>
                  <a:pt x="121" y="224"/>
                  <a:pt x="122" y="224"/>
                </a:cubicBezTo>
                <a:cubicBezTo>
                  <a:pt x="122" y="225"/>
                  <a:pt x="123" y="225"/>
                  <a:pt x="123" y="225"/>
                </a:cubicBezTo>
                <a:cubicBezTo>
                  <a:pt x="124" y="225"/>
                  <a:pt x="124" y="226"/>
                  <a:pt x="125" y="226"/>
                </a:cubicBezTo>
                <a:cubicBezTo>
                  <a:pt x="129" y="228"/>
                  <a:pt x="134" y="230"/>
                  <a:pt x="137" y="231"/>
                </a:cubicBezTo>
                <a:cubicBezTo>
                  <a:pt x="140" y="232"/>
                  <a:pt x="145" y="234"/>
                  <a:pt x="148" y="235"/>
                </a:cubicBezTo>
                <a:cubicBezTo>
                  <a:pt x="148" y="235"/>
                  <a:pt x="149" y="235"/>
                  <a:pt x="149" y="235"/>
                </a:cubicBezTo>
                <a:cubicBezTo>
                  <a:pt x="153" y="236"/>
                  <a:pt x="156" y="237"/>
                  <a:pt x="161" y="239"/>
                </a:cubicBezTo>
                <a:cubicBezTo>
                  <a:pt x="162" y="239"/>
                  <a:pt x="162" y="239"/>
                  <a:pt x="163" y="239"/>
                </a:cubicBezTo>
                <a:cubicBezTo>
                  <a:pt x="163" y="239"/>
                  <a:pt x="163" y="239"/>
                  <a:pt x="164" y="239"/>
                </a:cubicBezTo>
                <a:cubicBezTo>
                  <a:pt x="164" y="239"/>
                  <a:pt x="165" y="240"/>
                  <a:pt x="166" y="240"/>
                </a:cubicBezTo>
                <a:cubicBezTo>
                  <a:pt x="166" y="240"/>
                  <a:pt x="166" y="240"/>
                  <a:pt x="167" y="240"/>
                </a:cubicBezTo>
                <a:cubicBezTo>
                  <a:pt x="169" y="240"/>
                  <a:pt x="170" y="241"/>
                  <a:pt x="172" y="241"/>
                </a:cubicBezTo>
                <a:cubicBezTo>
                  <a:pt x="175" y="242"/>
                  <a:pt x="177" y="242"/>
                  <a:pt x="180" y="243"/>
                </a:cubicBezTo>
                <a:cubicBezTo>
                  <a:pt x="180" y="243"/>
                  <a:pt x="181" y="243"/>
                  <a:pt x="182" y="243"/>
                </a:cubicBezTo>
                <a:cubicBezTo>
                  <a:pt x="182" y="243"/>
                  <a:pt x="182" y="243"/>
                  <a:pt x="182" y="243"/>
                </a:cubicBezTo>
                <a:cubicBezTo>
                  <a:pt x="186" y="244"/>
                  <a:pt x="190" y="244"/>
                  <a:pt x="190" y="244"/>
                </a:cubicBezTo>
                <a:cubicBezTo>
                  <a:pt x="190" y="244"/>
                  <a:pt x="190" y="244"/>
                  <a:pt x="191" y="244"/>
                </a:cubicBezTo>
                <a:cubicBezTo>
                  <a:pt x="193" y="244"/>
                  <a:pt x="196" y="245"/>
                  <a:pt x="197" y="245"/>
                </a:cubicBezTo>
                <a:cubicBezTo>
                  <a:pt x="198" y="245"/>
                  <a:pt x="199" y="245"/>
                  <a:pt x="200" y="245"/>
                </a:cubicBezTo>
                <a:cubicBezTo>
                  <a:pt x="201" y="245"/>
                  <a:pt x="203" y="245"/>
                  <a:pt x="203" y="245"/>
                </a:cubicBezTo>
                <a:cubicBezTo>
                  <a:pt x="213" y="245"/>
                  <a:pt x="216" y="245"/>
                  <a:pt x="222" y="245"/>
                </a:cubicBezTo>
                <a:cubicBezTo>
                  <a:pt x="222" y="245"/>
                  <a:pt x="222" y="245"/>
                  <a:pt x="222" y="245"/>
                </a:cubicBezTo>
                <a:cubicBezTo>
                  <a:pt x="222" y="245"/>
                  <a:pt x="229" y="245"/>
                  <a:pt x="239" y="244"/>
                </a:cubicBezTo>
                <a:cubicBezTo>
                  <a:pt x="239" y="244"/>
                  <a:pt x="239" y="244"/>
                  <a:pt x="239" y="244"/>
                </a:cubicBezTo>
                <a:cubicBezTo>
                  <a:pt x="241" y="244"/>
                  <a:pt x="243" y="243"/>
                  <a:pt x="245" y="243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7C8D47A3-E49E-4125-8B35-200CA0BDE4A7}"/>
              </a:ext>
            </a:extLst>
          </p:cNvPr>
          <p:cNvSpPr/>
          <p:nvPr/>
        </p:nvSpPr>
        <p:spPr bwMode="auto">
          <a:xfrm rot="19847212">
            <a:off x="4886972" y="1684357"/>
            <a:ext cx="2033425" cy="2225080"/>
          </a:xfrm>
          <a:custGeom>
            <a:avLst/>
            <a:gdLst>
              <a:gd name="T0" fmla="*/ 265 w 287"/>
              <a:gd name="T1" fmla="*/ 285 h 285"/>
              <a:gd name="T2" fmla="*/ 169 w 287"/>
              <a:gd name="T3" fmla="*/ 237 h 285"/>
              <a:gd name="T4" fmla="*/ 4 w 287"/>
              <a:gd name="T5" fmla="*/ 36 h 285"/>
              <a:gd name="T6" fmla="*/ 5 w 287"/>
              <a:gd name="T7" fmla="*/ 6 h 285"/>
              <a:gd name="T8" fmla="*/ 22 w 287"/>
              <a:gd name="T9" fmla="*/ 0 h 285"/>
              <a:gd name="T10" fmla="*/ 118 w 287"/>
              <a:gd name="T11" fmla="*/ 47 h 285"/>
              <a:gd name="T12" fmla="*/ 283 w 287"/>
              <a:gd name="T13" fmla="*/ 248 h 285"/>
              <a:gd name="T14" fmla="*/ 282 w 287"/>
              <a:gd name="T15" fmla="*/ 278 h 285"/>
              <a:gd name="T16" fmla="*/ 265 w 287"/>
              <a:gd name="T17" fmla="*/ 285 h 2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87" h="285">
                <a:moveTo>
                  <a:pt x="265" y="285"/>
                </a:moveTo>
                <a:cubicBezTo>
                  <a:pt x="244" y="285"/>
                  <a:pt x="209" y="267"/>
                  <a:pt x="169" y="237"/>
                </a:cubicBezTo>
                <a:cubicBezTo>
                  <a:pt x="92" y="178"/>
                  <a:pt x="18" y="88"/>
                  <a:pt x="4" y="36"/>
                </a:cubicBezTo>
                <a:cubicBezTo>
                  <a:pt x="0" y="22"/>
                  <a:pt x="0" y="13"/>
                  <a:pt x="5" y="6"/>
                </a:cubicBezTo>
                <a:cubicBezTo>
                  <a:pt x="8" y="2"/>
                  <a:pt x="14" y="0"/>
                  <a:pt x="22" y="0"/>
                </a:cubicBezTo>
                <a:cubicBezTo>
                  <a:pt x="43" y="0"/>
                  <a:pt x="78" y="17"/>
                  <a:pt x="118" y="47"/>
                </a:cubicBezTo>
                <a:cubicBezTo>
                  <a:pt x="194" y="106"/>
                  <a:pt x="269" y="196"/>
                  <a:pt x="283" y="248"/>
                </a:cubicBezTo>
                <a:cubicBezTo>
                  <a:pt x="287" y="262"/>
                  <a:pt x="286" y="272"/>
                  <a:pt x="282" y="278"/>
                </a:cubicBezTo>
                <a:cubicBezTo>
                  <a:pt x="278" y="283"/>
                  <a:pt x="273" y="285"/>
                  <a:pt x="265" y="28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5617A1F4-3C0F-4E3A-9351-F8B5A3D030D6}"/>
              </a:ext>
            </a:extLst>
          </p:cNvPr>
          <p:cNvSpPr/>
          <p:nvPr/>
        </p:nvSpPr>
        <p:spPr bwMode="auto">
          <a:xfrm rot="19847212">
            <a:off x="4593047" y="1772982"/>
            <a:ext cx="2481975" cy="2803535"/>
          </a:xfrm>
          <a:custGeom>
            <a:avLst/>
            <a:gdLst>
              <a:gd name="T0" fmla="*/ 310 w 350"/>
              <a:gd name="T1" fmla="*/ 342 h 359"/>
              <a:gd name="T2" fmla="*/ 350 w 350"/>
              <a:gd name="T3" fmla="*/ 272 h 359"/>
              <a:gd name="T4" fmla="*/ 235 w 350"/>
              <a:gd name="T5" fmla="*/ 236 h 359"/>
              <a:gd name="T6" fmla="*/ 70 w 350"/>
              <a:gd name="T7" fmla="*/ 35 h 359"/>
              <a:gd name="T8" fmla="*/ 79 w 350"/>
              <a:gd name="T9" fmla="*/ 0 h 359"/>
              <a:gd name="T10" fmla="*/ 8 w 350"/>
              <a:gd name="T11" fmla="*/ 40 h 359"/>
              <a:gd name="T12" fmla="*/ 4 w 350"/>
              <a:gd name="T13" fmla="*/ 75 h 359"/>
              <a:gd name="T14" fmla="*/ 187 w 350"/>
              <a:gd name="T15" fmla="*/ 296 h 359"/>
              <a:gd name="T16" fmla="*/ 310 w 350"/>
              <a:gd name="T17" fmla="*/ 342 h 3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50" h="359">
                <a:moveTo>
                  <a:pt x="310" y="342"/>
                </a:moveTo>
                <a:cubicBezTo>
                  <a:pt x="336" y="312"/>
                  <a:pt x="346" y="283"/>
                  <a:pt x="350" y="272"/>
                </a:cubicBezTo>
                <a:cubicBezTo>
                  <a:pt x="342" y="296"/>
                  <a:pt x="297" y="283"/>
                  <a:pt x="235" y="236"/>
                </a:cubicBezTo>
                <a:cubicBezTo>
                  <a:pt x="158" y="177"/>
                  <a:pt x="84" y="87"/>
                  <a:pt x="70" y="35"/>
                </a:cubicBezTo>
                <a:cubicBezTo>
                  <a:pt x="65" y="15"/>
                  <a:pt x="68" y="4"/>
                  <a:pt x="79" y="0"/>
                </a:cubicBezTo>
                <a:cubicBezTo>
                  <a:pt x="41" y="13"/>
                  <a:pt x="17" y="33"/>
                  <a:pt x="8" y="40"/>
                </a:cubicBezTo>
                <a:cubicBezTo>
                  <a:pt x="1" y="46"/>
                  <a:pt x="0" y="58"/>
                  <a:pt x="4" y="75"/>
                </a:cubicBezTo>
                <a:cubicBezTo>
                  <a:pt x="20" y="133"/>
                  <a:pt x="102" y="232"/>
                  <a:pt x="187" y="296"/>
                </a:cubicBezTo>
                <a:cubicBezTo>
                  <a:pt x="249" y="344"/>
                  <a:pt x="295" y="359"/>
                  <a:pt x="310" y="34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任意多边形: 形状 15">
            <a:extLst>
              <a:ext uri="{FF2B5EF4-FFF2-40B4-BE49-F238E27FC236}">
                <a16:creationId xmlns:a16="http://schemas.microsoft.com/office/drawing/2014/main" id="{D1305AD0-4478-4727-906E-89D48E95E6BE}"/>
              </a:ext>
            </a:extLst>
          </p:cNvPr>
          <p:cNvSpPr/>
          <p:nvPr/>
        </p:nvSpPr>
        <p:spPr bwMode="auto">
          <a:xfrm rot="19847212">
            <a:off x="5469673" y="1659533"/>
            <a:ext cx="1856997" cy="2113333"/>
          </a:xfrm>
          <a:custGeom>
            <a:avLst/>
            <a:gdLst>
              <a:gd name="T0" fmla="*/ 259 w 262"/>
              <a:gd name="T1" fmla="*/ 245 h 271"/>
              <a:gd name="T2" fmla="*/ 261 w 262"/>
              <a:gd name="T3" fmla="*/ 200 h 271"/>
              <a:gd name="T4" fmla="*/ 259 w 262"/>
              <a:gd name="T5" fmla="*/ 180 h 271"/>
              <a:gd name="T6" fmla="*/ 256 w 262"/>
              <a:gd name="T7" fmla="*/ 167 h 271"/>
              <a:gd name="T8" fmla="*/ 254 w 262"/>
              <a:gd name="T9" fmla="*/ 157 h 271"/>
              <a:gd name="T10" fmla="*/ 242 w 262"/>
              <a:gd name="T11" fmla="*/ 124 h 271"/>
              <a:gd name="T12" fmla="*/ 226 w 262"/>
              <a:gd name="T13" fmla="*/ 96 h 271"/>
              <a:gd name="T14" fmla="*/ 203 w 262"/>
              <a:gd name="T15" fmla="*/ 67 h 271"/>
              <a:gd name="T16" fmla="*/ 178 w 262"/>
              <a:gd name="T17" fmla="*/ 44 h 271"/>
              <a:gd name="T18" fmla="*/ 102 w 262"/>
              <a:gd name="T19" fmla="*/ 7 h 271"/>
              <a:gd name="T20" fmla="*/ 60 w 262"/>
              <a:gd name="T21" fmla="*/ 0 h 271"/>
              <a:gd name="T22" fmla="*/ 39 w 262"/>
              <a:gd name="T23" fmla="*/ 0 h 271"/>
              <a:gd name="T24" fmla="*/ 28 w 262"/>
              <a:gd name="T25" fmla="*/ 1 h 271"/>
              <a:gd name="T26" fmla="*/ 17 w 262"/>
              <a:gd name="T27" fmla="*/ 2 h 271"/>
              <a:gd name="T28" fmla="*/ 5 w 262"/>
              <a:gd name="T29" fmla="*/ 34 h 271"/>
              <a:gd name="T30" fmla="*/ 155 w 262"/>
              <a:gd name="T31" fmla="*/ 216 h 271"/>
              <a:gd name="T32" fmla="*/ 259 w 262"/>
              <a:gd name="T33" fmla="*/ 245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62" h="271">
                <a:moveTo>
                  <a:pt x="259" y="245"/>
                </a:moveTo>
                <a:cubicBezTo>
                  <a:pt x="261" y="232"/>
                  <a:pt x="262" y="217"/>
                  <a:pt x="261" y="200"/>
                </a:cubicBezTo>
                <a:cubicBezTo>
                  <a:pt x="261" y="194"/>
                  <a:pt x="260" y="186"/>
                  <a:pt x="259" y="180"/>
                </a:cubicBezTo>
                <a:cubicBezTo>
                  <a:pt x="258" y="176"/>
                  <a:pt x="257" y="171"/>
                  <a:pt x="256" y="167"/>
                </a:cubicBezTo>
                <a:cubicBezTo>
                  <a:pt x="256" y="164"/>
                  <a:pt x="255" y="160"/>
                  <a:pt x="254" y="157"/>
                </a:cubicBezTo>
                <a:cubicBezTo>
                  <a:pt x="251" y="145"/>
                  <a:pt x="247" y="136"/>
                  <a:pt x="242" y="124"/>
                </a:cubicBezTo>
                <a:cubicBezTo>
                  <a:pt x="237" y="113"/>
                  <a:pt x="230" y="102"/>
                  <a:pt x="226" y="96"/>
                </a:cubicBezTo>
                <a:cubicBezTo>
                  <a:pt x="222" y="90"/>
                  <a:pt x="216" y="80"/>
                  <a:pt x="203" y="67"/>
                </a:cubicBezTo>
                <a:cubicBezTo>
                  <a:pt x="196" y="59"/>
                  <a:pt x="187" y="51"/>
                  <a:pt x="178" y="44"/>
                </a:cubicBezTo>
                <a:cubicBezTo>
                  <a:pt x="162" y="32"/>
                  <a:pt x="136" y="16"/>
                  <a:pt x="102" y="7"/>
                </a:cubicBezTo>
                <a:cubicBezTo>
                  <a:pt x="97" y="6"/>
                  <a:pt x="81" y="2"/>
                  <a:pt x="60" y="0"/>
                </a:cubicBezTo>
                <a:cubicBezTo>
                  <a:pt x="57" y="0"/>
                  <a:pt x="49" y="0"/>
                  <a:pt x="39" y="0"/>
                </a:cubicBezTo>
                <a:cubicBezTo>
                  <a:pt x="35" y="0"/>
                  <a:pt x="31" y="1"/>
                  <a:pt x="28" y="1"/>
                </a:cubicBezTo>
                <a:cubicBezTo>
                  <a:pt x="24" y="1"/>
                  <a:pt x="20" y="2"/>
                  <a:pt x="17" y="2"/>
                </a:cubicBezTo>
                <a:cubicBezTo>
                  <a:pt x="5" y="4"/>
                  <a:pt x="0" y="15"/>
                  <a:pt x="5" y="34"/>
                </a:cubicBezTo>
                <a:cubicBezTo>
                  <a:pt x="18" y="82"/>
                  <a:pt x="85" y="163"/>
                  <a:pt x="155" y="216"/>
                </a:cubicBezTo>
                <a:cubicBezTo>
                  <a:pt x="214" y="261"/>
                  <a:pt x="256" y="271"/>
                  <a:pt x="259" y="24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ECC6A9C9-4C13-441E-809C-A908122B76A3}"/>
              </a:ext>
            </a:extLst>
          </p:cNvPr>
          <p:cNvSpPr/>
          <p:nvPr/>
        </p:nvSpPr>
        <p:spPr>
          <a:xfrm>
            <a:off x="6938772" y="1976734"/>
            <a:ext cx="617120" cy="617120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58FB64A9-B3DA-4028-AECC-6DB22C109EB8}"/>
              </a:ext>
            </a:extLst>
          </p:cNvPr>
          <p:cNvSpPr/>
          <p:nvPr/>
        </p:nvSpPr>
        <p:spPr>
          <a:xfrm>
            <a:off x="4041778" y="2286105"/>
            <a:ext cx="617120" cy="617120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2510687A-E33D-4431-9337-68C08D679C58}"/>
              </a:ext>
            </a:extLst>
          </p:cNvPr>
          <p:cNvSpPr/>
          <p:nvPr/>
        </p:nvSpPr>
        <p:spPr>
          <a:xfrm>
            <a:off x="6938772" y="4073175"/>
            <a:ext cx="617120" cy="617120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D85D3F90-1389-4472-80BA-1A6F3E6D6D3E}"/>
              </a:ext>
            </a:extLst>
          </p:cNvPr>
          <p:cNvSpPr/>
          <p:nvPr/>
        </p:nvSpPr>
        <p:spPr bwMode="auto">
          <a:xfrm>
            <a:off x="7086639" y="2112471"/>
            <a:ext cx="321386" cy="345643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04C202F7-9F6D-4B36-8361-FEC9A58A3756}"/>
              </a:ext>
            </a:extLst>
          </p:cNvPr>
          <p:cNvSpPr/>
          <p:nvPr/>
        </p:nvSpPr>
        <p:spPr>
          <a:xfrm>
            <a:off x="4213475" y="4073175"/>
            <a:ext cx="617120" cy="617120"/>
          </a:xfrm>
          <a:custGeom>
            <a:avLst/>
            <a:gdLst>
              <a:gd name="connsiteX0" fmla="*/ 0 w 670873"/>
              <a:gd name="connsiteY0" fmla="*/ 335437 h 670873"/>
              <a:gd name="connsiteX1" fmla="*/ 335437 w 670873"/>
              <a:gd name="connsiteY1" fmla="*/ 0 h 670873"/>
              <a:gd name="connsiteX2" fmla="*/ 670874 w 670873"/>
              <a:gd name="connsiteY2" fmla="*/ 335437 h 670873"/>
              <a:gd name="connsiteX3" fmla="*/ 335437 w 670873"/>
              <a:gd name="connsiteY3" fmla="*/ 670874 h 670873"/>
              <a:gd name="connsiteX4" fmla="*/ 0 w 670873"/>
              <a:gd name="connsiteY4" fmla="*/ 335437 h 670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0873" h="670873">
                <a:moveTo>
                  <a:pt x="0" y="335437"/>
                </a:moveTo>
                <a:cubicBezTo>
                  <a:pt x="0" y="150180"/>
                  <a:pt x="150180" y="0"/>
                  <a:pt x="335437" y="0"/>
                </a:cubicBezTo>
                <a:cubicBezTo>
                  <a:pt x="520694" y="0"/>
                  <a:pt x="670874" y="150180"/>
                  <a:pt x="670874" y="335437"/>
                </a:cubicBezTo>
                <a:cubicBezTo>
                  <a:pt x="670874" y="520694"/>
                  <a:pt x="520694" y="670874"/>
                  <a:pt x="335437" y="670874"/>
                </a:cubicBezTo>
                <a:cubicBezTo>
                  <a:pt x="150180" y="670874"/>
                  <a:pt x="0" y="520694"/>
                  <a:pt x="0" y="335437"/>
                </a:cubicBezTo>
                <a:close/>
              </a:path>
            </a:pathLst>
          </a:cu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1C63368F-5F0D-4D48-8869-45451B2C5C1F}"/>
              </a:ext>
            </a:extLst>
          </p:cNvPr>
          <p:cNvSpPr/>
          <p:nvPr/>
        </p:nvSpPr>
        <p:spPr bwMode="auto">
          <a:xfrm>
            <a:off x="7086639" y="4208912"/>
            <a:ext cx="321386" cy="345643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34B4142B-28CE-4F5D-BADE-8EFBA632FFCC}"/>
              </a:ext>
            </a:extLst>
          </p:cNvPr>
          <p:cNvSpPr/>
          <p:nvPr/>
        </p:nvSpPr>
        <p:spPr bwMode="auto">
          <a:xfrm>
            <a:off x="687663" y="2803472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>
                <a:cs typeface="+mn-ea"/>
                <a:sym typeface="+mn-lt"/>
              </a:rPr>
              <a:t>Supp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orting </a:t>
            </a:r>
            <a:r>
              <a:rPr lang="en-US" altLang="zh-CN" sz="1000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AB57507C-73C7-422F-826B-F8C6E4D40498}"/>
              </a:ext>
            </a:extLst>
          </p:cNvPr>
          <p:cNvSpPr/>
          <p:nvPr/>
        </p:nvSpPr>
        <p:spPr bwMode="auto">
          <a:xfrm>
            <a:off x="4361343" y="4208912"/>
            <a:ext cx="321386" cy="345643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02ABA4AD-269F-4579-BED5-4B90FA304531}"/>
              </a:ext>
            </a:extLst>
          </p:cNvPr>
          <p:cNvSpPr/>
          <p:nvPr/>
        </p:nvSpPr>
        <p:spPr bwMode="auto">
          <a:xfrm>
            <a:off x="4189646" y="2421842"/>
            <a:ext cx="321386" cy="345643"/>
          </a:xfrm>
          <a:custGeom>
            <a:avLst/>
            <a:gdLst>
              <a:gd name="connsiteX0" fmla="*/ 321179 w 564656"/>
              <a:gd name="connsiteY0" fmla="*/ 256496 h 607273"/>
              <a:gd name="connsiteX1" fmla="*/ 361871 w 564656"/>
              <a:gd name="connsiteY1" fmla="*/ 266542 h 607273"/>
              <a:gd name="connsiteX2" fmla="*/ 363621 w 564656"/>
              <a:gd name="connsiteY2" fmla="*/ 269381 h 607273"/>
              <a:gd name="connsiteX3" fmla="*/ 363074 w 564656"/>
              <a:gd name="connsiteY3" fmla="*/ 272111 h 607273"/>
              <a:gd name="connsiteX4" fmla="*/ 359793 w 564656"/>
              <a:gd name="connsiteY4" fmla="*/ 274295 h 607273"/>
              <a:gd name="connsiteX5" fmla="*/ 359355 w 564656"/>
              <a:gd name="connsiteY5" fmla="*/ 274295 h 607273"/>
              <a:gd name="connsiteX6" fmla="*/ 358480 w 564656"/>
              <a:gd name="connsiteY6" fmla="*/ 431648 h 607273"/>
              <a:gd name="connsiteX7" fmla="*/ 354980 w 564656"/>
              <a:gd name="connsiteY7" fmla="*/ 444206 h 607273"/>
              <a:gd name="connsiteX8" fmla="*/ 354542 w 564656"/>
              <a:gd name="connsiteY8" fmla="*/ 444097 h 607273"/>
              <a:gd name="connsiteX9" fmla="*/ 306958 w 564656"/>
              <a:gd name="connsiteY9" fmla="*/ 446936 h 607273"/>
              <a:gd name="connsiteX10" fmla="*/ 306302 w 564656"/>
              <a:gd name="connsiteY10" fmla="*/ 446608 h 607273"/>
              <a:gd name="connsiteX11" fmla="*/ 308818 w 564656"/>
              <a:gd name="connsiteY11" fmla="*/ 519224 h 607273"/>
              <a:gd name="connsiteX12" fmla="*/ 302692 w 564656"/>
              <a:gd name="connsiteY12" fmla="*/ 525667 h 607273"/>
              <a:gd name="connsiteX13" fmla="*/ 296238 w 564656"/>
              <a:gd name="connsiteY13" fmla="*/ 531673 h 607273"/>
              <a:gd name="connsiteX14" fmla="*/ 2206 w 564656"/>
              <a:gd name="connsiteY14" fmla="*/ 497712 h 607273"/>
              <a:gd name="connsiteX15" fmla="*/ 1987 w 564656"/>
              <a:gd name="connsiteY15" fmla="*/ 489741 h 607273"/>
              <a:gd name="connsiteX16" fmla="*/ 34585 w 564656"/>
              <a:gd name="connsiteY16" fmla="*/ 326710 h 607273"/>
              <a:gd name="connsiteX17" fmla="*/ 142112 w 564656"/>
              <a:gd name="connsiteY17" fmla="*/ 260755 h 607273"/>
              <a:gd name="connsiteX18" fmla="*/ 150316 w 564656"/>
              <a:gd name="connsiteY18" fmla="*/ 263048 h 607273"/>
              <a:gd name="connsiteX19" fmla="*/ 207197 w 564656"/>
              <a:gd name="connsiteY19" fmla="*/ 359360 h 607273"/>
              <a:gd name="connsiteX20" fmla="*/ 210698 w 564656"/>
              <a:gd name="connsiteY20" fmla="*/ 344837 h 607273"/>
              <a:gd name="connsiteX21" fmla="*/ 217917 w 564656"/>
              <a:gd name="connsiteY21" fmla="*/ 315790 h 607273"/>
              <a:gd name="connsiteX22" fmla="*/ 209276 w 564656"/>
              <a:gd name="connsiteY22" fmla="*/ 305635 h 607273"/>
              <a:gd name="connsiteX23" fmla="*/ 202384 w 564656"/>
              <a:gd name="connsiteY23" fmla="*/ 293842 h 607273"/>
              <a:gd name="connsiteX24" fmla="*/ 205010 w 564656"/>
              <a:gd name="connsiteY24" fmla="*/ 283905 h 607273"/>
              <a:gd name="connsiteX25" fmla="*/ 228309 w 564656"/>
              <a:gd name="connsiteY25" fmla="*/ 283359 h 607273"/>
              <a:gd name="connsiteX26" fmla="*/ 252812 w 564656"/>
              <a:gd name="connsiteY26" fmla="*/ 281284 h 607273"/>
              <a:gd name="connsiteX27" fmla="*/ 256203 w 564656"/>
              <a:gd name="connsiteY27" fmla="*/ 287290 h 607273"/>
              <a:gd name="connsiteX28" fmla="*/ 256640 w 564656"/>
              <a:gd name="connsiteY28" fmla="*/ 290566 h 607273"/>
              <a:gd name="connsiteX29" fmla="*/ 250624 w 564656"/>
              <a:gd name="connsiteY29" fmla="*/ 308037 h 607273"/>
              <a:gd name="connsiteX30" fmla="*/ 244170 w 564656"/>
              <a:gd name="connsiteY30" fmla="*/ 320704 h 607273"/>
              <a:gd name="connsiteX31" fmla="*/ 249530 w 564656"/>
              <a:gd name="connsiteY31" fmla="*/ 346911 h 607273"/>
              <a:gd name="connsiteX32" fmla="*/ 252265 w 564656"/>
              <a:gd name="connsiteY32" fmla="*/ 358377 h 607273"/>
              <a:gd name="connsiteX33" fmla="*/ 312866 w 564656"/>
              <a:gd name="connsiteY33" fmla="*/ 258899 h 607273"/>
              <a:gd name="connsiteX34" fmla="*/ 318882 w 564656"/>
              <a:gd name="connsiteY34" fmla="*/ 257042 h 607273"/>
              <a:gd name="connsiteX35" fmla="*/ 321179 w 564656"/>
              <a:gd name="connsiteY35" fmla="*/ 256496 h 607273"/>
              <a:gd name="connsiteX36" fmla="*/ 424854 w 564656"/>
              <a:gd name="connsiteY36" fmla="*/ 248274 h 607273"/>
              <a:gd name="connsiteX37" fmla="*/ 464444 w 564656"/>
              <a:gd name="connsiteY37" fmla="*/ 250240 h 607273"/>
              <a:gd name="connsiteX38" fmla="*/ 466194 w 564656"/>
              <a:gd name="connsiteY38" fmla="*/ 251332 h 607273"/>
              <a:gd name="connsiteX39" fmla="*/ 470569 w 564656"/>
              <a:gd name="connsiteY39" fmla="*/ 254609 h 607273"/>
              <a:gd name="connsiteX40" fmla="*/ 471662 w 564656"/>
              <a:gd name="connsiteY40" fmla="*/ 276016 h 607273"/>
              <a:gd name="connsiteX41" fmla="*/ 536516 w 564656"/>
              <a:gd name="connsiteY41" fmla="*/ 294364 h 607273"/>
              <a:gd name="connsiteX42" fmla="*/ 556093 w 564656"/>
              <a:gd name="connsiteY42" fmla="*/ 361096 h 607273"/>
              <a:gd name="connsiteX43" fmla="*/ 553249 w 564656"/>
              <a:gd name="connsiteY43" fmla="*/ 363935 h 607273"/>
              <a:gd name="connsiteX44" fmla="*/ 550078 w 564656"/>
              <a:gd name="connsiteY44" fmla="*/ 367212 h 607273"/>
              <a:gd name="connsiteX45" fmla="*/ 505128 w 564656"/>
              <a:gd name="connsiteY45" fmla="*/ 367103 h 607273"/>
              <a:gd name="connsiteX46" fmla="*/ 465975 w 564656"/>
              <a:gd name="connsiteY46" fmla="*/ 361314 h 607273"/>
              <a:gd name="connsiteX47" fmla="*/ 464444 w 564656"/>
              <a:gd name="connsiteY47" fmla="*/ 358038 h 607273"/>
              <a:gd name="connsiteX48" fmla="*/ 459632 w 564656"/>
              <a:gd name="connsiteY48" fmla="*/ 355307 h 607273"/>
              <a:gd name="connsiteX49" fmla="*/ 459632 w 564656"/>
              <a:gd name="connsiteY49" fmla="*/ 338925 h 607273"/>
              <a:gd name="connsiteX50" fmla="*/ 447055 w 564656"/>
              <a:gd name="connsiteY50" fmla="*/ 324289 h 607273"/>
              <a:gd name="connsiteX51" fmla="*/ 426275 w 564656"/>
              <a:gd name="connsiteY51" fmla="*/ 333573 h 607273"/>
              <a:gd name="connsiteX52" fmla="*/ 426932 w 564656"/>
              <a:gd name="connsiteY52" fmla="*/ 335102 h 607273"/>
              <a:gd name="connsiteX53" fmla="*/ 531485 w 564656"/>
              <a:gd name="connsiteY53" fmla="*/ 420400 h 607273"/>
              <a:gd name="connsiteX54" fmla="*/ 564514 w 564656"/>
              <a:gd name="connsiteY54" fmla="*/ 479814 h 607273"/>
              <a:gd name="connsiteX55" fmla="*/ 472209 w 564656"/>
              <a:gd name="connsiteY55" fmla="*/ 573960 h 607273"/>
              <a:gd name="connsiteX56" fmla="*/ 472537 w 564656"/>
              <a:gd name="connsiteY56" fmla="*/ 600718 h 607273"/>
              <a:gd name="connsiteX57" fmla="*/ 466085 w 564656"/>
              <a:gd name="connsiteY57" fmla="*/ 607271 h 607273"/>
              <a:gd name="connsiteX58" fmla="*/ 434587 w 564656"/>
              <a:gd name="connsiteY58" fmla="*/ 605523 h 607273"/>
              <a:gd name="connsiteX59" fmla="*/ 420260 w 564656"/>
              <a:gd name="connsiteY59" fmla="*/ 601045 h 607273"/>
              <a:gd name="connsiteX60" fmla="*/ 417964 w 564656"/>
              <a:gd name="connsiteY60" fmla="*/ 598206 h 607273"/>
              <a:gd name="connsiteX61" fmla="*/ 416214 w 564656"/>
              <a:gd name="connsiteY61" fmla="*/ 571884 h 607273"/>
              <a:gd name="connsiteX62" fmla="*/ 325002 w 564656"/>
              <a:gd name="connsiteY62" fmla="*/ 465507 h 607273"/>
              <a:gd name="connsiteX63" fmla="*/ 329486 w 564656"/>
              <a:gd name="connsiteY63" fmla="*/ 460374 h 607273"/>
              <a:gd name="connsiteX64" fmla="*/ 410417 w 564656"/>
              <a:gd name="connsiteY64" fmla="*/ 459391 h 607273"/>
              <a:gd name="connsiteX65" fmla="*/ 416432 w 564656"/>
              <a:gd name="connsiteY65" fmla="*/ 463214 h 607273"/>
              <a:gd name="connsiteX66" fmla="*/ 419495 w 564656"/>
              <a:gd name="connsiteY66" fmla="*/ 467255 h 607273"/>
              <a:gd name="connsiteX67" fmla="*/ 444868 w 564656"/>
              <a:gd name="connsiteY67" fmla="*/ 520116 h 607273"/>
              <a:gd name="connsiteX68" fmla="*/ 454929 w 564656"/>
              <a:gd name="connsiteY68" fmla="*/ 471623 h 607273"/>
              <a:gd name="connsiteX69" fmla="*/ 373123 w 564656"/>
              <a:gd name="connsiteY69" fmla="*/ 417779 h 607273"/>
              <a:gd name="connsiteX70" fmla="*/ 326971 w 564656"/>
              <a:gd name="connsiteY70" fmla="*/ 366556 h 607273"/>
              <a:gd name="connsiteX71" fmla="*/ 415667 w 564656"/>
              <a:gd name="connsiteY71" fmla="*/ 277326 h 607273"/>
              <a:gd name="connsiteX72" fmla="*/ 417198 w 564656"/>
              <a:gd name="connsiteY72" fmla="*/ 254172 h 607273"/>
              <a:gd name="connsiteX73" fmla="*/ 422119 w 564656"/>
              <a:gd name="connsiteY73" fmla="*/ 249476 h 607273"/>
              <a:gd name="connsiteX74" fmla="*/ 424854 w 564656"/>
              <a:gd name="connsiteY74" fmla="*/ 248274 h 607273"/>
              <a:gd name="connsiteX75" fmla="*/ 215096 w 564656"/>
              <a:gd name="connsiteY75" fmla="*/ 1184 h 607273"/>
              <a:gd name="connsiteX76" fmla="*/ 313856 w 564656"/>
              <a:gd name="connsiteY76" fmla="*/ 177884 h 607273"/>
              <a:gd name="connsiteX77" fmla="*/ 218486 w 564656"/>
              <a:gd name="connsiteY77" fmla="*/ 264268 h 607273"/>
              <a:gd name="connsiteX78" fmla="*/ 141053 w 564656"/>
              <a:gd name="connsiteY78" fmla="*/ 135292 h 607273"/>
              <a:gd name="connsiteX79" fmla="*/ 215096 w 564656"/>
              <a:gd name="connsiteY79" fmla="*/ 1184 h 6072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564656" h="607273">
                <a:moveTo>
                  <a:pt x="321179" y="256496"/>
                </a:moveTo>
                <a:cubicBezTo>
                  <a:pt x="334305" y="258680"/>
                  <a:pt x="350167" y="259772"/>
                  <a:pt x="361871" y="266542"/>
                </a:cubicBezTo>
                <a:cubicBezTo>
                  <a:pt x="363074" y="267198"/>
                  <a:pt x="363512" y="268289"/>
                  <a:pt x="363621" y="269381"/>
                </a:cubicBezTo>
                <a:cubicBezTo>
                  <a:pt x="364168" y="270364"/>
                  <a:pt x="363949" y="271347"/>
                  <a:pt x="363074" y="272111"/>
                </a:cubicBezTo>
                <a:cubicBezTo>
                  <a:pt x="362309" y="273203"/>
                  <a:pt x="361324" y="274186"/>
                  <a:pt x="359793" y="274295"/>
                </a:cubicBezTo>
                <a:cubicBezTo>
                  <a:pt x="359574" y="274295"/>
                  <a:pt x="359464" y="274295"/>
                  <a:pt x="359355" y="274295"/>
                </a:cubicBezTo>
                <a:cubicBezTo>
                  <a:pt x="300176" y="303123"/>
                  <a:pt x="286722" y="410136"/>
                  <a:pt x="358480" y="431648"/>
                </a:cubicBezTo>
                <a:cubicBezTo>
                  <a:pt x="366465" y="434160"/>
                  <a:pt x="363184" y="446390"/>
                  <a:pt x="354980" y="444206"/>
                </a:cubicBezTo>
                <a:cubicBezTo>
                  <a:pt x="354870" y="444206"/>
                  <a:pt x="354761" y="444097"/>
                  <a:pt x="354542" y="444097"/>
                </a:cubicBezTo>
                <a:cubicBezTo>
                  <a:pt x="339884" y="450976"/>
                  <a:pt x="322492" y="451413"/>
                  <a:pt x="306958" y="446936"/>
                </a:cubicBezTo>
                <a:cubicBezTo>
                  <a:pt x="306630" y="446827"/>
                  <a:pt x="306521" y="446717"/>
                  <a:pt x="306302" y="446608"/>
                </a:cubicBezTo>
                <a:cubicBezTo>
                  <a:pt x="305427" y="450103"/>
                  <a:pt x="308709" y="513109"/>
                  <a:pt x="308818" y="519224"/>
                </a:cubicBezTo>
                <a:cubicBezTo>
                  <a:pt x="308928" y="523483"/>
                  <a:pt x="305864" y="525667"/>
                  <a:pt x="302692" y="525667"/>
                </a:cubicBezTo>
                <a:cubicBezTo>
                  <a:pt x="302364" y="528834"/>
                  <a:pt x="300286" y="531673"/>
                  <a:pt x="296238" y="531673"/>
                </a:cubicBezTo>
                <a:cubicBezTo>
                  <a:pt x="201728" y="530472"/>
                  <a:pt x="88294" y="544012"/>
                  <a:pt x="2206" y="497712"/>
                </a:cubicBezTo>
                <a:cubicBezTo>
                  <a:pt x="-1075" y="495965"/>
                  <a:pt x="-310" y="491707"/>
                  <a:pt x="1987" y="489741"/>
                </a:cubicBezTo>
                <a:cubicBezTo>
                  <a:pt x="-2169" y="433832"/>
                  <a:pt x="2972" y="374757"/>
                  <a:pt x="34585" y="326710"/>
                </a:cubicBezTo>
                <a:cubicBezTo>
                  <a:pt x="57228" y="292531"/>
                  <a:pt x="98576" y="257042"/>
                  <a:pt x="142112" y="260755"/>
                </a:cubicBezTo>
                <a:cubicBezTo>
                  <a:pt x="144847" y="259554"/>
                  <a:pt x="148238" y="259881"/>
                  <a:pt x="150316" y="263048"/>
                </a:cubicBezTo>
                <a:cubicBezTo>
                  <a:pt x="170553" y="294278"/>
                  <a:pt x="189695" y="326492"/>
                  <a:pt x="207197" y="359360"/>
                </a:cubicBezTo>
                <a:cubicBezTo>
                  <a:pt x="208291" y="354446"/>
                  <a:pt x="209713" y="349641"/>
                  <a:pt x="210698" y="344837"/>
                </a:cubicBezTo>
                <a:cubicBezTo>
                  <a:pt x="212885" y="335118"/>
                  <a:pt x="214964" y="325290"/>
                  <a:pt x="217917" y="315790"/>
                </a:cubicBezTo>
                <a:cubicBezTo>
                  <a:pt x="214854" y="312623"/>
                  <a:pt x="212010" y="309129"/>
                  <a:pt x="209276" y="305635"/>
                </a:cubicBezTo>
                <a:cubicBezTo>
                  <a:pt x="206760" y="302141"/>
                  <a:pt x="203150" y="298209"/>
                  <a:pt x="202384" y="293842"/>
                </a:cubicBezTo>
                <a:cubicBezTo>
                  <a:pt x="199540" y="290456"/>
                  <a:pt x="199540" y="284887"/>
                  <a:pt x="205010" y="283905"/>
                </a:cubicBezTo>
                <a:cubicBezTo>
                  <a:pt x="212557" y="282594"/>
                  <a:pt x="220652" y="283905"/>
                  <a:pt x="228309" y="283359"/>
                </a:cubicBezTo>
                <a:cubicBezTo>
                  <a:pt x="236622" y="282813"/>
                  <a:pt x="244608" y="279864"/>
                  <a:pt x="252812" y="281284"/>
                </a:cubicBezTo>
                <a:cubicBezTo>
                  <a:pt x="256093" y="281830"/>
                  <a:pt x="256750" y="284669"/>
                  <a:pt x="256203" y="287290"/>
                </a:cubicBezTo>
                <a:cubicBezTo>
                  <a:pt x="256640" y="288273"/>
                  <a:pt x="256859" y="289474"/>
                  <a:pt x="256640" y="290566"/>
                </a:cubicBezTo>
                <a:cubicBezTo>
                  <a:pt x="255218" y="296572"/>
                  <a:pt x="252702" y="302250"/>
                  <a:pt x="250624" y="308037"/>
                </a:cubicBezTo>
                <a:cubicBezTo>
                  <a:pt x="248874" y="313169"/>
                  <a:pt x="247999" y="317210"/>
                  <a:pt x="244170" y="320704"/>
                </a:cubicBezTo>
                <a:cubicBezTo>
                  <a:pt x="245920" y="329440"/>
                  <a:pt x="247671" y="338176"/>
                  <a:pt x="249530" y="346911"/>
                </a:cubicBezTo>
                <a:cubicBezTo>
                  <a:pt x="250405" y="350733"/>
                  <a:pt x="251390" y="354555"/>
                  <a:pt x="252265" y="358377"/>
                </a:cubicBezTo>
                <a:cubicBezTo>
                  <a:pt x="269110" y="324089"/>
                  <a:pt x="290331" y="288709"/>
                  <a:pt x="312866" y="258899"/>
                </a:cubicBezTo>
                <a:cubicBezTo>
                  <a:pt x="314506" y="256715"/>
                  <a:pt x="316804" y="256496"/>
                  <a:pt x="318882" y="257042"/>
                </a:cubicBezTo>
                <a:cubicBezTo>
                  <a:pt x="319538" y="256715"/>
                  <a:pt x="320195" y="256387"/>
                  <a:pt x="321179" y="256496"/>
                </a:cubicBezTo>
                <a:close/>
                <a:moveTo>
                  <a:pt x="424854" y="248274"/>
                </a:moveTo>
                <a:cubicBezTo>
                  <a:pt x="437868" y="247073"/>
                  <a:pt x="451539" y="248165"/>
                  <a:pt x="464444" y="250240"/>
                </a:cubicBezTo>
                <a:cubicBezTo>
                  <a:pt x="465319" y="250350"/>
                  <a:pt x="465647" y="251005"/>
                  <a:pt x="466194" y="251332"/>
                </a:cubicBezTo>
                <a:cubicBezTo>
                  <a:pt x="468272" y="251223"/>
                  <a:pt x="470240" y="252097"/>
                  <a:pt x="470569" y="254609"/>
                </a:cubicBezTo>
                <a:cubicBezTo>
                  <a:pt x="471553" y="261708"/>
                  <a:pt x="472647" y="269026"/>
                  <a:pt x="471662" y="276016"/>
                </a:cubicBezTo>
                <a:cubicBezTo>
                  <a:pt x="495613" y="273613"/>
                  <a:pt x="519127" y="275142"/>
                  <a:pt x="536516" y="294364"/>
                </a:cubicBezTo>
                <a:cubicBezTo>
                  <a:pt x="551609" y="311183"/>
                  <a:pt x="561670" y="338597"/>
                  <a:pt x="556093" y="361096"/>
                </a:cubicBezTo>
                <a:cubicBezTo>
                  <a:pt x="555765" y="362625"/>
                  <a:pt x="554562" y="363389"/>
                  <a:pt x="553249" y="363935"/>
                </a:cubicBezTo>
                <a:cubicBezTo>
                  <a:pt x="552812" y="365355"/>
                  <a:pt x="551937" y="366775"/>
                  <a:pt x="550078" y="367212"/>
                </a:cubicBezTo>
                <a:cubicBezTo>
                  <a:pt x="535641" y="370597"/>
                  <a:pt x="519783" y="367867"/>
                  <a:pt x="505128" y="367103"/>
                </a:cubicBezTo>
                <a:cubicBezTo>
                  <a:pt x="492114" y="366447"/>
                  <a:pt x="477459" y="368085"/>
                  <a:pt x="465975" y="361314"/>
                </a:cubicBezTo>
                <a:cubicBezTo>
                  <a:pt x="464882" y="360659"/>
                  <a:pt x="464444" y="359348"/>
                  <a:pt x="464444" y="358038"/>
                </a:cubicBezTo>
                <a:cubicBezTo>
                  <a:pt x="462366" y="358256"/>
                  <a:pt x="460398" y="357491"/>
                  <a:pt x="459632" y="355307"/>
                </a:cubicBezTo>
                <a:cubicBezTo>
                  <a:pt x="457882" y="349846"/>
                  <a:pt x="460726" y="344604"/>
                  <a:pt x="459632" y="338925"/>
                </a:cubicBezTo>
                <a:cubicBezTo>
                  <a:pt x="458429" y="331935"/>
                  <a:pt x="453945" y="326255"/>
                  <a:pt x="447055" y="324289"/>
                </a:cubicBezTo>
                <a:cubicBezTo>
                  <a:pt x="437978" y="321668"/>
                  <a:pt x="429884" y="326474"/>
                  <a:pt x="426275" y="333573"/>
                </a:cubicBezTo>
                <a:cubicBezTo>
                  <a:pt x="426494" y="334119"/>
                  <a:pt x="426932" y="334447"/>
                  <a:pt x="426932" y="335102"/>
                </a:cubicBezTo>
                <a:cubicBezTo>
                  <a:pt x="429119" y="376386"/>
                  <a:pt x="504472" y="397793"/>
                  <a:pt x="531485" y="420400"/>
                </a:cubicBezTo>
                <a:cubicBezTo>
                  <a:pt x="550296" y="436018"/>
                  <a:pt x="563202" y="454695"/>
                  <a:pt x="564514" y="479814"/>
                </a:cubicBezTo>
                <a:cubicBezTo>
                  <a:pt x="567576" y="533877"/>
                  <a:pt x="520658" y="567953"/>
                  <a:pt x="472209" y="573960"/>
                </a:cubicBezTo>
                <a:cubicBezTo>
                  <a:pt x="472756" y="582915"/>
                  <a:pt x="472537" y="591871"/>
                  <a:pt x="472537" y="600718"/>
                </a:cubicBezTo>
                <a:cubicBezTo>
                  <a:pt x="472647" y="604213"/>
                  <a:pt x="469584" y="607380"/>
                  <a:pt x="466085" y="607271"/>
                </a:cubicBezTo>
                <a:cubicBezTo>
                  <a:pt x="455585" y="606943"/>
                  <a:pt x="445086" y="606615"/>
                  <a:pt x="434587" y="605523"/>
                </a:cubicBezTo>
                <a:cubicBezTo>
                  <a:pt x="429775" y="605086"/>
                  <a:pt x="423322" y="605196"/>
                  <a:pt x="420260" y="601045"/>
                </a:cubicBezTo>
                <a:cubicBezTo>
                  <a:pt x="419276" y="600390"/>
                  <a:pt x="418401" y="599516"/>
                  <a:pt x="417964" y="598206"/>
                </a:cubicBezTo>
                <a:cubicBezTo>
                  <a:pt x="414901" y="590124"/>
                  <a:pt x="415011" y="580731"/>
                  <a:pt x="416214" y="571884"/>
                </a:cubicBezTo>
                <a:cubicBezTo>
                  <a:pt x="363827" y="572758"/>
                  <a:pt x="307613" y="520662"/>
                  <a:pt x="325002" y="465507"/>
                </a:cubicBezTo>
                <a:cubicBezTo>
                  <a:pt x="325002" y="462886"/>
                  <a:pt x="326534" y="460265"/>
                  <a:pt x="329486" y="460374"/>
                </a:cubicBezTo>
                <a:cubicBezTo>
                  <a:pt x="356719" y="461903"/>
                  <a:pt x="383404" y="462121"/>
                  <a:pt x="410417" y="459391"/>
                </a:cubicBezTo>
                <a:cubicBezTo>
                  <a:pt x="413808" y="459063"/>
                  <a:pt x="415776" y="460811"/>
                  <a:pt x="416432" y="463214"/>
                </a:cubicBezTo>
                <a:cubicBezTo>
                  <a:pt x="418182" y="463869"/>
                  <a:pt x="419604" y="465179"/>
                  <a:pt x="419495" y="467255"/>
                </a:cubicBezTo>
                <a:cubicBezTo>
                  <a:pt x="419276" y="483637"/>
                  <a:pt x="418401" y="522628"/>
                  <a:pt x="444868" y="520116"/>
                </a:cubicBezTo>
                <a:cubicBezTo>
                  <a:pt x="467288" y="518040"/>
                  <a:pt x="459851" y="487569"/>
                  <a:pt x="454929" y="471623"/>
                </a:cubicBezTo>
                <a:cubicBezTo>
                  <a:pt x="431087" y="446503"/>
                  <a:pt x="403199" y="435691"/>
                  <a:pt x="373123" y="417779"/>
                </a:cubicBezTo>
                <a:cubicBezTo>
                  <a:pt x="353110" y="405765"/>
                  <a:pt x="333533" y="389929"/>
                  <a:pt x="326971" y="366556"/>
                </a:cubicBezTo>
                <a:cubicBezTo>
                  <a:pt x="311441" y="310637"/>
                  <a:pt x="368093" y="278091"/>
                  <a:pt x="415667" y="277326"/>
                </a:cubicBezTo>
                <a:cubicBezTo>
                  <a:pt x="413917" y="269899"/>
                  <a:pt x="415448" y="261162"/>
                  <a:pt x="417198" y="254172"/>
                </a:cubicBezTo>
                <a:cubicBezTo>
                  <a:pt x="417964" y="251223"/>
                  <a:pt x="419932" y="249803"/>
                  <a:pt x="422119" y="249476"/>
                </a:cubicBezTo>
                <a:cubicBezTo>
                  <a:pt x="422885" y="248930"/>
                  <a:pt x="423760" y="248274"/>
                  <a:pt x="424854" y="248274"/>
                </a:cubicBezTo>
                <a:close/>
                <a:moveTo>
                  <a:pt x="215096" y="1184"/>
                </a:moveTo>
                <a:cubicBezTo>
                  <a:pt x="316918" y="-12467"/>
                  <a:pt x="342401" y="94667"/>
                  <a:pt x="313856" y="177884"/>
                </a:cubicBezTo>
                <a:cubicBezTo>
                  <a:pt x="300841" y="226918"/>
                  <a:pt x="266171" y="276499"/>
                  <a:pt x="218486" y="264268"/>
                </a:cubicBezTo>
                <a:cubicBezTo>
                  <a:pt x="165770" y="256623"/>
                  <a:pt x="146521" y="182907"/>
                  <a:pt x="141053" y="135292"/>
                </a:cubicBezTo>
                <a:cubicBezTo>
                  <a:pt x="134163" y="75118"/>
                  <a:pt x="144553" y="10576"/>
                  <a:pt x="215096" y="1184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8B6AA00D-5B2D-4632-8DE9-ABCB7BA511A2}"/>
              </a:ext>
            </a:extLst>
          </p:cNvPr>
          <p:cNvSpPr txBox="1"/>
          <p:nvPr/>
        </p:nvSpPr>
        <p:spPr bwMode="auto">
          <a:xfrm>
            <a:off x="687663" y="2384237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定义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E55EB4C0-A038-4C35-8000-CC6BB38040E4}"/>
              </a:ext>
            </a:extLst>
          </p:cNvPr>
          <p:cNvSpPr/>
          <p:nvPr/>
        </p:nvSpPr>
        <p:spPr bwMode="auto">
          <a:xfrm>
            <a:off x="687663" y="4510867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>
                <a:cs typeface="+mn-ea"/>
                <a:sym typeface="+mn-lt"/>
              </a:rPr>
              <a:t>Supp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orting </a:t>
            </a:r>
            <a:r>
              <a:rPr lang="en-US" altLang="zh-CN" sz="1000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2A501870-089C-43D4-9641-E3DA7A400B5F}"/>
              </a:ext>
            </a:extLst>
          </p:cNvPr>
          <p:cNvSpPr txBox="1"/>
          <p:nvPr/>
        </p:nvSpPr>
        <p:spPr bwMode="auto">
          <a:xfrm>
            <a:off x="687663" y="4091632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定义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2CE1822C-5C9C-4BA8-B721-C9141ABB528F}"/>
              </a:ext>
            </a:extLst>
          </p:cNvPr>
          <p:cNvSpPr/>
          <p:nvPr/>
        </p:nvSpPr>
        <p:spPr bwMode="auto">
          <a:xfrm>
            <a:off x="8438288" y="2803472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re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0EB0075A-751F-4F6C-A626-197A47FFFEDD}"/>
              </a:ext>
            </a:extLst>
          </p:cNvPr>
          <p:cNvSpPr txBox="1"/>
          <p:nvPr/>
        </p:nvSpPr>
        <p:spPr bwMode="auto">
          <a:xfrm>
            <a:off x="8438288" y="2384237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定义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D79B7C85-E96C-45D5-BF4A-10AA53A567BE}"/>
              </a:ext>
            </a:extLst>
          </p:cNvPr>
          <p:cNvSpPr/>
          <p:nvPr/>
        </p:nvSpPr>
        <p:spPr bwMode="auto">
          <a:xfrm>
            <a:off x="8438288" y="4510867"/>
            <a:ext cx="3082200" cy="718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re</a:t>
            </a:r>
          </a:p>
          <a:p>
            <a:pPr marL="171450" indent="-171450" algn="r">
              <a:lnSpc>
                <a:spcPct val="150000"/>
              </a:lnSpc>
              <a:buFont typeface="Arial" panose="020B0604020202020204" pitchFamily="34" charset="0"/>
              <a:buChar char="•"/>
              <a:tabLst>
                <a:tab pos="228594" algn="l"/>
              </a:tabLst>
              <a:defRPr/>
            </a:pPr>
            <a:r>
              <a:rPr lang="en-US" altLang="zh-CN" sz="1000" dirty="0">
                <a:cs typeface="+mn-ea"/>
                <a:sym typeface="+mn-lt"/>
              </a:rPr>
              <a:t>Supporting text he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re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B27DF7C9-66A4-4619-9C5E-3652C1759A7F}"/>
              </a:ext>
            </a:extLst>
          </p:cNvPr>
          <p:cNvSpPr txBox="1"/>
          <p:nvPr/>
        </p:nvSpPr>
        <p:spPr bwMode="auto">
          <a:xfrm>
            <a:off x="8438288" y="4091632"/>
            <a:ext cx="3082200" cy="419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…</a:t>
            </a:r>
            <a:r>
              <a:rPr lang="zh-CN" altLang="en-US" b="1" dirty="0">
                <a:cs typeface="+mn-ea"/>
                <a:sym typeface="+mn-lt"/>
              </a:rPr>
              <a:t>定义</a:t>
            </a:r>
          </a:p>
        </p:txBody>
      </p:sp>
    </p:spTree>
    <p:extLst>
      <p:ext uri="{BB962C8B-B14F-4D97-AF65-F5344CB8AC3E}">
        <p14:creationId xmlns:p14="http://schemas.microsoft.com/office/powerpoint/2010/main" val="1527078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时间管理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5354282" y="2543544"/>
            <a:ext cx="1489049" cy="2334494"/>
          </a:xfrm>
          <a:custGeom>
            <a:avLst/>
            <a:gdLst>
              <a:gd name="connsiteX0" fmla="*/ 661412 w 1308894"/>
              <a:gd name="connsiteY0" fmla="*/ 0 h 2052053"/>
              <a:gd name="connsiteX1" fmla="*/ 670279 w 1308894"/>
              <a:gd name="connsiteY1" fmla="*/ 4056 h 2052053"/>
              <a:gd name="connsiteX2" fmla="*/ 1308894 w 1308894"/>
              <a:gd name="connsiteY2" fmla="*/ 1022841 h 2052053"/>
              <a:gd name="connsiteX3" fmla="*/ 670279 w 1308894"/>
              <a:gd name="connsiteY3" fmla="*/ 2041626 h 2052053"/>
              <a:gd name="connsiteX4" fmla="*/ 647483 w 1308894"/>
              <a:gd name="connsiteY4" fmla="*/ 2052053 h 2052053"/>
              <a:gd name="connsiteX5" fmla="*/ 638615 w 1308894"/>
              <a:gd name="connsiteY5" fmla="*/ 2047997 h 2052053"/>
              <a:gd name="connsiteX6" fmla="*/ 0 w 1308894"/>
              <a:gd name="connsiteY6" fmla="*/ 1029212 h 2052053"/>
              <a:gd name="connsiteX7" fmla="*/ 638615 w 1308894"/>
              <a:gd name="connsiteY7" fmla="*/ 10427 h 2052053"/>
              <a:gd name="connsiteX8" fmla="*/ 661412 w 1308894"/>
              <a:gd name="connsiteY8" fmla="*/ 0 h 2052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894" h="2052053">
                <a:moveTo>
                  <a:pt x="661412" y="0"/>
                </a:moveTo>
                <a:lnTo>
                  <a:pt x="670279" y="4056"/>
                </a:lnTo>
                <a:cubicBezTo>
                  <a:pt x="1050667" y="200257"/>
                  <a:pt x="1308894" y="582916"/>
                  <a:pt x="1308894" y="1022841"/>
                </a:cubicBezTo>
                <a:cubicBezTo>
                  <a:pt x="1308894" y="1462766"/>
                  <a:pt x="1050667" y="1845426"/>
                  <a:pt x="670279" y="2041626"/>
                </a:cubicBezTo>
                <a:lnTo>
                  <a:pt x="647483" y="2052053"/>
                </a:lnTo>
                <a:lnTo>
                  <a:pt x="638615" y="2047997"/>
                </a:lnTo>
                <a:cubicBezTo>
                  <a:pt x="258227" y="1851797"/>
                  <a:pt x="0" y="1469137"/>
                  <a:pt x="0" y="1029212"/>
                </a:cubicBezTo>
                <a:cubicBezTo>
                  <a:pt x="0" y="589287"/>
                  <a:pt x="258227" y="206628"/>
                  <a:pt x="638615" y="10427"/>
                </a:cubicBezTo>
                <a:lnTo>
                  <a:pt x="66141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algn="ctr" defTabSz="914400"/>
            <a:endParaRPr sz="1200" b="1" kern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4066887" y="2389070"/>
            <a:ext cx="2039844" cy="2636193"/>
          </a:xfrm>
          <a:custGeom>
            <a:avLst/>
            <a:gdLst>
              <a:gd name="connsiteX0" fmla="*/ 1220266 w 1793050"/>
              <a:gd name="connsiteY0" fmla="*/ 0 h 2317250"/>
              <a:gd name="connsiteX1" fmla="*/ 1695248 w 1793050"/>
              <a:gd name="connsiteY1" fmla="*/ 91050 h 2317250"/>
              <a:gd name="connsiteX2" fmla="*/ 1793050 w 1793050"/>
              <a:gd name="connsiteY2" fmla="*/ 135784 h 2317250"/>
              <a:gd name="connsiteX3" fmla="*/ 1770253 w 1793050"/>
              <a:gd name="connsiteY3" fmla="*/ 146211 h 2317250"/>
              <a:gd name="connsiteX4" fmla="*/ 1131638 w 1793050"/>
              <a:gd name="connsiteY4" fmla="*/ 1164996 h 2317250"/>
              <a:gd name="connsiteX5" fmla="*/ 1770253 w 1793050"/>
              <a:gd name="connsiteY5" fmla="*/ 2183781 h 2317250"/>
              <a:gd name="connsiteX6" fmla="*/ 1779121 w 1793050"/>
              <a:gd name="connsiteY6" fmla="*/ 2187837 h 2317250"/>
              <a:gd name="connsiteX7" fmla="*/ 1695248 w 1793050"/>
              <a:gd name="connsiteY7" fmla="*/ 2226200 h 2317250"/>
              <a:gd name="connsiteX8" fmla="*/ 1220266 w 1793050"/>
              <a:gd name="connsiteY8" fmla="*/ 2317250 h 2317250"/>
              <a:gd name="connsiteX9" fmla="*/ 0 w 1793050"/>
              <a:gd name="connsiteY9" fmla="*/ 1158625 h 2317250"/>
              <a:gd name="connsiteX10" fmla="*/ 1220266 w 1793050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50" h="2317250">
                <a:moveTo>
                  <a:pt x="1220266" y="0"/>
                </a:moveTo>
                <a:cubicBezTo>
                  <a:pt x="1388750" y="0"/>
                  <a:pt x="1549258" y="32421"/>
                  <a:pt x="1695248" y="91050"/>
                </a:cubicBezTo>
                <a:lnTo>
                  <a:pt x="1793050" y="135784"/>
                </a:lnTo>
                <a:lnTo>
                  <a:pt x="1770253" y="146211"/>
                </a:lnTo>
                <a:cubicBezTo>
                  <a:pt x="1389865" y="342412"/>
                  <a:pt x="1131638" y="725071"/>
                  <a:pt x="1131638" y="1164996"/>
                </a:cubicBezTo>
                <a:cubicBezTo>
                  <a:pt x="1131638" y="1604921"/>
                  <a:pt x="1389865" y="1987581"/>
                  <a:pt x="1770253" y="2183781"/>
                </a:cubicBezTo>
                <a:lnTo>
                  <a:pt x="1779121" y="2187837"/>
                </a:lnTo>
                <a:lnTo>
                  <a:pt x="1695248" y="2226200"/>
                </a:lnTo>
                <a:cubicBezTo>
                  <a:pt x="1549258" y="2284829"/>
                  <a:pt x="1388750" y="2317250"/>
                  <a:pt x="1220266" y="2317250"/>
                </a:cubicBezTo>
                <a:cubicBezTo>
                  <a:pt x="546332" y="2317250"/>
                  <a:pt x="0" y="1798516"/>
                  <a:pt x="0" y="1158625"/>
                </a:cubicBezTo>
                <a:cubicBezTo>
                  <a:pt x="0" y="518734"/>
                  <a:pt x="546332" y="0"/>
                  <a:pt x="122026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E1879413-1CCE-4B50-BF57-9E7387AFE7D5}"/>
              </a:ext>
            </a:extLst>
          </p:cNvPr>
          <p:cNvSpPr/>
          <p:nvPr/>
        </p:nvSpPr>
        <p:spPr>
          <a:xfrm>
            <a:off x="8948995" y="196881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>
                <a:cs typeface="+mn-ea"/>
                <a:sym typeface="+mn-lt"/>
              </a:rPr>
              <a:t>Suppor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ing </a:t>
            </a:r>
            <a:r>
              <a:rPr lang="en-US" altLang="zh-CN" sz="1200" dirty="0">
                <a:cs typeface="+mn-ea"/>
                <a:sym typeface="+mn-lt"/>
              </a:rPr>
              <a:t>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56A86C3-4CC3-490A-BDB5-55504F3F41B3}"/>
              </a:ext>
            </a:extLst>
          </p:cNvPr>
          <p:cNvSpPr/>
          <p:nvPr/>
        </p:nvSpPr>
        <p:spPr>
          <a:xfrm>
            <a:off x="8960338" y="152221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研究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ECB8BB2C-E9A2-4A3E-8EA8-97916650D2BF}"/>
              </a:ext>
            </a:extLst>
          </p:cNvPr>
          <p:cNvGrpSpPr/>
          <p:nvPr/>
        </p:nvGrpSpPr>
        <p:grpSpPr>
          <a:xfrm>
            <a:off x="8352393" y="1741631"/>
            <a:ext cx="472236" cy="472236"/>
            <a:chOff x="8352393" y="2242479"/>
            <a:chExt cx="472236" cy="472236"/>
          </a:xfrm>
        </p:grpSpPr>
        <p:sp>
          <p:nvSpPr>
            <p:cNvPr id="68" name="椭圆 67">
              <a:extLst>
                <a:ext uri="{FF2B5EF4-FFF2-40B4-BE49-F238E27FC236}">
                  <a16:creationId xmlns:a16="http://schemas.microsoft.com/office/drawing/2014/main" id="{4DA03172-4B01-4A11-84FD-023BC41315E4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42AE8AF4-C1CB-4CD4-9A8F-26DB8A3064D4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6090886" y="2396317"/>
            <a:ext cx="2039843" cy="2636193"/>
          </a:xfrm>
          <a:custGeom>
            <a:avLst/>
            <a:gdLst>
              <a:gd name="connsiteX0" fmla="*/ 572783 w 1793049"/>
              <a:gd name="connsiteY0" fmla="*/ 0 h 2317250"/>
              <a:gd name="connsiteX1" fmla="*/ 1793049 w 1793049"/>
              <a:gd name="connsiteY1" fmla="*/ 1158625 h 2317250"/>
              <a:gd name="connsiteX2" fmla="*/ 572783 w 1793049"/>
              <a:gd name="connsiteY2" fmla="*/ 2317250 h 2317250"/>
              <a:gd name="connsiteX3" fmla="*/ 97801 w 1793049"/>
              <a:gd name="connsiteY3" fmla="*/ 2226200 h 2317250"/>
              <a:gd name="connsiteX4" fmla="*/ 0 w 1793049"/>
              <a:gd name="connsiteY4" fmla="*/ 2181466 h 2317250"/>
              <a:gd name="connsiteX5" fmla="*/ 22796 w 1793049"/>
              <a:gd name="connsiteY5" fmla="*/ 2171039 h 2317250"/>
              <a:gd name="connsiteX6" fmla="*/ 661411 w 1793049"/>
              <a:gd name="connsiteY6" fmla="*/ 1152254 h 2317250"/>
              <a:gd name="connsiteX7" fmla="*/ 22796 w 1793049"/>
              <a:gd name="connsiteY7" fmla="*/ 133469 h 2317250"/>
              <a:gd name="connsiteX8" fmla="*/ 13929 w 1793049"/>
              <a:gd name="connsiteY8" fmla="*/ 129413 h 2317250"/>
              <a:gd name="connsiteX9" fmla="*/ 97801 w 1793049"/>
              <a:gd name="connsiteY9" fmla="*/ 91050 h 2317250"/>
              <a:gd name="connsiteX10" fmla="*/ 572783 w 1793049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49" h="2317250">
                <a:moveTo>
                  <a:pt x="572783" y="0"/>
                </a:moveTo>
                <a:cubicBezTo>
                  <a:pt x="1246717" y="0"/>
                  <a:pt x="1793049" y="518734"/>
                  <a:pt x="1793049" y="1158625"/>
                </a:cubicBezTo>
                <a:cubicBezTo>
                  <a:pt x="1793049" y="1798516"/>
                  <a:pt x="1246717" y="2317250"/>
                  <a:pt x="572783" y="2317250"/>
                </a:cubicBezTo>
                <a:cubicBezTo>
                  <a:pt x="404300" y="2317250"/>
                  <a:pt x="243791" y="2284829"/>
                  <a:pt x="97801" y="2226200"/>
                </a:cubicBezTo>
                <a:lnTo>
                  <a:pt x="0" y="2181466"/>
                </a:lnTo>
                <a:lnTo>
                  <a:pt x="22796" y="2171039"/>
                </a:lnTo>
                <a:cubicBezTo>
                  <a:pt x="403184" y="1974839"/>
                  <a:pt x="661411" y="1592179"/>
                  <a:pt x="661411" y="1152254"/>
                </a:cubicBezTo>
                <a:cubicBezTo>
                  <a:pt x="661411" y="712329"/>
                  <a:pt x="403184" y="329670"/>
                  <a:pt x="22796" y="133469"/>
                </a:cubicBezTo>
                <a:lnTo>
                  <a:pt x="13929" y="129413"/>
                </a:lnTo>
                <a:lnTo>
                  <a:pt x="97801" y="91050"/>
                </a:lnTo>
                <a:cubicBezTo>
                  <a:pt x="243791" y="32421"/>
                  <a:pt x="404300" y="0"/>
                  <a:pt x="57278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396397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zh-CN" altLang="en-US" sz="1600" dirty="0">
                <a:cs typeface="+mn-ea"/>
                <a:sym typeface="+mn-lt"/>
              </a:rPr>
              <a:t>概念</a:t>
            </a: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667698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zh-CN" altLang="en-US" sz="1600" dirty="0">
                <a:cs typeface="+mn-ea"/>
                <a:sym typeface="+mn-lt"/>
              </a:rPr>
              <a:t>相关研究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5332663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zh-CN" altLang="en-US" sz="1600" dirty="0">
                <a:cs typeface="+mn-ea"/>
                <a:sym typeface="+mn-lt"/>
              </a:rPr>
              <a:t>时间管理</a:t>
            </a:r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73BF6C07-871A-4F53-AAF9-267C2899DD26}"/>
              </a:ext>
            </a:extLst>
          </p:cNvPr>
          <p:cNvGrpSpPr/>
          <p:nvPr/>
        </p:nvGrpSpPr>
        <p:grpSpPr>
          <a:xfrm>
            <a:off x="3367372" y="1741631"/>
            <a:ext cx="472236" cy="472236"/>
            <a:chOff x="3367372" y="1835658"/>
            <a:chExt cx="472236" cy="472236"/>
          </a:xfrm>
        </p:grpSpPr>
        <p:sp>
          <p:nvSpPr>
            <p:cNvPr id="63" name="椭圆 62">
              <a:extLst>
                <a:ext uri="{FF2B5EF4-FFF2-40B4-BE49-F238E27FC236}">
                  <a16:creationId xmlns:a16="http://schemas.microsoft.com/office/drawing/2014/main" id="{A1660CE6-48BF-446F-A482-6A8AC402E379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2AB2DE7-DCB2-4307-B2A5-EA8E31D0EA22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A23970B1-2B57-478A-B447-22322D4905CB}"/>
              </a:ext>
            </a:extLst>
          </p:cNvPr>
          <p:cNvGrpSpPr/>
          <p:nvPr/>
        </p:nvGrpSpPr>
        <p:grpSpPr>
          <a:xfrm>
            <a:off x="676063" y="1522214"/>
            <a:ext cx="2572782" cy="1042690"/>
            <a:chOff x="676063" y="1674614"/>
            <a:chExt cx="2572782" cy="1042690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88FD0896-044B-406B-A1DF-CA7C9776A449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>
                  <a:cs typeface="+mn-ea"/>
                  <a:sym typeface="+mn-lt"/>
                </a:rPr>
                <a:t>Suppor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ing </a:t>
              </a:r>
              <a:r>
                <a:rPr lang="en-US" altLang="zh-CN" sz="1200" dirty="0">
                  <a:cs typeface="+mn-ea"/>
                  <a:sym typeface="+mn-lt"/>
                </a:rPr>
                <a:t>text 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B7CAFE2E-66DB-4D65-A6F2-F3D7BB71D409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概念</a:t>
              </a:r>
            </a:p>
          </p:txBody>
        </p:sp>
      </p:grpSp>
      <p:sp>
        <p:nvSpPr>
          <p:cNvPr id="54" name="矩形 53">
            <a:extLst>
              <a:ext uri="{FF2B5EF4-FFF2-40B4-BE49-F238E27FC236}">
                <a16:creationId xmlns:a16="http://schemas.microsoft.com/office/drawing/2014/main" id="{78587536-7047-497E-AC11-EE64829575A0}"/>
              </a:ext>
            </a:extLst>
          </p:cNvPr>
          <p:cNvSpPr/>
          <p:nvPr/>
        </p:nvSpPr>
        <p:spPr>
          <a:xfrm>
            <a:off x="8948995" y="319874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>
                <a:cs typeface="+mn-ea"/>
                <a:sym typeface="+mn-lt"/>
              </a:rPr>
              <a:t>Suppor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ing </a:t>
            </a:r>
            <a:r>
              <a:rPr lang="en-US" altLang="zh-CN" sz="1200" dirty="0">
                <a:cs typeface="+mn-ea"/>
                <a:sym typeface="+mn-lt"/>
              </a:rPr>
              <a:t>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F7AD7DB-93A8-4D60-846D-30F6676B428A}"/>
              </a:ext>
            </a:extLst>
          </p:cNvPr>
          <p:cNvSpPr/>
          <p:nvPr/>
        </p:nvSpPr>
        <p:spPr>
          <a:xfrm>
            <a:off x="8960338" y="275214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研究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0F47194-DC7E-48D6-A3EE-4FDE23132593}"/>
              </a:ext>
            </a:extLst>
          </p:cNvPr>
          <p:cNvGrpSpPr/>
          <p:nvPr/>
        </p:nvGrpSpPr>
        <p:grpSpPr>
          <a:xfrm>
            <a:off x="8352393" y="2971561"/>
            <a:ext cx="472236" cy="472236"/>
            <a:chOff x="8352393" y="2242479"/>
            <a:chExt cx="472236" cy="472236"/>
          </a:xfrm>
        </p:grpSpPr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405B6947-C5C6-41DD-893E-E9364ECCF943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6C426AD-8D94-4514-B01D-0775054FCE83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374A858E-D6E3-40CE-99AE-08DBB5AD8535}"/>
              </a:ext>
            </a:extLst>
          </p:cNvPr>
          <p:cNvGrpSpPr/>
          <p:nvPr/>
        </p:nvGrpSpPr>
        <p:grpSpPr>
          <a:xfrm>
            <a:off x="3367372" y="2971561"/>
            <a:ext cx="472236" cy="472236"/>
            <a:chOff x="3367372" y="1835658"/>
            <a:chExt cx="472236" cy="472236"/>
          </a:xfrm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9985C559-72BF-4EE0-87AF-A2B9613729FE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C33B16B-D0AF-4E81-A3F8-870A33D766B5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FEC1EAE6-0EC9-4DA4-8EA6-2F93B00F2D78}"/>
              </a:ext>
            </a:extLst>
          </p:cNvPr>
          <p:cNvGrpSpPr/>
          <p:nvPr/>
        </p:nvGrpSpPr>
        <p:grpSpPr>
          <a:xfrm>
            <a:off x="676063" y="2752144"/>
            <a:ext cx="2572782" cy="1042690"/>
            <a:chOff x="676063" y="1674614"/>
            <a:chExt cx="2572782" cy="1042690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549C247D-A553-43C7-8F90-10BCF4E8E00A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>
                  <a:cs typeface="+mn-ea"/>
                  <a:sym typeface="+mn-lt"/>
                </a:rPr>
                <a:t>Suppor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ing </a:t>
              </a:r>
              <a:r>
                <a:rPr lang="en-US" altLang="zh-CN" sz="1200" dirty="0">
                  <a:cs typeface="+mn-ea"/>
                  <a:sym typeface="+mn-lt"/>
                </a:rPr>
                <a:t>text 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1615407-0E60-46DB-BAB4-DEF47A4DCA25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概念</a:t>
              </a:r>
            </a:p>
          </p:txBody>
        </p:sp>
      </p:grpSp>
      <p:sp>
        <p:nvSpPr>
          <p:cNvPr id="43" name="矩形 42">
            <a:extLst>
              <a:ext uri="{FF2B5EF4-FFF2-40B4-BE49-F238E27FC236}">
                <a16:creationId xmlns:a16="http://schemas.microsoft.com/office/drawing/2014/main" id="{88AA0909-2AB0-4B5D-AA53-AA431F6853A8}"/>
              </a:ext>
            </a:extLst>
          </p:cNvPr>
          <p:cNvSpPr/>
          <p:nvPr/>
        </p:nvSpPr>
        <p:spPr>
          <a:xfrm>
            <a:off x="8948995" y="442867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>
                <a:cs typeface="+mn-ea"/>
                <a:sym typeface="+mn-lt"/>
              </a:rPr>
              <a:t>Suppor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ing </a:t>
            </a:r>
            <a:r>
              <a:rPr lang="en-US" altLang="zh-CN" sz="1200" dirty="0">
                <a:cs typeface="+mn-ea"/>
                <a:sym typeface="+mn-lt"/>
              </a:rPr>
              <a:t>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24CA96EB-E291-463C-9355-3BA559BE4A21}"/>
              </a:ext>
            </a:extLst>
          </p:cNvPr>
          <p:cNvSpPr/>
          <p:nvPr/>
        </p:nvSpPr>
        <p:spPr>
          <a:xfrm>
            <a:off x="8960338" y="398207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研究</a:t>
            </a: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B43ED188-4BBA-45D5-8CCB-2783A0DF380C}"/>
              </a:ext>
            </a:extLst>
          </p:cNvPr>
          <p:cNvGrpSpPr/>
          <p:nvPr/>
        </p:nvGrpSpPr>
        <p:grpSpPr>
          <a:xfrm>
            <a:off x="8352393" y="4201491"/>
            <a:ext cx="472236" cy="472236"/>
            <a:chOff x="8352393" y="2242479"/>
            <a:chExt cx="472236" cy="472236"/>
          </a:xfrm>
        </p:grpSpPr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4BB382BC-83F8-4AAE-AD58-EBBDCEA9199E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0D68B344-5394-44C3-A8EB-73EECF32B12A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2FBE707A-138D-4699-A78C-6E5001A8C808}"/>
              </a:ext>
            </a:extLst>
          </p:cNvPr>
          <p:cNvGrpSpPr/>
          <p:nvPr/>
        </p:nvGrpSpPr>
        <p:grpSpPr>
          <a:xfrm>
            <a:off x="3367372" y="4201491"/>
            <a:ext cx="472236" cy="472236"/>
            <a:chOff x="3367372" y="1835658"/>
            <a:chExt cx="472236" cy="472236"/>
          </a:xfrm>
        </p:grpSpPr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B636F86E-A05B-4222-8A65-7E062A89061D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96E7C15-CED2-4797-8D75-70A44A904BC5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69FDAB99-0EE4-4441-8D25-80962FE34500}"/>
              </a:ext>
            </a:extLst>
          </p:cNvPr>
          <p:cNvGrpSpPr/>
          <p:nvPr/>
        </p:nvGrpSpPr>
        <p:grpSpPr>
          <a:xfrm>
            <a:off x="676063" y="3982074"/>
            <a:ext cx="2572782" cy="1042690"/>
            <a:chOff x="676063" y="1674614"/>
            <a:chExt cx="2572782" cy="1042690"/>
          </a:xfrm>
        </p:grpSpPr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D1B043E-4A63-4B34-B31A-ADF55F4C42F1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>
                  <a:cs typeface="+mn-ea"/>
                  <a:sym typeface="+mn-lt"/>
                </a:rPr>
                <a:t>Suppor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ing </a:t>
              </a:r>
              <a:r>
                <a:rPr lang="en-US" altLang="zh-CN" sz="1200" dirty="0">
                  <a:cs typeface="+mn-ea"/>
                  <a:sym typeface="+mn-lt"/>
                </a:rPr>
                <a:t>text 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39DB4597-5274-4C96-AE8F-52B682A1EE40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概念</a:t>
              </a:r>
            </a:p>
          </p:txBody>
        </p:sp>
      </p:grpSp>
      <p:sp>
        <p:nvSpPr>
          <p:cNvPr id="32" name="矩形 31">
            <a:extLst>
              <a:ext uri="{FF2B5EF4-FFF2-40B4-BE49-F238E27FC236}">
                <a16:creationId xmlns:a16="http://schemas.microsoft.com/office/drawing/2014/main" id="{D4179656-BE58-45C4-9F89-297115203A44}"/>
              </a:ext>
            </a:extLst>
          </p:cNvPr>
          <p:cNvSpPr/>
          <p:nvPr/>
        </p:nvSpPr>
        <p:spPr>
          <a:xfrm>
            <a:off x="8948995" y="565860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>
                <a:cs typeface="+mn-ea"/>
                <a:sym typeface="+mn-lt"/>
              </a:rPr>
              <a:t>Suppor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ing </a:t>
            </a:r>
            <a:r>
              <a:rPr lang="en-US" altLang="zh-CN" sz="1200" dirty="0">
                <a:cs typeface="+mn-ea"/>
                <a:sym typeface="+mn-lt"/>
              </a:rPr>
              <a:t>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03332723-D62A-4389-8A2D-38DAB5A12001}"/>
              </a:ext>
            </a:extLst>
          </p:cNvPr>
          <p:cNvSpPr/>
          <p:nvPr/>
        </p:nvSpPr>
        <p:spPr>
          <a:xfrm>
            <a:off x="8960338" y="521200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研究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F9248F76-F8CE-48DF-A61A-D1E2E2E83E21}"/>
              </a:ext>
            </a:extLst>
          </p:cNvPr>
          <p:cNvGrpSpPr/>
          <p:nvPr/>
        </p:nvGrpSpPr>
        <p:grpSpPr>
          <a:xfrm>
            <a:off x="8352393" y="5431421"/>
            <a:ext cx="472236" cy="472236"/>
            <a:chOff x="8352393" y="2242479"/>
            <a:chExt cx="472236" cy="472236"/>
          </a:xfrm>
        </p:grpSpPr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1E289F68-3E0E-47AB-887A-582F34185E71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C8A8FA3-C549-4AD4-B19F-70438A299727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6B58835-0505-473B-BB0F-B7303D781E0A}"/>
              </a:ext>
            </a:extLst>
          </p:cNvPr>
          <p:cNvGrpSpPr/>
          <p:nvPr/>
        </p:nvGrpSpPr>
        <p:grpSpPr>
          <a:xfrm>
            <a:off x="3367372" y="5431421"/>
            <a:ext cx="472236" cy="472236"/>
            <a:chOff x="3367372" y="1835658"/>
            <a:chExt cx="472236" cy="472236"/>
          </a:xfrm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8B7514F7-E48E-4CA6-9D41-0B2F4C7CC299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189DC72-E452-40AC-9A11-20E4D871C5DF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B76600CB-631C-4078-8768-33CB41D594CF}"/>
              </a:ext>
            </a:extLst>
          </p:cNvPr>
          <p:cNvGrpSpPr/>
          <p:nvPr/>
        </p:nvGrpSpPr>
        <p:grpSpPr>
          <a:xfrm>
            <a:off x="676063" y="5212004"/>
            <a:ext cx="2572782" cy="1042690"/>
            <a:chOff x="676063" y="1674614"/>
            <a:chExt cx="2572782" cy="1042690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9D3CF3B6-9FE4-4DBA-8DA0-A756CFDCDCDF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>
                  <a:cs typeface="+mn-ea"/>
                  <a:sym typeface="+mn-lt"/>
                </a:rPr>
                <a:t>Support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ing </a:t>
              </a:r>
              <a:r>
                <a:rPr lang="en-US" altLang="zh-CN" sz="1200" dirty="0">
                  <a:cs typeface="+mn-ea"/>
                  <a:sym typeface="+mn-lt"/>
                </a:rPr>
                <a:t>text 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4DDA27EE-2B5E-42FB-9720-06538596E1F7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概念</a:t>
              </a:r>
            </a:p>
          </p:txBody>
        </p:sp>
      </p:grp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574ACB7B-0A63-47C2-9450-95CF24060D13}"/>
              </a:ext>
            </a:extLst>
          </p:cNvPr>
          <p:cNvCxnSpPr/>
          <p:nvPr/>
        </p:nvCxnSpPr>
        <p:spPr>
          <a:xfrm>
            <a:off x="67606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6ECBE80B-83D1-4DC1-AF0B-02C3FC741C8A}"/>
              </a:ext>
            </a:extLst>
          </p:cNvPr>
          <p:cNvCxnSpPr/>
          <p:nvPr/>
        </p:nvCxnSpPr>
        <p:spPr>
          <a:xfrm>
            <a:off x="67606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A729D34-0CB4-4455-81EA-75A55556FD77}"/>
              </a:ext>
            </a:extLst>
          </p:cNvPr>
          <p:cNvCxnSpPr/>
          <p:nvPr/>
        </p:nvCxnSpPr>
        <p:spPr>
          <a:xfrm>
            <a:off x="67606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6228609-49FD-4322-B715-A3F850CE353F}"/>
              </a:ext>
            </a:extLst>
          </p:cNvPr>
          <p:cNvCxnSpPr/>
          <p:nvPr/>
        </p:nvCxnSpPr>
        <p:spPr>
          <a:xfrm>
            <a:off x="833573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D462090-9F42-48E8-A633-5D01496A2E54}"/>
              </a:ext>
            </a:extLst>
          </p:cNvPr>
          <p:cNvCxnSpPr/>
          <p:nvPr/>
        </p:nvCxnSpPr>
        <p:spPr>
          <a:xfrm>
            <a:off x="833573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3F0B62DD-432C-46C2-AB1D-9F479811886B}"/>
              </a:ext>
            </a:extLst>
          </p:cNvPr>
          <p:cNvCxnSpPr/>
          <p:nvPr/>
        </p:nvCxnSpPr>
        <p:spPr>
          <a:xfrm>
            <a:off x="833573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33324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accent3"/>
                </a:solidFill>
                <a:latin typeface="+mn-lt"/>
                <a:ea typeface="+mn-ea"/>
                <a:cs typeface="+mn-ea"/>
                <a:sym typeface="+mn-lt"/>
              </a:rPr>
              <a:t>研究思路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solidFill>
                  <a:schemeClr val="accent3"/>
                </a:solidFill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9751825" y="2684430"/>
            <a:ext cx="1752808" cy="1524001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accent3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accent3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385965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2ee62b7f-9758-4117-b478-c6504df28d8c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998D91"/>
      </a:accent1>
      <a:accent2>
        <a:srgbClr val="A491BA"/>
      </a:accent2>
      <a:accent3>
        <a:srgbClr val="291E0A"/>
      </a:accent3>
      <a:accent4>
        <a:srgbClr val="41372F"/>
      </a:accent4>
      <a:accent5>
        <a:srgbClr val="6C5D5C"/>
      </a:accent5>
      <a:accent6>
        <a:srgbClr val="768394"/>
      </a:accent6>
      <a:hlink>
        <a:srgbClr val="4276AA"/>
      </a:hlink>
      <a:folHlink>
        <a:srgbClr val="BFBFBF"/>
      </a:folHlink>
    </a:clrScheme>
    <a:fontScheme name="hf5ael5c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98D91"/>
    </a:accent1>
    <a:accent2>
      <a:srgbClr val="A491BA"/>
    </a:accent2>
    <a:accent3>
      <a:srgbClr val="291E0A"/>
    </a:accent3>
    <a:accent4>
      <a:srgbClr val="41372F"/>
    </a:accent4>
    <a:accent5>
      <a:srgbClr val="6C5D5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98D91"/>
    </a:accent1>
    <a:accent2>
      <a:srgbClr val="A491BA"/>
    </a:accent2>
    <a:accent3>
      <a:srgbClr val="291E0A"/>
    </a:accent3>
    <a:accent4>
      <a:srgbClr val="41372F"/>
    </a:accent4>
    <a:accent5>
      <a:srgbClr val="6C5D5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998D91"/>
    </a:accent1>
    <a:accent2>
      <a:srgbClr val="A491BA"/>
    </a:accent2>
    <a:accent3>
      <a:srgbClr val="291E0A"/>
    </a:accent3>
    <a:accent4>
      <a:srgbClr val="41372F"/>
    </a:accent4>
    <a:accent5>
      <a:srgbClr val="6C5D5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3</TotalTime>
  <Words>1131</Words>
  <Application>Microsoft Office PowerPoint</Application>
  <PresentationFormat>宽屏</PresentationFormat>
  <Paragraphs>333</Paragraphs>
  <Slides>23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3</vt:i4>
      </vt:variant>
    </vt:vector>
  </HeadingPairs>
  <TitlesOfParts>
    <vt:vector size="29" baseType="lpstr">
      <vt:lpstr>等线</vt:lpstr>
      <vt:lpstr>Arial</vt:lpstr>
      <vt:lpstr>Calibri</vt:lpstr>
      <vt:lpstr>Impact</vt:lpstr>
      <vt:lpstr>主题5</vt:lpstr>
      <vt:lpstr>think-cell Slide</vt:lpstr>
      <vt:lpstr>时间管理 无聊情绪 与学业拖延的 关系及干预研究</vt:lpstr>
      <vt:lpstr>PowerPoint 演示文稿</vt:lpstr>
      <vt:lpstr>问题提出</vt:lpstr>
      <vt:lpstr>问题提出</vt:lpstr>
      <vt:lpstr>文献综述</vt:lpstr>
      <vt:lpstr>学术拖延</vt:lpstr>
      <vt:lpstr>无聊情绪</vt:lpstr>
      <vt:lpstr>时间管理</vt:lpstr>
      <vt:lpstr>研究思路</vt:lpstr>
      <vt:lpstr>研究目的</vt:lpstr>
      <vt:lpstr>研究设计</vt:lpstr>
      <vt:lpstr>研究创新</vt:lpstr>
      <vt:lpstr>研究内容成果与总讨论</vt:lpstr>
      <vt:lpstr>研究假设</vt:lpstr>
      <vt:lpstr>研究方法</vt:lpstr>
      <vt:lpstr>研究结果一</vt:lpstr>
      <vt:lpstr>研究结果二</vt:lpstr>
      <vt:lpstr>研究讨论</vt:lpstr>
      <vt:lpstr>总结论与教育建议</vt:lpstr>
      <vt:lpstr>结论一</vt:lpstr>
      <vt:lpstr>结论2</vt:lpstr>
      <vt:lpstr>教育建议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20-05-07T16:00:00Z</cp:lastPrinted>
  <dcterms:created xsi:type="dcterms:W3CDTF">2020-05-07T16:00:00Z</dcterms:created>
  <dcterms:modified xsi:type="dcterms:W3CDTF">2022-09-09T07:00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